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autoCompressPictures="0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147376182" r:id="rId2"/>
    <p:sldId id="2147480009" r:id="rId3"/>
    <p:sldId id="2147376195" r:id="rId4"/>
    <p:sldId id="2147376183" r:id="rId5"/>
    <p:sldId id="2147376188" r:id="rId6"/>
    <p:sldId id="2147480007" r:id="rId7"/>
    <p:sldId id="295" r:id="rId8"/>
    <p:sldId id="2147480008" r:id="rId9"/>
    <p:sldId id="2147376194" r:id="rId10"/>
    <p:sldId id="2147376193" r:id="rId11"/>
    <p:sldId id="2147480006" r:id="rId12"/>
  </p:sldIdLst>
  <p:sldSz cx="12195175" cy="6859588"/>
  <p:notesSz cx="6797675" cy="9926638"/>
  <p:defaultTextStyle>
    <a:defPPr>
      <a:defRPr lang="zh-CN"/>
    </a:defPPr>
    <a:lvl1pPr marL="0" algn="l" defTabSz="108839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195" algn="l" defTabSz="108839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390" algn="l" defTabSz="108839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2585" algn="l" defTabSz="108839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6780" algn="l" defTabSz="108839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0975" algn="l" defTabSz="108839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5805" algn="l" defTabSz="108839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000" algn="l" defTabSz="108839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4195" algn="l" defTabSz="108839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作者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2B43"/>
    <a:srgbClr val="3E8499"/>
    <a:srgbClr val="014C6C"/>
    <a:srgbClr val="F39945"/>
    <a:srgbClr val="005D78"/>
    <a:srgbClr val="022C44"/>
    <a:srgbClr val="BBCCBA"/>
    <a:srgbClr val="938080"/>
    <a:srgbClr val="536D97"/>
    <a:srgbClr val="B9C9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64" autoAdjust="0"/>
    <p:restoredTop sz="97436" autoAdjust="0"/>
  </p:normalViewPr>
  <p:slideViewPr>
    <p:cSldViewPr>
      <p:cViewPr>
        <p:scale>
          <a:sx n="92" d="100"/>
          <a:sy n="92" d="100"/>
        </p:scale>
        <p:origin x="2208" y="12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-14632"/>
    </p:cViewPr>
  </p:sorterViewPr>
  <p:notesViewPr>
    <p:cSldViewPr>
      <p:cViewPr varScale="1">
        <p:scale>
          <a:sx n="88" d="100"/>
          <a:sy n="88" d="100"/>
        </p:scale>
        <p:origin x="4528" y="20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饼状图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625-5C45-A5DE-D2BAC056188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625-5C45-A5DE-D2BAC056188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625-5C45-A5DE-D2BAC056188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8625-5C45-A5DE-D2BAC056188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964-A343-AB8A-481C2E36BB51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625-5C45-A5DE-D2BAC056188D}"/>
              </c:ext>
            </c:extLst>
          </c:dPt>
          <c:cat>
            <c:strRef>
              <c:f>Sheet1!$A$2:$A$7</c:f>
              <c:strCache>
                <c:ptCount val="6"/>
                <c:pt idx="0">
                  <c:v>数据1</c:v>
                </c:pt>
                <c:pt idx="1">
                  <c:v>数据2</c:v>
                </c:pt>
                <c:pt idx="2">
                  <c:v>数据3</c:v>
                </c:pt>
                <c:pt idx="3">
                  <c:v>数据4</c:v>
                </c:pt>
                <c:pt idx="4">
                  <c:v>数据5</c:v>
                </c:pt>
                <c:pt idx="5">
                  <c:v>数据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  <c:pt idx="4">
                  <c:v>2</c:v>
                </c:pt>
                <c:pt idx="5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25-5C45-A5DE-D2BAC05618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Microsoft YaHei" panose="020B0503020204020204" pitchFamily="34" charset="-122"/>
          <a:ea typeface="Microsoft YaHei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柱状图</c:v>
                </c:pt>
              </c:strCache>
            </c:strRef>
          </c:tx>
          <c:spPr>
            <a:gradFill>
              <a:gsLst>
                <a:gs pos="100000">
                  <a:schemeClr val="bg1"/>
                </a:gs>
                <a:gs pos="27000">
                  <a:schemeClr val="accent1"/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gradFill>
                <a:gsLst>
                  <a:gs pos="100000">
                    <a:schemeClr val="bg1"/>
                  </a:gs>
                  <a:gs pos="27000">
                    <a:schemeClr val="accent1"/>
                  </a:gs>
                </a:gsLst>
                <a:lin ang="5400000" scaled="1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BCC-E144-AD69-53E633D67BA9}"/>
              </c:ext>
            </c:extLst>
          </c:dPt>
          <c:dPt>
            <c:idx val="1"/>
            <c:invertIfNegative val="0"/>
            <c:bubble3D val="0"/>
            <c:spPr>
              <a:gradFill>
                <a:gsLst>
                  <a:gs pos="100000">
                    <a:schemeClr val="bg1"/>
                  </a:gs>
                  <a:gs pos="27000">
                    <a:schemeClr val="accent1"/>
                  </a:gs>
                </a:gsLst>
                <a:lin ang="5400000" scaled="1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0BCC-E144-AD69-53E633D67BA9}"/>
              </c:ext>
            </c:extLst>
          </c:dPt>
          <c:dPt>
            <c:idx val="2"/>
            <c:invertIfNegative val="0"/>
            <c:bubble3D val="0"/>
            <c:spPr>
              <a:gradFill>
                <a:gsLst>
                  <a:gs pos="100000">
                    <a:schemeClr val="bg1"/>
                  </a:gs>
                  <a:gs pos="27000">
                    <a:schemeClr val="accent1"/>
                  </a:gs>
                </a:gsLst>
                <a:lin ang="5400000" scaled="1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BCC-E144-AD69-53E633D67BA9}"/>
              </c:ext>
            </c:extLst>
          </c:dPt>
          <c:dPt>
            <c:idx val="3"/>
            <c:invertIfNegative val="0"/>
            <c:bubble3D val="0"/>
            <c:spPr>
              <a:gradFill>
                <a:gsLst>
                  <a:gs pos="100000">
                    <a:schemeClr val="bg1"/>
                  </a:gs>
                  <a:gs pos="27000">
                    <a:schemeClr val="accent1"/>
                  </a:gs>
                </a:gsLst>
                <a:lin ang="5400000" scaled="1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0BCC-E144-AD69-53E633D67BA9}"/>
              </c:ext>
            </c:extLst>
          </c:dPt>
          <c:dPt>
            <c:idx val="4"/>
            <c:invertIfNegative val="0"/>
            <c:bubble3D val="0"/>
            <c:spPr>
              <a:gradFill>
                <a:gsLst>
                  <a:gs pos="100000">
                    <a:schemeClr val="bg1"/>
                  </a:gs>
                  <a:gs pos="27000">
                    <a:schemeClr val="accent1"/>
                  </a:gs>
                </a:gsLst>
                <a:lin ang="5400000" scaled="1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BCC-E144-AD69-53E633D67BA9}"/>
              </c:ext>
            </c:extLst>
          </c:dPt>
          <c:dPt>
            <c:idx val="5"/>
            <c:invertIfNegative val="0"/>
            <c:bubble3D val="0"/>
            <c:spPr>
              <a:gradFill>
                <a:gsLst>
                  <a:gs pos="100000">
                    <a:schemeClr val="bg1"/>
                  </a:gs>
                  <a:gs pos="27000">
                    <a:schemeClr val="accent1"/>
                  </a:gs>
                </a:gsLst>
                <a:lin ang="5400000" scaled="1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0BCC-E144-AD69-53E633D67BA9}"/>
              </c:ext>
            </c:extLst>
          </c:dPt>
          <c:cat>
            <c:strRef>
              <c:f>Sheet1!$A$2:$A$7</c:f>
              <c:strCache>
                <c:ptCount val="6"/>
                <c:pt idx="0">
                  <c:v>数据1</c:v>
                </c:pt>
                <c:pt idx="1">
                  <c:v>数据2</c:v>
                </c:pt>
                <c:pt idx="2">
                  <c:v>数据3</c:v>
                </c:pt>
                <c:pt idx="3">
                  <c:v>数据4</c:v>
                </c:pt>
                <c:pt idx="4">
                  <c:v>数据5</c:v>
                </c:pt>
                <c:pt idx="5">
                  <c:v>数据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6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BCC-E144-AD69-53E633D67B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16941087"/>
        <c:axId val="1329417631"/>
      </c:barChart>
      <c:catAx>
        <c:axId val="1316941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pPr>
            <a:endParaRPr lang="zh-CN"/>
          </a:p>
        </c:txPr>
        <c:crossAx val="1329417631"/>
        <c:crosses val="autoZero"/>
        <c:auto val="1"/>
        <c:lblAlgn val="ctr"/>
        <c:lblOffset val="100"/>
        <c:noMultiLvlLbl val="0"/>
      </c:catAx>
      <c:valAx>
        <c:axId val="132941763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pPr>
            <a:endParaRPr lang="zh-CN"/>
          </a:p>
        </c:txPr>
        <c:crossAx val="13169410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Microsoft YaHei" panose="020B0503020204020204" pitchFamily="34" charset="-122"/>
          <a:ea typeface="Microsoft YaHei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pPr>
            <a:r>
              <a:rPr lang="zh-CN" sz="1200"/>
              <a:t>折线图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项目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数据1</c:v>
                </c:pt>
                <c:pt idx="1">
                  <c:v>数据2</c:v>
                </c:pt>
                <c:pt idx="2">
                  <c:v>数据3</c:v>
                </c:pt>
                <c:pt idx="3">
                  <c:v>数据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</c:v>
                </c:pt>
                <c:pt idx="1">
                  <c:v>2.1</c:v>
                </c:pt>
                <c:pt idx="2">
                  <c:v>2</c:v>
                </c:pt>
                <c:pt idx="3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FE1-4742-BC37-1FB7AA038D5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项目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数据1</c:v>
                </c:pt>
                <c:pt idx="1">
                  <c:v>数据2</c:v>
                </c:pt>
                <c:pt idx="2">
                  <c:v>数据3</c:v>
                </c:pt>
                <c:pt idx="3">
                  <c:v>数据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</c:v>
                </c:pt>
                <c:pt idx="1">
                  <c:v>3</c:v>
                </c:pt>
                <c:pt idx="2">
                  <c:v>3.5</c:v>
                </c:pt>
                <c:pt idx="3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FE1-4742-BC37-1FB7AA038D5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项目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数据1</c:v>
                </c:pt>
                <c:pt idx="1">
                  <c:v>数据2</c:v>
                </c:pt>
                <c:pt idx="2">
                  <c:v>数据3</c:v>
                </c:pt>
                <c:pt idx="3">
                  <c:v>数据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.2999999999999998</c:v>
                </c:pt>
                <c:pt idx="1">
                  <c:v>3.1</c:v>
                </c:pt>
                <c:pt idx="2">
                  <c:v>3.5</c:v>
                </c:pt>
                <c:pt idx="3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FE1-4742-BC37-1FB7AA038D5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项目4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数据1</c:v>
                </c:pt>
                <c:pt idx="1">
                  <c:v>数据2</c:v>
                </c:pt>
                <c:pt idx="2">
                  <c:v>数据3</c:v>
                </c:pt>
                <c:pt idx="3">
                  <c:v>数据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2.4</c:v>
                </c:pt>
                <c:pt idx="1">
                  <c:v>2.5</c:v>
                </c:pt>
                <c:pt idx="2">
                  <c:v>2.8</c:v>
                </c:pt>
                <c:pt idx="3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FE1-4742-BC37-1FB7AA038D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49510191"/>
        <c:axId val="1285955151"/>
      </c:lineChart>
      <c:catAx>
        <c:axId val="10495101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pPr>
            <a:endParaRPr lang="zh-CN"/>
          </a:p>
        </c:txPr>
        <c:crossAx val="1285955151"/>
        <c:crosses val="autoZero"/>
        <c:auto val="1"/>
        <c:lblAlgn val="ctr"/>
        <c:lblOffset val="100"/>
        <c:noMultiLvlLbl val="0"/>
      </c:catAx>
      <c:valAx>
        <c:axId val="128595515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pPr>
            <a:endParaRPr lang="zh-CN"/>
          </a:p>
        </c:txPr>
        <c:crossAx val="1049510191"/>
        <c:crosses val="autoZero"/>
        <c:crossBetween val="between"/>
        <c:majorUnit val="1"/>
        <c:minorUnit val="0.5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Microsoft YaHei" panose="020B0503020204020204" pitchFamily="34" charset="-122"/>
          <a:ea typeface="Microsoft YaHei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fidential"/>
          <p:cNvSpPr txBox="1"/>
          <p:nvPr/>
        </p:nvSpPr>
        <p:spPr>
          <a:xfrm>
            <a:off x="2540270" y="9352887"/>
            <a:ext cx="17171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rporate Confidentia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3"/>
          </p:nvPr>
        </p:nvSpPr>
        <p:spPr>
          <a:xfrm>
            <a:off x="5487069" y="9429750"/>
            <a:ext cx="1309019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F08C63-265D-43B3-AABE-E211DF17840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Date Placeholder 13"/>
          <p:cNvSpPr>
            <a:spLocks noGrp="1"/>
          </p:cNvSpPr>
          <p:nvPr>
            <p:ph type="dt" sz="quarter" idx="1"/>
          </p:nvPr>
        </p:nvSpPr>
        <p:spPr>
          <a:xfrm>
            <a:off x="5487069" y="1"/>
            <a:ext cx="1309019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E99295-07D5-422D-8196-7461D153933C}" type="datetime1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12/31/25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Header Placeholder 14"/>
          <p:cNvSpPr>
            <a:spLocks noGrp="1"/>
          </p:cNvSpPr>
          <p:nvPr>
            <p:ph type="hdr" sz="quarter"/>
          </p:nvPr>
        </p:nvSpPr>
        <p:spPr>
          <a:xfrm>
            <a:off x="3" y="1"/>
            <a:ext cx="2946399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2"/>
          </p:nvPr>
        </p:nvSpPr>
        <p:spPr>
          <a:xfrm>
            <a:off x="1" y="9429750"/>
            <a:ext cx="5199036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  <p:extLst>
    <p:ext uri="{56416CCD-93CA-4268-BC5B-53C4BB910035}">
      <p15:sldGuideLst xmlns:p15="http://schemas.microsoft.com/office/powerpoint/2012/main">
        <p15:guide id="1" orient="horz" pos="3126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fidential"/>
          <p:cNvSpPr txBox="1"/>
          <p:nvPr/>
        </p:nvSpPr>
        <p:spPr>
          <a:xfrm>
            <a:off x="2540270" y="9352887"/>
            <a:ext cx="17171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rporate Confidential</a:t>
            </a: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2946399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28713" y="1003300"/>
            <a:ext cx="4540250" cy="25542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5415062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>
          <a:xfrm>
            <a:off x="5668572" y="9429750"/>
            <a:ext cx="1127518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469C4A9-7044-4276-BB83-E219E8F45D4B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Notes Placeholder 14"/>
          <p:cNvSpPr>
            <a:spLocks noGrp="1"/>
          </p:cNvSpPr>
          <p:nvPr>
            <p:ph type="body" sz="quarter" idx="3"/>
          </p:nvPr>
        </p:nvSpPr>
        <p:spPr>
          <a:xfrm>
            <a:off x="679452" y="3701103"/>
            <a:ext cx="5438775" cy="49841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Date Placeholder 15"/>
          <p:cNvSpPr>
            <a:spLocks noGrp="1"/>
          </p:cNvSpPr>
          <p:nvPr>
            <p:ph type="dt" idx="1"/>
          </p:nvPr>
        </p:nvSpPr>
        <p:spPr>
          <a:xfrm>
            <a:off x="5668572" y="1"/>
            <a:ext cx="1127518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3C1570E-5ECC-447B-894C-5B152A76028E}" type="datetime1">
              <a:rPr lang="en-US" smtClean="0"/>
              <a:t>12/31/25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/>
  <p:notesStyle>
    <a:lvl1pPr marL="0" algn="l" defTabSz="1088390" rtl="0" eaLnBrk="1" latinLnBrk="0" hangingPunct="1"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213360" indent="-203835" algn="l" defTabSz="1088390" rtl="0" eaLnBrk="1" latinLnBrk="0" hangingPunct="1">
      <a:buFont typeface="Arial" panose="020B0604020202020204" pitchFamily="34" charset="0"/>
      <a:buChar char="•"/>
      <a:defRPr sz="16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434340" indent="-217170" algn="l" defTabSz="1088390" rtl="0" eaLnBrk="1" latinLnBrk="0" hangingPunct="1">
      <a:buFont typeface="Arial" panose="020B0604020202020204" pitchFamily="34" charset="0"/>
      <a:buChar char="•"/>
      <a:defRPr sz="14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629285" indent="-203835" algn="l" defTabSz="108839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850265" indent="-217170" algn="l" defTabSz="108839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720975" algn="l" defTabSz="108839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5805" algn="l" defTabSz="108839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000" algn="l" defTabSz="108839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4195" algn="l" defTabSz="108839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126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8713" y="1003300"/>
            <a:ext cx="4540250" cy="25542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10883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479880-B0DD-4108-A59D-0192BC120C66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1088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31/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7030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80E5EDCF-4B59-2F06-BC18-476013796091}"/>
              </a:ext>
            </a:extLst>
          </p:cNvPr>
          <p:cNvSpPr/>
          <p:nvPr userDrawn="1"/>
        </p:nvSpPr>
        <p:spPr bwMode="auto">
          <a:xfrm>
            <a:off x="0" y="0"/>
            <a:ext cx="12195175" cy="6859588"/>
          </a:xfrm>
          <a:prstGeom prst="rect">
            <a:avLst/>
          </a:prstGeom>
          <a:gradFill>
            <a:gsLst>
              <a:gs pos="0">
                <a:schemeClr val="accent6">
                  <a:lumMod val="50000"/>
                </a:schemeClr>
              </a:gs>
              <a:gs pos="60000">
                <a:schemeClr val="bg2"/>
              </a:gs>
            </a:gsLst>
            <a:lin ang="1800000" scaled="0"/>
          </a:gradFill>
          <a:ln w="6350">
            <a:noFill/>
          </a:ln>
        </p:spPr>
        <p:txBody>
          <a:bodyPr lIns="108000" tIns="108000" rIns="108000" bIns="108000" rtlCol="0" anchor="ctr"/>
          <a:lstStyle/>
          <a:p>
            <a:pPr lvl="0" algn="ctr" defTabSz="914400"/>
            <a:endParaRPr kumimoji="1" lang="zh-CN" altLang="en-US" sz="1600" b="1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6C56C780-1C6D-8FD5-63BF-6E076137A4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305514" y="219822"/>
            <a:ext cx="1584147" cy="397862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0C5BDE90-EA7C-1D9B-2AB8-43E83DEC1C1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" y="837507"/>
            <a:ext cx="12195175" cy="6022082"/>
          </a:xfrm>
          <a:prstGeom prst="round2SameRect">
            <a:avLst>
              <a:gd name="adj1" fmla="val 3878"/>
              <a:gd name="adj2" fmla="val 0"/>
            </a:avLst>
          </a:prstGeom>
          <a:effectLst>
            <a:outerShdw blurRad="63500" dist="38100" dir="16200000" rotWithShape="0">
              <a:schemeClr val="bg2">
                <a:alpha val="44855"/>
              </a:schemeClr>
            </a:outerShdw>
          </a:effectLst>
        </p:spPr>
      </p:pic>
      <p:sp>
        <p:nvSpPr>
          <p:cNvPr id="18" name="矩形 17">
            <a:extLst>
              <a:ext uri="{FF2B5EF4-FFF2-40B4-BE49-F238E27FC236}">
                <a16:creationId xmlns:a16="http://schemas.microsoft.com/office/drawing/2014/main" id="{832B220F-B533-7A85-4E5D-01B8FA980C5D}"/>
              </a:ext>
            </a:extLst>
          </p:cNvPr>
          <p:cNvSpPr/>
          <p:nvPr userDrawn="1"/>
        </p:nvSpPr>
        <p:spPr>
          <a:xfrm>
            <a:off x="2850161" y="6535276"/>
            <a:ext cx="649485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Alibaba PuHuiTi L" pitchFamily="18" charset="-122"/>
              </a:rPr>
              <a:t>Copyright © 2026 AAC Technologies. Confidential. All Rights Reserved.</a:t>
            </a:r>
          </a:p>
        </p:txBody>
      </p:sp>
      <p:sp>
        <p:nvSpPr>
          <p:cNvPr id="11" name="标题 10">
            <a:extLst>
              <a:ext uri="{FF2B5EF4-FFF2-40B4-BE49-F238E27FC236}">
                <a16:creationId xmlns:a16="http://schemas.microsoft.com/office/drawing/2014/main" id="{F7934224-3E20-2D4F-A9EC-2627112A17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61083" y="3187298"/>
            <a:ext cx="9073008" cy="716545"/>
          </a:xfrm>
          <a:prstGeom prst="rect">
            <a:avLst/>
          </a:prstGeom>
        </p:spPr>
        <p:txBody>
          <a:bodyPr anchor="ctr"/>
          <a:lstStyle>
            <a:lvl1pPr algn="ctr">
              <a:defRPr sz="4400" spc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标题样式</a:t>
            </a:r>
          </a:p>
        </p:txBody>
      </p:sp>
      <p:sp>
        <p:nvSpPr>
          <p:cNvPr id="15" name="文本占位符 11">
            <a:extLst>
              <a:ext uri="{FF2B5EF4-FFF2-40B4-BE49-F238E27FC236}">
                <a16:creationId xmlns:a16="http://schemas.microsoft.com/office/drawing/2014/main" id="{5DC01EC7-C3F9-469E-3782-64ED7746F4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96280" y="3939264"/>
            <a:ext cx="4002615" cy="246221"/>
          </a:xfrm>
          <a:prstGeom prst="rect">
            <a:avLst/>
          </a:prstGeom>
        </p:spPr>
        <p:txBody>
          <a:bodyPr anchor="ctr"/>
          <a:lstStyle>
            <a:lvl1pPr marL="0" indent="0" algn="dist">
              <a:buNone/>
              <a:defRPr sz="1200" b="0" i="0">
                <a:solidFill>
                  <a:schemeClr val="tx1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</a:defRPr>
            </a:lvl1pPr>
          </a:lstStyle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807918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结束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16">
            <a:extLst>
              <a:ext uri="{FF2B5EF4-FFF2-40B4-BE49-F238E27FC236}">
                <a16:creationId xmlns:a16="http://schemas.microsoft.com/office/drawing/2014/main" id="{018AEADD-1138-1A47-BEA3-DE4DB0EF5D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78686" y="-366067"/>
            <a:ext cx="7921079" cy="8039894"/>
          </a:xfrm>
          <a:prstGeom prst="rect">
            <a:avLst/>
          </a:prstGeom>
        </p:spPr>
      </p:pic>
      <p:sp>
        <p:nvSpPr>
          <p:cNvPr id="8" name="任意多边形: 形状 915">
            <a:extLst>
              <a:ext uri="{FF2B5EF4-FFF2-40B4-BE49-F238E27FC236}">
                <a16:creationId xmlns:a16="http://schemas.microsoft.com/office/drawing/2014/main" id="{C28CD82B-E158-A541-8FCC-13EA0C816218}"/>
              </a:ext>
            </a:extLst>
          </p:cNvPr>
          <p:cNvSpPr/>
          <p:nvPr userDrawn="1"/>
        </p:nvSpPr>
        <p:spPr>
          <a:xfrm>
            <a:off x="-1676317" y="-1015398"/>
            <a:ext cx="6886183" cy="2705233"/>
          </a:xfrm>
          <a:custGeom>
            <a:avLst/>
            <a:gdLst>
              <a:gd name="connsiteX0" fmla="*/ 1951170 w 6886183"/>
              <a:gd name="connsiteY0" fmla="*/ 2701576 h 2705233"/>
              <a:gd name="connsiteX1" fmla="*/ 1945646 w 6886183"/>
              <a:gd name="connsiteY1" fmla="*/ 2704243 h 2705233"/>
              <a:gd name="connsiteX2" fmla="*/ 1926501 w 6886183"/>
              <a:gd name="connsiteY2" fmla="*/ 2705100 h 2705233"/>
              <a:gd name="connsiteX3" fmla="*/ 1930406 w 6886183"/>
              <a:gd name="connsiteY3" fmla="*/ 2702624 h 2705233"/>
              <a:gd name="connsiteX4" fmla="*/ 1951170 w 6886183"/>
              <a:gd name="connsiteY4" fmla="*/ 2701576 h 2705233"/>
              <a:gd name="connsiteX5" fmla="*/ 2125856 w 6886183"/>
              <a:gd name="connsiteY5" fmla="*/ 2693765 h 2705233"/>
              <a:gd name="connsiteX6" fmla="*/ 2118998 w 6886183"/>
              <a:gd name="connsiteY6" fmla="*/ 2696813 h 2705233"/>
              <a:gd name="connsiteX7" fmla="*/ 2099948 w 6886183"/>
              <a:gd name="connsiteY7" fmla="*/ 2697956 h 2705233"/>
              <a:gd name="connsiteX8" fmla="*/ 2106806 w 6886183"/>
              <a:gd name="connsiteY8" fmla="*/ 2694908 h 2705233"/>
              <a:gd name="connsiteX9" fmla="*/ 2125856 w 6886183"/>
              <a:gd name="connsiteY9" fmla="*/ 2693765 h 2705233"/>
              <a:gd name="connsiteX10" fmla="*/ 2325310 w 6886183"/>
              <a:gd name="connsiteY10" fmla="*/ 2692717 h 2705233"/>
              <a:gd name="connsiteX11" fmla="*/ 2319786 w 6886183"/>
              <a:gd name="connsiteY11" fmla="*/ 2695193 h 2705233"/>
              <a:gd name="connsiteX12" fmla="*/ 2302927 w 6886183"/>
              <a:gd name="connsiteY12" fmla="*/ 2696717 h 2705233"/>
              <a:gd name="connsiteX13" fmla="*/ 2308832 w 6886183"/>
              <a:gd name="connsiteY13" fmla="*/ 2693955 h 2705233"/>
              <a:gd name="connsiteX14" fmla="*/ 2325310 w 6886183"/>
              <a:gd name="connsiteY14" fmla="*/ 2692717 h 2705233"/>
              <a:gd name="connsiteX15" fmla="*/ 1895733 w 6886183"/>
              <a:gd name="connsiteY15" fmla="*/ 2690812 h 2705233"/>
              <a:gd name="connsiteX16" fmla="*/ 1889066 w 6886183"/>
              <a:gd name="connsiteY16" fmla="*/ 2694050 h 2705233"/>
              <a:gd name="connsiteX17" fmla="*/ 1867634 w 6886183"/>
              <a:gd name="connsiteY17" fmla="*/ 2694717 h 2705233"/>
              <a:gd name="connsiteX18" fmla="*/ 1874207 w 6886183"/>
              <a:gd name="connsiteY18" fmla="*/ 2691574 h 2705233"/>
              <a:gd name="connsiteX19" fmla="*/ 1895733 w 6886183"/>
              <a:gd name="connsiteY19" fmla="*/ 2690812 h 2705233"/>
              <a:gd name="connsiteX20" fmla="*/ 2077096 w 6886183"/>
              <a:gd name="connsiteY20" fmla="*/ 2684240 h 2705233"/>
              <a:gd name="connsiteX21" fmla="*/ 2067571 w 6886183"/>
              <a:gd name="connsiteY21" fmla="*/ 2688241 h 2705233"/>
              <a:gd name="connsiteX22" fmla="*/ 2043377 w 6886183"/>
              <a:gd name="connsiteY22" fmla="*/ 2689193 h 2705233"/>
              <a:gd name="connsiteX23" fmla="*/ 2051283 w 6886183"/>
              <a:gd name="connsiteY23" fmla="*/ 2685574 h 2705233"/>
              <a:gd name="connsiteX24" fmla="*/ 2077096 w 6886183"/>
              <a:gd name="connsiteY24" fmla="*/ 2684240 h 2705233"/>
              <a:gd name="connsiteX25" fmla="*/ 2290266 w 6886183"/>
              <a:gd name="connsiteY25" fmla="*/ 2683764 h 2705233"/>
              <a:gd name="connsiteX26" fmla="*/ 2281219 w 6886183"/>
              <a:gd name="connsiteY26" fmla="*/ 2687384 h 2705233"/>
              <a:gd name="connsiteX27" fmla="*/ 2260168 w 6886183"/>
              <a:gd name="connsiteY27" fmla="*/ 2688908 h 2705233"/>
              <a:gd name="connsiteX28" fmla="*/ 2267693 w 6886183"/>
              <a:gd name="connsiteY28" fmla="*/ 2685383 h 2705233"/>
              <a:gd name="connsiteX29" fmla="*/ 2290266 w 6886183"/>
              <a:gd name="connsiteY29" fmla="*/ 2683764 h 2705233"/>
              <a:gd name="connsiteX30" fmla="*/ 2468375 w 6886183"/>
              <a:gd name="connsiteY30" fmla="*/ 2681859 h 2705233"/>
              <a:gd name="connsiteX31" fmla="*/ 2460946 w 6886183"/>
              <a:gd name="connsiteY31" fmla="*/ 2684717 h 2705233"/>
              <a:gd name="connsiteX32" fmla="*/ 2445801 w 6886183"/>
              <a:gd name="connsiteY32" fmla="*/ 2686050 h 2705233"/>
              <a:gd name="connsiteX33" fmla="*/ 2453135 w 6886183"/>
              <a:gd name="connsiteY33" fmla="*/ 2683193 h 2705233"/>
              <a:gd name="connsiteX34" fmla="*/ 2468375 w 6886183"/>
              <a:gd name="connsiteY34" fmla="*/ 2681859 h 2705233"/>
              <a:gd name="connsiteX35" fmla="*/ 1591222 w 6886183"/>
              <a:gd name="connsiteY35" fmla="*/ 2679668 h 2705233"/>
              <a:gd name="connsiteX36" fmla="*/ 1614368 w 6886183"/>
              <a:gd name="connsiteY36" fmla="*/ 2679668 h 2705233"/>
              <a:gd name="connsiteX37" fmla="*/ 1610367 w 6886183"/>
              <a:gd name="connsiteY37" fmla="*/ 2682621 h 2705233"/>
              <a:gd name="connsiteX38" fmla="*/ 1585317 w 6886183"/>
              <a:gd name="connsiteY38" fmla="*/ 2682621 h 2705233"/>
              <a:gd name="connsiteX39" fmla="*/ 1591222 w 6886183"/>
              <a:gd name="connsiteY39" fmla="*/ 2679668 h 2705233"/>
              <a:gd name="connsiteX40" fmla="*/ 1830017 w 6886183"/>
              <a:gd name="connsiteY40" fmla="*/ 2678620 h 2705233"/>
              <a:gd name="connsiteX41" fmla="*/ 1824016 w 6886183"/>
              <a:gd name="connsiteY41" fmla="*/ 2682430 h 2705233"/>
              <a:gd name="connsiteX42" fmla="*/ 1796013 w 6886183"/>
              <a:gd name="connsiteY42" fmla="*/ 2683192 h 2705233"/>
              <a:gd name="connsiteX43" fmla="*/ 1801442 w 6886183"/>
              <a:gd name="connsiteY43" fmla="*/ 2679572 h 2705233"/>
              <a:gd name="connsiteX44" fmla="*/ 1830017 w 6886183"/>
              <a:gd name="connsiteY44" fmla="*/ 2678620 h 2705233"/>
              <a:gd name="connsiteX45" fmla="*/ 2246264 w 6886183"/>
              <a:gd name="connsiteY45" fmla="*/ 2674906 h 2705233"/>
              <a:gd name="connsiteX46" fmla="*/ 2236739 w 6886183"/>
              <a:gd name="connsiteY46" fmla="*/ 2679001 h 2705233"/>
              <a:gd name="connsiteX47" fmla="*/ 2213212 w 6886183"/>
              <a:gd name="connsiteY47" fmla="*/ 2680621 h 2705233"/>
              <a:gd name="connsiteX48" fmla="*/ 2222642 w 6886183"/>
              <a:gd name="connsiteY48" fmla="*/ 2676525 h 2705233"/>
              <a:gd name="connsiteX49" fmla="*/ 2246264 w 6886183"/>
              <a:gd name="connsiteY49" fmla="*/ 2674906 h 2705233"/>
              <a:gd name="connsiteX50" fmla="*/ 2434950 w 6886183"/>
              <a:gd name="connsiteY50" fmla="*/ 2673382 h 2705233"/>
              <a:gd name="connsiteX51" fmla="*/ 2427139 w 6886183"/>
              <a:gd name="connsiteY51" fmla="*/ 2677096 h 2705233"/>
              <a:gd name="connsiteX52" fmla="*/ 2406946 w 6886183"/>
              <a:gd name="connsiteY52" fmla="*/ 2678906 h 2705233"/>
              <a:gd name="connsiteX53" fmla="*/ 2414757 w 6886183"/>
              <a:gd name="connsiteY53" fmla="*/ 2675287 h 2705233"/>
              <a:gd name="connsiteX54" fmla="*/ 2434950 w 6886183"/>
              <a:gd name="connsiteY54" fmla="*/ 2673382 h 2705233"/>
              <a:gd name="connsiteX55" fmla="*/ 2026618 w 6886183"/>
              <a:gd name="connsiteY55" fmla="*/ 2673382 h 2705233"/>
              <a:gd name="connsiteX56" fmla="*/ 2017950 w 6886183"/>
              <a:gd name="connsiteY56" fmla="*/ 2677573 h 2705233"/>
              <a:gd name="connsiteX57" fmla="*/ 1990423 w 6886183"/>
              <a:gd name="connsiteY57" fmla="*/ 2678906 h 2705233"/>
              <a:gd name="connsiteX58" fmla="*/ 1997471 w 6886183"/>
              <a:gd name="connsiteY58" fmla="*/ 2674811 h 2705233"/>
              <a:gd name="connsiteX59" fmla="*/ 2026618 w 6886183"/>
              <a:gd name="connsiteY59" fmla="*/ 2673382 h 2705233"/>
              <a:gd name="connsiteX60" fmla="*/ 2597727 w 6886183"/>
              <a:gd name="connsiteY60" fmla="*/ 2670238 h 2705233"/>
              <a:gd name="connsiteX61" fmla="*/ 2591917 w 6886183"/>
              <a:gd name="connsiteY61" fmla="*/ 2672905 h 2705233"/>
              <a:gd name="connsiteX62" fmla="*/ 2577439 w 6886183"/>
              <a:gd name="connsiteY62" fmla="*/ 2674429 h 2705233"/>
              <a:gd name="connsiteX63" fmla="*/ 2584487 w 6886183"/>
              <a:gd name="connsiteY63" fmla="*/ 2671667 h 2705233"/>
              <a:gd name="connsiteX64" fmla="*/ 2597727 w 6886183"/>
              <a:gd name="connsiteY64" fmla="*/ 2670238 h 2705233"/>
              <a:gd name="connsiteX65" fmla="*/ 2201214 w 6886183"/>
              <a:gd name="connsiteY65" fmla="*/ 2665476 h 2705233"/>
              <a:gd name="connsiteX66" fmla="*/ 2191689 w 6886183"/>
              <a:gd name="connsiteY66" fmla="*/ 2670334 h 2705233"/>
              <a:gd name="connsiteX67" fmla="*/ 2162161 w 6886183"/>
              <a:gd name="connsiteY67" fmla="*/ 2672334 h 2705233"/>
              <a:gd name="connsiteX68" fmla="*/ 2171686 w 6886183"/>
              <a:gd name="connsiteY68" fmla="*/ 2667381 h 2705233"/>
              <a:gd name="connsiteX69" fmla="*/ 2201214 w 6886183"/>
              <a:gd name="connsiteY69" fmla="*/ 2665476 h 2705233"/>
              <a:gd name="connsiteX70" fmla="*/ 1735340 w 6886183"/>
              <a:gd name="connsiteY70" fmla="*/ 2665286 h 2705233"/>
              <a:gd name="connsiteX71" fmla="*/ 1766868 w 6886183"/>
              <a:gd name="connsiteY71" fmla="*/ 2665286 h 2705233"/>
              <a:gd name="connsiteX72" fmla="*/ 1758676 w 6886183"/>
              <a:gd name="connsiteY72" fmla="*/ 2669381 h 2705233"/>
              <a:gd name="connsiteX73" fmla="*/ 1750008 w 6886183"/>
              <a:gd name="connsiteY73" fmla="*/ 2670143 h 2705233"/>
              <a:gd name="connsiteX74" fmla="*/ 1741245 w 6886183"/>
              <a:gd name="connsiteY74" fmla="*/ 2670143 h 2705233"/>
              <a:gd name="connsiteX75" fmla="*/ 1727244 w 6886183"/>
              <a:gd name="connsiteY75" fmla="*/ 2669381 h 2705233"/>
              <a:gd name="connsiteX76" fmla="*/ 1735340 w 6886183"/>
              <a:gd name="connsiteY76" fmla="*/ 2665286 h 2705233"/>
              <a:gd name="connsiteX77" fmla="*/ 2403999 w 6886183"/>
              <a:gd name="connsiteY77" fmla="*/ 2664332 h 2705233"/>
              <a:gd name="connsiteX78" fmla="*/ 2392282 w 6886183"/>
              <a:gd name="connsiteY78" fmla="*/ 2669000 h 2705233"/>
              <a:gd name="connsiteX79" fmla="*/ 2368279 w 6886183"/>
              <a:gd name="connsiteY79" fmla="*/ 2670905 h 2705233"/>
              <a:gd name="connsiteX80" fmla="*/ 2378566 w 6886183"/>
              <a:gd name="connsiteY80" fmla="*/ 2666333 h 2705233"/>
              <a:gd name="connsiteX81" fmla="*/ 2403999 w 6886183"/>
              <a:gd name="connsiteY81" fmla="*/ 2664332 h 2705233"/>
              <a:gd name="connsiteX82" fmla="*/ 1509022 w 6886183"/>
              <a:gd name="connsiteY82" fmla="*/ 2662999 h 2705233"/>
              <a:gd name="connsiteX83" fmla="*/ 1538264 w 6886183"/>
              <a:gd name="connsiteY83" fmla="*/ 2663571 h 2705233"/>
              <a:gd name="connsiteX84" fmla="*/ 1533597 w 6886183"/>
              <a:gd name="connsiteY84" fmla="*/ 2666619 h 2705233"/>
              <a:gd name="connsiteX85" fmla="*/ 1504450 w 6886183"/>
              <a:gd name="connsiteY85" fmla="*/ 2666047 h 2705233"/>
              <a:gd name="connsiteX86" fmla="*/ 1509022 w 6886183"/>
              <a:gd name="connsiteY86" fmla="*/ 2662999 h 2705233"/>
              <a:gd name="connsiteX87" fmla="*/ 1969948 w 6886183"/>
              <a:gd name="connsiteY87" fmla="*/ 2661952 h 2705233"/>
              <a:gd name="connsiteX88" fmla="*/ 1959757 w 6886183"/>
              <a:gd name="connsiteY88" fmla="*/ 2666905 h 2705233"/>
              <a:gd name="connsiteX89" fmla="*/ 1926133 w 6886183"/>
              <a:gd name="connsiteY89" fmla="*/ 2668143 h 2705233"/>
              <a:gd name="connsiteX90" fmla="*/ 1936134 w 6886183"/>
              <a:gd name="connsiteY90" fmla="*/ 2663190 h 2705233"/>
              <a:gd name="connsiteX91" fmla="*/ 1969948 w 6886183"/>
              <a:gd name="connsiteY91" fmla="*/ 2661952 h 2705233"/>
              <a:gd name="connsiteX92" fmla="*/ 2572110 w 6886183"/>
              <a:gd name="connsiteY92" fmla="*/ 2661570 h 2705233"/>
              <a:gd name="connsiteX93" fmla="*/ 2563441 w 6886183"/>
              <a:gd name="connsiteY93" fmla="*/ 2665285 h 2705233"/>
              <a:gd name="connsiteX94" fmla="*/ 2544391 w 6886183"/>
              <a:gd name="connsiteY94" fmla="*/ 2667190 h 2705233"/>
              <a:gd name="connsiteX95" fmla="*/ 2553060 w 6886183"/>
              <a:gd name="connsiteY95" fmla="*/ 2663380 h 2705233"/>
              <a:gd name="connsiteX96" fmla="*/ 2572110 w 6886183"/>
              <a:gd name="connsiteY96" fmla="*/ 2661570 h 2705233"/>
              <a:gd name="connsiteX97" fmla="*/ 2720978 w 6886183"/>
              <a:gd name="connsiteY97" fmla="*/ 2657951 h 2705233"/>
              <a:gd name="connsiteX98" fmla="*/ 2715168 w 6886183"/>
              <a:gd name="connsiteY98" fmla="*/ 2660618 h 2705233"/>
              <a:gd name="connsiteX99" fmla="*/ 2701547 w 6886183"/>
              <a:gd name="connsiteY99" fmla="*/ 2662142 h 2705233"/>
              <a:gd name="connsiteX100" fmla="*/ 2708500 w 6886183"/>
              <a:gd name="connsiteY100" fmla="*/ 2659380 h 2705233"/>
              <a:gd name="connsiteX101" fmla="*/ 2720978 w 6886183"/>
              <a:gd name="connsiteY101" fmla="*/ 2657951 h 2705233"/>
              <a:gd name="connsiteX102" fmla="*/ 2363618 w 6886183"/>
              <a:gd name="connsiteY102" fmla="*/ 2655474 h 2705233"/>
              <a:gd name="connsiteX103" fmla="*/ 2350570 w 6886183"/>
              <a:gd name="connsiteY103" fmla="*/ 2660427 h 2705233"/>
              <a:gd name="connsiteX104" fmla="*/ 2334282 w 6886183"/>
              <a:gd name="connsiteY104" fmla="*/ 2662523 h 2705233"/>
              <a:gd name="connsiteX105" fmla="*/ 2322852 w 6886183"/>
              <a:gd name="connsiteY105" fmla="*/ 2662523 h 2705233"/>
              <a:gd name="connsiteX106" fmla="*/ 2336473 w 6886183"/>
              <a:gd name="connsiteY106" fmla="*/ 2657189 h 2705233"/>
              <a:gd name="connsiteX107" fmla="*/ 2363618 w 6886183"/>
              <a:gd name="connsiteY107" fmla="*/ 2655474 h 2705233"/>
              <a:gd name="connsiteX108" fmla="*/ 2156545 w 6886183"/>
              <a:gd name="connsiteY108" fmla="*/ 2654617 h 2705233"/>
              <a:gd name="connsiteX109" fmla="*/ 2145211 w 6886183"/>
              <a:gd name="connsiteY109" fmla="*/ 2660046 h 2705233"/>
              <a:gd name="connsiteX110" fmla="*/ 2113017 w 6886183"/>
              <a:gd name="connsiteY110" fmla="*/ 2661951 h 2705233"/>
              <a:gd name="connsiteX111" fmla="*/ 2122542 w 6886183"/>
              <a:gd name="connsiteY111" fmla="*/ 2656617 h 2705233"/>
              <a:gd name="connsiteX112" fmla="*/ 2156545 w 6886183"/>
              <a:gd name="connsiteY112" fmla="*/ 2654617 h 2705233"/>
              <a:gd name="connsiteX113" fmla="*/ 2542683 w 6886183"/>
              <a:gd name="connsiteY113" fmla="*/ 2653284 h 2705233"/>
              <a:gd name="connsiteX114" fmla="*/ 2531920 w 6886183"/>
              <a:gd name="connsiteY114" fmla="*/ 2657951 h 2705233"/>
              <a:gd name="connsiteX115" fmla="*/ 2507633 w 6886183"/>
              <a:gd name="connsiteY115" fmla="*/ 2660237 h 2705233"/>
              <a:gd name="connsiteX116" fmla="*/ 2518395 w 6886183"/>
              <a:gd name="connsiteY116" fmla="*/ 2655570 h 2705233"/>
              <a:gd name="connsiteX117" fmla="*/ 2542683 w 6886183"/>
              <a:gd name="connsiteY117" fmla="*/ 2653284 h 2705233"/>
              <a:gd name="connsiteX118" fmla="*/ 1656953 w 6886183"/>
              <a:gd name="connsiteY118" fmla="*/ 2650617 h 2705233"/>
              <a:gd name="connsiteX119" fmla="*/ 1692386 w 6886183"/>
              <a:gd name="connsiteY119" fmla="*/ 2650617 h 2705233"/>
              <a:gd name="connsiteX120" fmla="*/ 1685148 w 6886183"/>
              <a:gd name="connsiteY120" fmla="*/ 2654903 h 2705233"/>
              <a:gd name="connsiteX121" fmla="*/ 1649333 w 6886183"/>
              <a:gd name="connsiteY121" fmla="*/ 2655094 h 2705233"/>
              <a:gd name="connsiteX122" fmla="*/ 1656953 w 6886183"/>
              <a:gd name="connsiteY122" fmla="*/ 2650617 h 2705233"/>
              <a:gd name="connsiteX123" fmla="*/ 2701458 w 6886183"/>
              <a:gd name="connsiteY123" fmla="*/ 2649474 h 2705233"/>
              <a:gd name="connsiteX124" fmla="*/ 2692695 w 6886183"/>
              <a:gd name="connsiteY124" fmla="*/ 2653284 h 2705233"/>
              <a:gd name="connsiteX125" fmla="*/ 2675264 w 6886183"/>
              <a:gd name="connsiteY125" fmla="*/ 2655189 h 2705233"/>
              <a:gd name="connsiteX126" fmla="*/ 2683932 w 6886183"/>
              <a:gd name="connsiteY126" fmla="*/ 2651474 h 2705233"/>
              <a:gd name="connsiteX127" fmla="*/ 2701458 w 6886183"/>
              <a:gd name="connsiteY127" fmla="*/ 2649474 h 2705233"/>
              <a:gd name="connsiteX128" fmla="*/ 1912421 w 6886183"/>
              <a:gd name="connsiteY128" fmla="*/ 2648998 h 2705233"/>
              <a:gd name="connsiteX129" fmla="*/ 1901276 w 6886183"/>
              <a:gd name="connsiteY129" fmla="*/ 2654332 h 2705233"/>
              <a:gd name="connsiteX130" fmla="*/ 1880704 w 6886183"/>
              <a:gd name="connsiteY130" fmla="*/ 2655951 h 2705233"/>
              <a:gd name="connsiteX131" fmla="*/ 1864130 w 6886183"/>
              <a:gd name="connsiteY131" fmla="*/ 2655284 h 2705233"/>
              <a:gd name="connsiteX132" fmla="*/ 1873654 w 6886183"/>
              <a:gd name="connsiteY132" fmla="*/ 2650046 h 2705233"/>
              <a:gd name="connsiteX133" fmla="*/ 1912421 w 6886183"/>
              <a:gd name="connsiteY133" fmla="*/ 2648998 h 2705233"/>
              <a:gd name="connsiteX134" fmla="*/ 2326570 w 6886183"/>
              <a:gd name="connsiteY134" fmla="*/ 2644616 h 2705233"/>
              <a:gd name="connsiteX135" fmla="*/ 2313712 w 6886183"/>
              <a:gd name="connsiteY135" fmla="*/ 2650522 h 2705233"/>
              <a:gd name="connsiteX136" fmla="*/ 2279803 w 6886183"/>
              <a:gd name="connsiteY136" fmla="*/ 2653094 h 2705233"/>
              <a:gd name="connsiteX137" fmla="*/ 2291233 w 6886183"/>
              <a:gd name="connsiteY137" fmla="*/ 2647283 h 2705233"/>
              <a:gd name="connsiteX138" fmla="*/ 2326570 w 6886183"/>
              <a:gd name="connsiteY138" fmla="*/ 2644616 h 2705233"/>
              <a:gd name="connsiteX139" fmla="*/ 2513541 w 6886183"/>
              <a:gd name="connsiteY139" fmla="*/ 2644045 h 2705233"/>
              <a:gd name="connsiteX140" fmla="*/ 2502111 w 6886183"/>
              <a:gd name="connsiteY140" fmla="*/ 2649093 h 2705233"/>
              <a:gd name="connsiteX141" fmla="*/ 2474393 w 6886183"/>
              <a:gd name="connsiteY141" fmla="*/ 2651665 h 2705233"/>
              <a:gd name="connsiteX142" fmla="*/ 2486205 w 6886183"/>
              <a:gd name="connsiteY142" fmla="*/ 2646426 h 2705233"/>
              <a:gd name="connsiteX143" fmla="*/ 2513541 w 6886183"/>
              <a:gd name="connsiteY143" fmla="*/ 2644045 h 2705233"/>
              <a:gd name="connsiteX144" fmla="*/ 1410726 w 6886183"/>
              <a:gd name="connsiteY144" fmla="*/ 2643092 h 2705233"/>
              <a:gd name="connsiteX145" fmla="*/ 1446064 w 6886183"/>
              <a:gd name="connsiteY145" fmla="*/ 2644330 h 2705233"/>
              <a:gd name="connsiteX146" fmla="*/ 1440158 w 6886183"/>
              <a:gd name="connsiteY146" fmla="*/ 2647949 h 2705233"/>
              <a:gd name="connsiteX147" fmla="*/ 1407392 w 6886183"/>
              <a:gd name="connsiteY147" fmla="*/ 2646806 h 2705233"/>
              <a:gd name="connsiteX148" fmla="*/ 1403106 w 6886183"/>
              <a:gd name="connsiteY148" fmla="*/ 2644711 h 2705233"/>
              <a:gd name="connsiteX149" fmla="*/ 1410726 w 6886183"/>
              <a:gd name="connsiteY149" fmla="*/ 2643092 h 2705233"/>
              <a:gd name="connsiteX150" fmla="*/ 2102829 w 6886183"/>
              <a:gd name="connsiteY150" fmla="*/ 2642996 h 2705233"/>
              <a:gd name="connsiteX151" fmla="*/ 2090732 w 6886183"/>
              <a:gd name="connsiteY151" fmla="*/ 2649092 h 2705233"/>
              <a:gd name="connsiteX152" fmla="*/ 2051966 w 6886183"/>
              <a:gd name="connsiteY152" fmla="*/ 2651093 h 2705233"/>
              <a:gd name="connsiteX153" fmla="*/ 2062253 w 6886183"/>
              <a:gd name="connsiteY153" fmla="*/ 2645092 h 2705233"/>
              <a:gd name="connsiteX154" fmla="*/ 2102829 w 6886183"/>
              <a:gd name="connsiteY154" fmla="*/ 2642996 h 2705233"/>
              <a:gd name="connsiteX155" fmla="*/ 2675653 w 6886183"/>
              <a:gd name="connsiteY155" fmla="*/ 2641378 h 2705233"/>
              <a:gd name="connsiteX156" fmla="*/ 2666128 w 6886183"/>
              <a:gd name="connsiteY156" fmla="*/ 2645854 h 2705233"/>
              <a:gd name="connsiteX157" fmla="*/ 2642983 w 6886183"/>
              <a:gd name="connsiteY157" fmla="*/ 2648426 h 2705233"/>
              <a:gd name="connsiteX158" fmla="*/ 2652507 w 6886183"/>
              <a:gd name="connsiteY158" fmla="*/ 2643949 h 2705233"/>
              <a:gd name="connsiteX159" fmla="*/ 2675653 w 6886183"/>
              <a:gd name="connsiteY159" fmla="*/ 2641378 h 2705233"/>
              <a:gd name="connsiteX160" fmla="*/ 2817282 w 6886183"/>
              <a:gd name="connsiteY160" fmla="*/ 2638425 h 2705233"/>
              <a:gd name="connsiteX161" fmla="*/ 2809853 w 6886183"/>
              <a:gd name="connsiteY161" fmla="*/ 2641854 h 2705233"/>
              <a:gd name="connsiteX162" fmla="*/ 2794041 w 6886183"/>
              <a:gd name="connsiteY162" fmla="*/ 2643854 h 2705233"/>
              <a:gd name="connsiteX163" fmla="*/ 2800327 w 6886183"/>
              <a:gd name="connsiteY163" fmla="*/ 2640616 h 2705233"/>
              <a:gd name="connsiteX164" fmla="*/ 2817282 w 6886183"/>
              <a:gd name="connsiteY164" fmla="*/ 2638425 h 2705233"/>
              <a:gd name="connsiteX165" fmla="*/ 1804218 w 6886183"/>
              <a:gd name="connsiteY165" fmla="*/ 2635568 h 2705233"/>
              <a:gd name="connsiteX166" fmla="*/ 1844699 w 6886183"/>
              <a:gd name="connsiteY166" fmla="*/ 2635568 h 2705233"/>
              <a:gd name="connsiteX167" fmla="*/ 1832888 w 6886183"/>
              <a:gd name="connsiteY167" fmla="*/ 2641092 h 2705233"/>
              <a:gd name="connsiteX168" fmla="*/ 1792025 w 6886183"/>
              <a:gd name="connsiteY168" fmla="*/ 2641378 h 2705233"/>
              <a:gd name="connsiteX169" fmla="*/ 1804218 w 6886183"/>
              <a:gd name="connsiteY169" fmla="*/ 2635568 h 2705233"/>
              <a:gd name="connsiteX170" fmla="*/ 2465539 w 6886183"/>
              <a:gd name="connsiteY170" fmla="*/ 2634805 h 2705233"/>
              <a:gd name="connsiteX171" fmla="*/ 2478969 w 6886183"/>
              <a:gd name="connsiteY171" fmla="*/ 2634805 h 2705233"/>
              <a:gd name="connsiteX172" fmla="*/ 2466396 w 6886183"/>
              <a:gd name="connsiteY172" fmla="*/ 2640711 h 2705233"/>
              <a:gd name="connsiteX173" fmla="*/ 2433536 w 6886183"/>
              <a:gd name="connsiteY173" fmla="*/ 2643473 h 2705233"/>
              <a:gd name="connsiteX174" fmla="*/ 2446489 w 6886183"/>
              <a:gd name="connsiteY174" fmla="*/ 2637377 h 2705233"/>
              <a:gd name="connsiteX175" fmla="*/ 2465539 w 6886183"/>
              <a:gd name="connsiteY175" fmla="*/ 2634805 h 2705233"/>
              <a:gd name="connsiteX176" fmla="*/ 2282376 w 6886183"/>
              <a:gd name="connsiteY176" fmla="*/ 2634519 h 2705233"/>
              <a:gd name="connsiteX177" fmla="*/ 2266660 w 6886183"/>
              <a:gd name="connsiteY177" fmla="*/ 2640996 h 2705233"/>
              <a:gd name="connsiteX178" fmla="*/ 2230369 w 6886183"/>
              <a:gd name="connsiteY178" fmla="*/ 2643187 h 2705233"/>
              <a:gd name="connsiteX179" fmla="*/ 2246561 w 6886183"/>
              <a:gd name="connsiteY179" fmla="*/ 2636329 h 2705233"/>
              <a:gd name="connsiteX180" fmla="*/ 2282376 w 6886183"/>
              <a:gd name="connsiteY180" fmla="*/ 2634519 h 2705233"/>
              <a:gd name="connsiteX181" fmla="*/ 1572944 w 6886183"/>
              <a:gd name="connsiteY181" fmla="*/ 2632995 h 2705233"/>
              <a:gd name="connsiteX182" fmla="*/ 1611996 w 6886183"/>
              <a:gd name="connsiteY182" fmla="*/ 2633757 h 2705233"/>
              <a:gd name="connsiteX183" fmla="*/ 1602852 w 6886183"/>
              <a:gd name="connsiteY183" fmla="*/ 2638996 h 2705233"/>
              <a:gd name="connsiteX184" fmla="*/ 1561704 w 6886183"/>
              <a:gd name="connsiteY184" fmla="*/ 2638139 h 2705233"/>
              <a:gd name="connsiteX185" fmla="*/ 1572944 w 6886183"/>
              <a:gd name="connsiteY185" fmla="*/ 2632995 h 2705233"/>
              <a:gd name="connsiteX186" fmla="*/ 2651940 w 6886183"/>
              <a:gd name="connsiteY186" fmla="*/ 2632234 h 2705233"/>
              <a:gd name="connsiteX187" fmla="*/ 2639653 w 6886183"/>
              <a:gd name="connsiteY187" fmla="*/ 2637568 h 2705233"/>
              <a:gd name="connsiteX188" fmla="*/ 2614031 w 6886183"/>
              <a:gd name="connsiteY188" fmla="*/ 2640044 h 2705233"/>
              <a:gd name="connsiteX189" fmla="*/ 2626318 w 6886183"/>
              <a:gd name="connsiteY189" fmla="*/ 2634806 h 2705233"/>
              <a:gd name="connsiteX190" fmla="*/ 2651940 w 6886183"/>
              <a:gd name="connsiteY190" fmla="*/ 2632234 h 2705233"/>
              <a:gd name="connsiteX191" fmla="*/ 2049680 w 6886183"/>
              <a:gd name="connsiteY191" fmla="*/ 2630043 h 2705233"/>
              <a:gd name="connsiteX192" fmla="*/ 2037678 w 6886183"/>
              <a:gd name="connsiteY192" fmla="*/ 2636520 h 2705233"/>
              <a:gd name="connsiteX193" fmla="*/ 2013104 w 6886183"/>
              <a:gd name="connsiteY193" fmla="*/ 2638901 h 2705233"/>
              <a:gd name="connsiteX194" fmla="*/ 1994054 w 6886183"/>
              <a:gd name="connsiteY194" fmla="*/ 2638330 h 2705233"/>
              <a:gd name="connsiteX195" fmla="*/ 2007675 w 6886183"/>
              <a:gd name="connsiteY195" fmla="*/ 2631662 h 2705233"/>
              <a:gd name="connsiteX196" fmla="*/ 2049680 w 6886183"/>
              <a:gd name="connsiteY196" fmla="*/ 2630043 h 2705233"/>
              <a:gd name="connsiteX197" fmla="*/ 2799860 w 6886183"/>
              <a:gd name="connsiteY197" fmla="*/ 2629471 h 2705233"/>
              <a:gd name="connsiteX198" fmla="*/ 2788430 w 6886183"/>
              <a:gd name="connsiteY198" fmla="*/ 2634043 h 2705233"/>
              <a:gd name="connsiteX199" fmla="*/ 2769380 w 6886183"/>
              <a:gd name="connsiteY199" fmla="*/ 2636043 h 2705233"/>
              <a:gd name="connsiteX200" fmla="*/ 2780049 w 6886183"/>
              <a:gd name="connsiteY200" fmla="*/ 2631662 h 2705233"/>
              <a:gd name="connsiteX201" fmla="*/ 2799860 w 6886183"/>
              <a:gd name="connsiteY201" fmla="*/ 2629471 h 2705233"/>
              <a:gd name="connsiteX202" fmla="*/ 2927862 w 6886183"/>
              <a:gd name="connsiteY202" fmla="*/ 2626137 h 2705233"/>
              <a:gd name="connsiteX203" fmla="*/ 2920242 w 6886183"/>
              <a:gd name="connsiteY203" fmla="*/ 2629185 h 2705233"/>
              <a:gd name="connsiteX204" fmla="*/ 2907288 w 6886183"/>
              <a:gd name="connsiteY204" fmla="*/ 2630614 h 2705233"/>
              <a:gd name="connsiteX205" fmla="*/ 2915384 w 6886183"/>
              <a:gd name="connsiteY205" fmla="*/ 2627661 h 2705233"/>
              <a:gd name="connsiteX206" fmla="*/ 2927862 w 6886183"/>
              <a:gd name="connsiteY206" fmla="*/ 2626137 h 2705233"/>
              <a:gd name="connsiteX207" fmla="*/ 2444874 w 6886183"/>
              <a:gd name="connsiteY207" fmla="*/ 2623947 h 2705233"/>
              <a:gd name="connsiteX208" fmla="*/ 2430206 w 6886183"/>
              <a:gd name="connsiteY208" fmla="*/ 2630805 h 2705233"/>
              <a:gd name="connsiteX209" fmla="*/ 2394963 w 6886183"/>
              <a:gd name="connsiteY209" fmla="*/ 2633567 h 2705233"/>
              <a:gd name="connsiteX210" fmla="*/ 2408964 w 6886183"/>
              <a:gd name="connsiteY210" fmla="*/ 2626900 h 2705233"/>
              <a:gd name="connsiteX211" fmla="*/ 2444874 w 6886183"/>
              <a:gd name="connsiteY211" fmla="*/ 2623947 h 2705233"/>
              <a:gd name="connsiteX212" fmla="*/ 2623085 w 6886183"/>
              <a:gd name="connsiteY212" fmla="*/ 2623090 h 2705233"/>
              <a:gd name="connsiteX213" fmla="*/ 2609749 w 6886183"/>
              <a:gd name="connsiteY213" fmla="*/ 2629186 h 2705233"/>
              <a:gd name="connsiteX214" fmla="*/ 2579173 w 6886183"/>
              <a:gd name="connsiteY214" fmla="*/ 2632234 h 2705233"/>
              <a:gd name="connsiteX215" fmla="*/ 2591080 w 6886183"/>
              <a:gd name="connsiteY215" fmla="*/ 2626328 h 2705233"/>
              <a:gd name="connsiteX216" fmla="*/ 2623085 w 6886183"/>
              <a:gd name="connsiteY216" fmla="*/ 2623090 h 2705233"/>
              <a:gd name="connsiteX217" fmla="*/ 2237611 w 6886183"/>
              <a:gd name="connsiteY217" fmla="*/ 2622042 h 2705233"/>
              <a:gd name="connsiteX218" fmla="*/ 2225610 w 6886183"/>
              <a:gd name="connsiteY218" fmla="*/ 2629185 h 2705233"/>
              <a:gd name="connsiteX219" fmla="*/ 2182271 w 6886183"/>
              <a:gd name="connsiteY219" fmla="*/ 2632043 h 2705233"/>
              <a:gd name="connsiteX220" fmla="*/ 2195701 w 6886183"/>
              <a:gd name="connsiteY220" fmla="*/ 2624804 h 2705233"/>
              <a:gd name="connsiteX221" fmla="*/ 2237611 w 6886183"/>
              <a:gd name="connsiteY221" fmla="*/ 2622042 h 2705233"/>
              <a:gd name="connsiteX222" fmla="*/ 2775768 w 6886183"/>
              <a:gd name="connsiteY222" fmla="*/ 2621184 h 2705233"/>
              <a:gd name="connsiteX223" fmla="*/ 2764052 w 6886183"/>
              <a:gd name="connsiteY223" fmla="*/ 2626328 h 2705233"/>
              <a:gd name="connsiteX224" fmla="*/ 2740048 w 6886183"/>
              <a:gd name="connsiteY224" fmla="*/ 2628900 h 2705233"/>
              <a:gd name="connsiteX225" fmla="*/ 2752908 w 6886183"/>
              <a:gd name="connsiteY225" fmla="*/ 2623661 h 2705233"/>
              <a:gd name="connsiteX226" fmla="*/ 2775768 w 6886183"/>
              <a:gd name="connsiteY226" fmla="*/ 2621184 h 2705233"/>
              <a:gd name="connsiteX227" fmla="*/ 1315475 w 6886183"/>
              <a:gd name="connsiteY227" fmla="*/ 2620137 h 2705233"/>
              <a:gd name="connsiteX228" fmla="*/ 1333763 w 6886183"/>
              <a:gd name="connsiteY228" fmla="*/ 2620137 h 2705233"/>
              <a:gd name="connsiteX229" fmla="*/ 1351193 w 6886183"/>
              <a:gd name="connsiteY229" fmla="*/ 2621661 h 2705233"/>
              <a:gd name="connsiteX230" fmla="*/ 1348908 w 6886183"/>
              <a:gd name="connsiteY230" fmla="*/ 2626043 h 2705233"/>
              <a:gd name="connsiteX231" fmla="*/ 1329858 w 6886183"/>
              <a:gd name="connsiteY231" fmla="*/ 2626043 h 2705233"/>
              <a:gd name="connsiteX232" fmla="*/ 1319475 w 6886183"/>
              <a:gd name="connsiteY232" fmla="*/ 2625280 h 2705233"/>
              <a:gd name="connsiteX233" fmla="*/ 1310808 w 6886183"/>
              <a:gd name="connsiteY233" fmla="*/ 2624328 h 2705233"/>
              <a:gd name="connsiteX234" fmla="*/ 1315475 w 6886183"/>
              <a:gd name="connsiteY234" fmla="*/ 2620137 h 2705233"/>
              <a:gd name="connsiteX235" fmla="*/ 2914063 w 6886183"/>
              <a:gd name="connsiteY235" fmla="*/ 2617279 h 2705233"/>
              <a:gd name="connsiteX236" fmla="*/ 2904538 w 6886183"/>
              <a:gd name="connsiteY236" fmla="*/ 2621280 h 2705233"/>
              <a:gd name="connsiteX237" fmla="*/ 2887489 w 6886183"/>
              <a:gd name="connsiteY237" fmla="*/ 2623471 h 2705233"/>
              <a:gd name="connsiteX238" fmla="*/ 2897013 w 6886183"/>
              <a:gd name="connsiteY238" fmla="*/ 2619375 h 2705233"/>
              <a:gd name="connsiteX239" fmla="*/ 2914063 w 6886183"/>
              <a:gd name="connsiteY239" fmla="*/ 2617279 h 2705233"/>
              <a:gd name="connsiteX240" fmla="*/ 1750308 w 6886183"/>
              <a:gd name="connsiteY240" fmla="*/ 2617089 h 2705233"/>
              <a:gd name="connsiteX241" fmla="*/ 1772596 w 6886183"/>
              <a:gd name="connsiteY241" fmla="*/ 2618041 h 2705233"/>
              <a:gd name="connsiteX242" fmla="*/ 1763071 w 6886183"/>
              <a:gd name="connsiteY242" fmla="*/ 2624614 h 2705233"/>
              <a:gd name="connsiteX243" fmla="*/ 1739068 w 6886183"/>
              <a:gd name="connsiteY243" fmla="*/ 2626042 h 2705233"/>
              <a:gd name="connsiteX244" fmla="*/ 1717256 w 6886183"/>
              <a:gd name="connsiteY244" fmla="*/ 2625185 h 2705233"/>
              <a:gd name="connsiteX245" fmla="*/ 1724685 w 6886183"/>
              <a:gd name="connsiteY245" fmla="*/ 2618613 h 2705233"/>
              <a:gd name="connsiteX246" fmla="*/ 1750308 w 6886183"/>
              <a:gd name="connsiteY246" fmla="*/ 2617089 h 2705233"/>
              <a:gd name="connsiteX247" fmla="*/ 1967290 w 6886183"/>
              <a:gd name="connsiteY247" fmla="*/ 2615755 h 2705233"/>
              <a:gd name="connsiteX248" fmla="*/ 1987769 w 6886183"/>
              <a:gd name="connsiteY248" fmla="*/ 2616517 h 2705233"/>
              <a:gd name="connsiteX249" fmla="*/ 1974530 w 6886183"/>
              <a:gd name="connsiteY249" fmla="*/ 2623661 h 2705233"/>
              <a:gd name="connsiteX250" fmla="*/ 1949764 w 6886183"/>
              <a:gd name="connsiteY250" fmla="*/ 2625851 h 2705233"/>
              <a:gd name="connsiteX251" fmla="*/ 1929761 w 6886183"/>
              <a:gd name="connsiteY251" fmla="*/ 2625185 h 2705233"/>
              <a:gd name="connsiteX252" fmla="*/ 1941001 w 6886183"/>
              <a:gd name="connsiteY252" fmla="*/ 2618136 h 2705233"/>
              <a:gd name="connsiteX253" fmla="*/ 1967290 w 6886183"/>
              <a:gd name="connsiteY253" fmla="*/ 2615755 h 2705233"/>
              <a:gd name="connsiteX254" fmla="*/ 3033210 w 6886183"/>
              <a:gd name="connsiteY254" fmla="*/ 2614231 h 2705233"/>
              <a:gd name="connsiteX255" fmla="*/ 3026830 w 6886183"/>
              <a:gd name="connsiteY255" fmla="*/ 2616898 h 2705233"/>
              <a:gd name="connsiteX256" fmla="*/ 3015684 w 6886183"/>
              <a:gd name="connsiteY256" fmla="*/ 2618422 h 2705233"/>
              <a:gd name="connsiteX257" fmla="*/ 3022542 w 6886183"/>
              <a:gd name="connsiteY257" fmla="*/ 2615564 h 2705233"/>
              <a:gd name="connsiteX258" fmla="*/ 3033210 w 6886183"/>
              <a:gd name="connsiteY258" fmla="*/ 2614231 h 2705233"/>
              <a:gd name="connsiteX259" fmla="*/ 2406586 w 6886183"/>
              <a:gd name="connsiteY259" fmla="*/ 2613183 h 2705233"/>
              <a:gd name="connsiteX260" fmla="*/ 2390869 w 6886183"/>
              <a:gd name="connsiteY260" fmla="*/ 2620708 h 2705233"/>
              <a:gd name="connsiteX261" fmla="*/ 2349151 w 6886183"/>
              <a:gd name="connsiteY261" fmla="*/ 2623851 h 2705233"/>
              <a:gd name="connsiteX262" fmla="*/ 2365248 w 6886183"/>
              <a:gd name="connsiteY262" fmla="*/ 2616136 h 2705233"/>
              <a:gd name="connsiteX263" fmla="*/ 2406586 w 6886183"/>
              <a:gd name="connsiteY263" fmla="*/ 2613183 h 2705233"/>
              <a:gd name="connsiteX264" fmla="*/ 1483222 w 6886183"/>
              <a:gd name="connsiteY264" fmla="*/ 2612803 h 2705233"/>
              <a:gd name="connsiteX265" fmla="*/ 1528561 w 6886183"/>
              <a:gd name="connsiteY265" fmla="*/ 2614136 h 2705233"/>
              <a:gd name="connsiteX266" fmla="*/ 1533132 w 6886183"/>
              <a:gd name="connsiteY266" fmla="*/ 2617089 h 2705233"/>
              <a:gd name="connsiteX267" fmla="*/ 1520940 w 6886183"/>
              <a:gd name="connsiteY267" fmla="*/ 2619661 h 2705233"/>
              <a:gd name="connsiteX268" fmla="*/ 1475792 w 6886183"/>
              <a:gd name="connsiteY268" fmla="*/ 2618327 h 2705233"/>
              <a:gd name="connsiteX269" fmla="*/ 1483222 w 6886183"/>
              <a:gd name="connsiteY269" fmla="*/ 2612803 h 2705233"/>
              <a:gd name="connsiteX270" fmla="*/ 2595374 w 6886183"/>
              <a:gd name="connsiteY270" fmla="*/ 2612231 h 2705233"/>
              <a:gd name="connsiteX271" fmla="*/ 2580228 w 6886183"/>
              <a:gd name="connsiteY271" fmla="*/ 2619279 h 2705233"/>
              <a:gd name="connsiteX272" fmla="*/ 2559653 w 6886183"/>
              <a:gd name="connsiteY272" fmla="*/ 2622423 h 2705233"/>
              <a:gd name="connsiteX273" fmla="*/ 2544416 w 6886183"/>
              <a:gd name="connsiteY273" fmla="*/ 2622804 h 2705233"/>
              <a:gd name="connsiteX274" fmla="*/ 2558130 w 6886183"/>
              <a:gd name="connsiteY274" fmla="*/ 2615755 h 2705233"/>
              <a:gd name="connsiteX275" fmla="*/ 2595374 w 6886183"/>
              <a:gd name="connsiteY275" fmla="*/ 2612231 h 2705233"/>
              <a:gd name="connsiteX276" fmla="*/ 2755962 w 6886183"/>
              <a:gd name="connsiteY276" fmla="*/ 2610992 h 2705233"/>
              <a:gd name="connsiteX277" fmla="*/ 2741771 w 6886183"/>
              <a:gd name="connsiteY277" fmla="*/ 2617184 h 2705233"/>
              <a:gd name="connsiteX278" fmla="*/ 2713477 w 6886183"/>
              <a:gd name="connsiteY278" fmla="*/ 2620136 h 2705233"/>
              <a:gd name="connsiteX279" fmla="*/ 2726529 w 6886183"/>
              <a:gd name="connsiteY279" fmla="*/ 2614136 h 2705233"/>
              <a:gd name="connsiteX280" fmla="*/ 2755962 w 6886183"/>
              <a:gd name="connsiteY280" fmla="*/ 2610992 h 2705233"/>
              <a:gd name="connsiteX281" fmla="*/ 2187509 w 6886183"/>
              <a:gd name="connsiteY281" fmla="*/ 2609849 h 2705233"/>
              <a:gd name="connsiteX282" fmla="*/ 2170936 w 6886183"/>
              <a:gd name="connsiteY282" fmla="*/ 2617946 h 2705233"/>
              <a:gd name="connsiteX283" fmla="*/ 2145218 w 6886183"/>
              <a:gd name="connsiteY283" fmla="*/ 2620613 h 2705233"/>
              <a:gd name="connsiteX284" fmla="*/ 2125407 w 6886183"/>
              <a:gd name="connsiteY284" fmla="*/ 2620232 h 2705233"/>
              <a:gd name="connsiteX285" fmla="*/ 2141886 w 6886183"/>
              <a:gd name="connsiteY285" fmla="*/ 2612135 h 2705233"/>
              <a:gd name="connsiteX286" fmla="*/ 2187509 w 6886183"/>
              <a:gd name="connsiteY286" fmla="*/ 2609849 h 2705233"/>
              <a:gd name="connsiteX287" fmla="*/ 2895591 w 6886183"/>
              <a:gd name="connsiteY287" fmla="*/ 2608707 h 2705233"/>
              <a:gd name="connsiteX288" fmla="*/ 2884354 w 6886183"/>
              <a:gd name="connsiteY288" fmla="*/ 2613755 h 2705233"/>
              <a:gd name="connsiteX289" fmla="*/ 2862732 w 6886183"/>
              <a:gd name="connsiteY289" fmla="*/ 2616327 h 2705233"/>
              <a:gd name="connsiteX290" fmla="*/ 2873303 w 6886183"/>
              <a:gd name="connsiteY290" fmla="*/ 2611564 h 2705233"/>
              <a:gd name="connsiteX291" fmla="*/ 2895591 w 6886183"/>
              <a:gd name="connsiteY291" fmla="*/ 2608707 h 2705233"/>
              <a:gd name="connsiteX292" fmla="*/ 3019502 w 6886183"/>
              <a:gd name="connsiteY292" fmla="*/ 2606040 h 2705233"/>
              <a:gd name="connsiteX293" fmla="*/ 3009977 w 6886183"/>
              <a:gd name="connsiteY293" fmla="*/ 2609945 h 2705233"/>
              <a:gd name="connsiteX294" fmla="*/ 2994736 w 6886183"/>
              <a:gd name="connsiteY294" fmla="*/ 2611660 h 2705233"/>
              <a:gd name="connsiteX295" fmla="*/ 3004642 w 6886183"/>
              <a:gd name="connsiteY295" fmla="*/ 2607945 h 2705233"/>
              <a:gd name="connsiteX296" fmla="*/ 3019502 w 6886183"/>
              <a:gd name="connsiteY296" fmla="*/ 2606040 h 2705233"/>
              <a:gd name="connsiteX297" fmla="*/ 2562037 w 6886183"/>
              <a:gd name="connsiteY297" fmla="*/ 2602134 h 2705233"/>
              <a:gd name="connsiteX298" fmla="*/ 2542416 w 6886183"/>
              <a:gd name="connsiteY298" fmla="*/ 2610326 h 2705233"/>
              <a:gd name="connsiteX299" fmla="*/ 2505458 w 6886183"/>
              <a:gd name="connsiteY299" fmla="*/ 2613088 h 2705233"/>
              <a:gd name="connsiteX300" fmla="*/ 2525081 w 6886183"/>
              <a:gd name="connsiteY300" fmla="*/ 2604896 h 2705233"/>
              <a:gd name="connsiteX301" fmla="*/ 2562037 w 6886183"/>
              <a:gd name="connsiteY301" fmla="*/ 2602134 h 2705233"/>
              <a:gd name="connsiteX302" fmla="*/ 2730157 w 6886183"/>
              <a:gd name="connsiteY302" fmla="*/ 2601182 h 2705233"/>
              <a:gd name="connsiteX303" fmla="*/ 2714912 w 6886183"/>
              <a:gd name="connsiteY303" fmla="*/ 2608421 h 2705233"/>
              <a:gd name="connsiteX304" fmla="*/ 2681669 w 6886183"/>
              <a:gd name="connsiteY304" fmla="*/ 2611945 h 2705233"/>
              <a:gd name="connsiteX305" fmla="*/ 2696339 w 6886183"/>
              <a:gd name="connsiteY305" fmla="*/ 2604992 h 2705233"/>
              <a:gd name="connsiteX306" fmla="*/ 2730157 w 6886183"/>
              <a:gd name="connsiteY306" fmla="*/ 2601182 h 2705233"/>
              <a:gd name="connsiteX307" fmla="*/ 2364964 w 6886183"/>
              <a:gd name="connsiteY307" fmla="*/ 2600515 h 2705233"/>
              <a:gd name="connsiteX308" fmla="*/ 2348773 w 6886183"/>
              <a:gd name="connsiteY308" fmla="*/ 2608802 h 2705233"/>
              <a:gd name="connsiteX309" fmla="*/ 2322864 w 6886183"/>
              <a:gd name="connsiteY309" fmla="*/ 2612135 h 2705233"/>
              <a:gd name="connsiteX310" fmla="*/ 2303815 w 6886183"/>
              <a:gd name="connsiteY310" fmla="*/ 2612135 h 2705233"/>
              <a:gd name="connsiteX311" fmla="*/ 2320006 w 6886183"/>
              <a:gd name="connsiteY311" fmla="*/ 2603658 h 2705233"/>
              <a:gd name="connsiteX312" fmla="*/ 2364964 w 6886183"/>
              <a:gd name="connsiteY312" fmla="*/ 2600515 h 2705233"/>
              <a:gd name="connsiteX313" fmla="*/ 2876738 w 6886183"/>
              <a:gd name="connsiteY313" fmla="*/ 2599849 h 2705233"/>
              <a:gd name="connsiteX314" fmla="*/ 2863024 w 6886183"/>
              <a:gd name="connsiteY314" fmla="*/ 2605659 h 2705233"/>
              <a:gd name="connsiteX315" fmla="*/ 2836352 w 6886183"/>
              <a:gd name="connsiteY315" fmla="*/ 2608802 h 2705233"/>
              <a:gd name="connsiteX316" fmla="*/ 2850544 w 6886183"/>
              <a:gd name="connsiteY316" fmla="*/ 2602706 h 2705233"/>
              <a:gd name="connsiteX317" fmla="*/ 2876738 w 6886183"/>
              <a:gd name="connsiteY317" fmla="*/ 2599849 h 2705233"/>
              <a:gd name="connsiteX318" fmla="*/ 1902998 w 6886183"/>
              <a:gd name="connsiteY318" fmla="*/ 2599753 h 2705233"/>
              <a:gd name="connsiteX319" fmla="*/ 1925286 w 6886183"/>
              <a:gd name="connsiteY319" fmla="*/ 2600705 h 2705233"/>
              <a:gd name="connsiteX320" fmla="*/ 1914999 w 6886183"/>
              <a:gd name="connsiteY320" fmla="*/ 2608135 h 2705233"/>
              <a:gd name="connsiteX321" fmla="*/ 1886425 w 6886183"/>
              <a:gd name="connsiteY321" fmla="*/ 2610611 h 2705233"/>
              <a:gd name="connsiteX322" fmla="*/ 1873567 w 6886183"/>
              <a:gd name="connsiteY322" fmla="*/ 2610611 h 2705233"/>
              <a:gd name="connsiteX323" fmla="*/ 1863279 w 6886183"/>
              <a:gd name="connsiteY323" fmla="*/ 2609564 h 2705233"/>
              <a:gd name="connsiteX324" fmla="*/ 1875471 w 6886183"/>
              <a:gd name="connsiteY324" fmla="*/ 2602039 h 2705233"/>
              <a:gd name="connsiteX325" fmla="*/ 1902998 w 6886183"/>
              <a:gd name="connsiteY325" fmla="*/ 2599753 h 2705233"/>
              <a:gd name="connsiteX326" fmla="*/ 1656870 w 6886183"/>
              <a:gd name="connsiteY326" fmla="*/ 2599182 h 2705233"/>
              <a:gd name="connsiteX327" fmla="*/ 1671157 w 6886183"/>
              <a:gd name="connsiteY327" fmla="*/ 2599182 h 2705233"/>
              <a:gd name="connsiteX328" fmla="*/ 1693350 w 6886183"/>
              <a:gd name="connsiteY328" fmla="*/ 2600325 h 2705233"/>
              <a:gd name="connsiteX329" fmla="*/ 1681920 w 6886183"/>
              <a:gd name="connsiteY329" fmla="*/ 2607468 h 2705233"/>
              <a:gd name="connsiteX330" fmla="*/ 1654869 w 6886183"/>
              <a:gd name="connsiteY330" fmla="*/ 2608611 h 2705233"/>
              <a:gd name="connsiteX331" fmla="*/ 1631438 w 6886183"/>
              <a:gd name="connsiteY331" fmla="*/ 2607087 h 2705233"/>
              <a:gd name="connsiteX332" fmla="*/ 1643440 w 6886183"/>
              <a:gd name="connsiteY332" fmla="*/ 2599944 h 2705233"/>
              <a:gd name="connsiteX333" fmla="*/ 1656870 w 6886183"/>
              <a:gd name="connsiteY333" fmla="*/ 2599182 h 2705233"/>
              <a:gd name="connsiteX334" fmla="*/ 3008078 w 6886183"/>
              <a:gd name="connsiteY334" fmla="*/ 2596800 h 2705233"/>
              <a:gd name="connsiteX335" fmla="*/ 2996173 w 6886183"/>
              <a:gd name="connsiteY335" fmla="*/ 2601753 h 2705233"/>
              <a:gd name="connsiteX336" fmla="*/ 2977125 w 6886183"/>
              <a:gd name="connsiteY336" fmla="*/ 2604039 h 2705233"/>
              <a:gd name="connsiteX337" fmla="*/ 2989029 w 6886183"/>
              <a:gd name="connsiteY337" fmla="*/ 2599182 h 2705233"/>
              <a:gd name="connsiteX338" fmla="*/ 3008078 w 6886183"/>
              <a:gd name="connsiteY338" fmla="*/ 2596800 h 2705233"/>
              <a:gd name="connsiteX339" fmla="*/ 2137125 w 6886183"/>
              <a:gd name="connsiteY339" fmla="*/ 2595848 h 2705233"/>
              <a:gd name="connsiteX340" fmla="*/ 2120552 w 6886183"/>
              <a:gd name="connsiteY340" fmla="*/ 2604135 h 2705233"/>
              <a:gd name="connsiteX341" fmla="*/ 2091977 w 6886183"/>
              <a:gd name="connsiteY341" fmla="*/ 2607088 h 2705233"/>
              <a:gd name="connsiteX342" fmla="*/ 2069974 w 6886183"/>
              <a:gd name="connsiteY342" fmla="*/ 2606231 h 2705233"/>
              <a:gd name="connsiteX343" fmla="*/ 2086071 w 6886183"/>
              <a:gd name="connsiteY343" fmla="*/ 2597944 h 2705233"/>
              <a:gd name="connsiteX344" fmla="*/ 2137125 w 6886183"/>
              <a:gd name="connsiteY344" fmla="*/ 2595848 h 2705233"/>
              <a:gd name="connsiteX345" fmla="*/ 3120080 w 6886183"/>
              <a:gd name="connsiteY345" fmla="*/ 2594610 h 2705233"/>
              <a:gd name="connsiteX346" fmla="*/ 3112173 w 6886183"/>
              <a:gd name="connsiteY346" fmla="*/ 2597848 h 2705233"/>
              <a:gd name="connsiteX347" fmla="*/ 3100838 w 6886183"/>
              <a:gd name="connsiteY347" fmla="*/ 2599277 h 2705233"/>
              <a:gd name="connsiteX348" fmla="*/ 3108745 w 6886183"/>
              <a:gd name="connsiteY348" fmla="*/ 2596134 h 2705233"/>
              <a:gd name="connsiteX349" fmla="*/ 3120080 w 6886183"/>
              <a:gd name="connsiteY349" fmla="*/ 2594610 h 2705233"/>
              <a:gd name="connsiteX350" fmla="*/ 1204133 w 6886183"/>
              <a:gd name="connsiteY350" fmla="*/ 2592895 h 2705233"/>
              <a:gd name="connsiteX351" fmla="*/ 1226041 w 6886183"/>
              <a:gd name="connsiteY351" fmla="*/ 2593943 h 2705233"/>
              <a:gd name="connsiteX352" fmla="*/ 1236804 w 6886183"/>
              <a:gd name="connsiteY352" fmla="*/ 2595181 h 2705233"/>
              <a:gd name="connsiteX353" fmla="*/ 1245091 w 6886183"/>
              <a:gd name="connsiteY353" fmla="*/ 2596515 h 2705233"/>
              <a:gd name="connsiteX354" fmla="*/ 1239661 w 6886183"/>
              <a:gd name="connsiteY354" fmla="*/ 2600801 h 2705233"/>
              <a:gd name="connsiteX355" fmla="*/ 1196132 w 6886183"/>
              <a:gd name="connsiteY355" fmla="*/ 2596991 h 2705233"/>
              <a:gd name="connsiteX356" fmla="*/ 1192417 w 6886183"/>
              <a:gd name="connsiteY356" fmla="*/ 2594134 h 2705233"/>
              <a:gd name="connsiteX357" fmla="*/ 1204133 w 6886183"/>
              <a:gd name="connsiteY357" fmla="*/ 2592895 h 2705233"/>
              <a:gd name="connsiteX358" fmla="*/ 2507366 w 6886183"/>
              <a:gd name="connsiteY358" fmla="*/ 2590895 h 2705233"/>
              <a:gd name="connsiteX359" fmla="*/ 2526416 w 6886183"/>
              <a:gd name="connsiteY359" fmla="*/ 2590895 h 2705233"/>
              <a:gd name="connsiteX360" fmla="*/ 2508891 w 6886183"/>
              <a:gd name="connsiteY360" fmla="*/ 2599468 h 2705233"/>
              <a:gd name="connsiteX361" fmla="*/ 2464599 w 6886183"/>
              <a:gd name="connsiteY361" fmla="*/ 2603182 h 2705233"/>
              <a:gd name="connsiteX362" fmla="*/ 2481744 w 6886183"/>
              <a:gd name="connsiteY362" fmla="*/ 2594515 h 2705233"/>
              <a:gd name="connsiteX363" fmla="*/ 2507366 w 6886183"/>
              <a:gd name="connsiteY363" fmla="*/ 2590895 h 2705233"/>
              <a:gd name="connsiteX364" fmla="*/ 2691481 w 6886183"/>
              <a:gd name="connsiteY364" fmla="*/ 2590609 h 2705233"/>
              <a:gd name="connsiteX365" fmla="*/ 2705960 w 6886183"/>
              <a:gd name="connsiteY365" fmla="*/ 2590609 h 2705233"/>
              <a:gd name="connsiteX366" fmla="*/ 2689863 w 6886183"/>
              <a:gd name="connsiteY366" fmla="*/ 2598229 h 2705233"/>
              <a:gd name="connsiteX367" fmla="*/ 2652810 w 6886183"/>
              <a:gd name="connsiteY367" fmla="*/ 2601944 h 2705233"/>
              <a:gd name="connsiteX368" fmla="*/ 2670050 w 6886183"/>
              <a:gd name="connsiteY368" fmla="*/ 2594038 h 2705233"/>
              <a:gd name="connsiteX369" fmla="*/ 2691481 w 6886183"/>
              <a:gd name="connsiteY369" fmla="*/ 2590609 h 2705233"/>
              <a:gd name="connsiteX370" fmla="*/ 2859600 w 6886183"/>
              <a:gd name="connsiteY370" fmla="*/ 2589942 h 2705233"/>
              <a:gd name="connsiteX371" fmla="*/ 2843313 w 6886183"/>
              <a:gd name="connsiteY371" fmla="*/ 2597086 h 2705233"/>
              <a:gd name="connsiteX372" fmla="*/ 2812927 w 6886183"/>
              <a:gd name="connsiteY372" fmla="*/ 2600324 h 2705233"/>
              <a:gd name="connsiteX373" fmla="*/ 2829120 w 6886183"/>
              <a:gd name="connsiteY373" fmla="*/ 2593276 h 2705233"/>
              <a:gd name="connsiteX374" fmla="*/ 2859600 w 6886183"/>
              <a:gd name="connsiteY374" fmla="*/ 2589942 h 2705233"/>
              <a:gd name="connsiteX375" fmla="*/ 1381970 w 6886183"/>
              <a:gd name="connsiteY375" fmla="*/ 2589466 h 2705233"/>
              <a:gd name="connsiteX376" fmla="*/ 1394733 w 6886183"/>
              <a:gd name="connsiteY376" fmla="*/ 2589466 h 2705233"/>
              <a:gd name="connsiteX377" fmla="*/ 1401877 w 6886183"/>
              <a:gd name="connsiteY377" fmla="*/ 2589466 h 2705233"/>
              <a:gd name="connsiteX378" fmla="*/ 1409020 w 6886183"/>
              <a:gd name="connsiteY378" fmla="*/ 2589466 h 2705233"/>
              <a:gd name="connsiteX379" fmla="*/ 1432262 w 6886183"/>
              <a:gd name="connsiteY379" fmla="*/ 2591942 h 2705233"/>
              <a:gd name="connsiteX380" fmla="*/ 1423975 w 6886183"/>
              <a:gd name="connsiteY380" fmla="*/ 2597658 h 2705233"/>
              <a:gd name="connsiteX381" fmla="*/ 1397305 w 6886183"/>
              <a:gd name="connsiteY381" fmla="*/ 2597658 h 2705233"/>
              <a:gd name="connsiteX382" fmla="*/ 1373779 w 6886183"/>
              <a:gd name="connsiteY382" fmla="*/ 2595086 h 2705233"/>
              <a:gd name="connsiteX383" fmla="*/ 1381970 w 6886183"/>
              <a:gd name="connsiteY383" fmla="*/ 2589466 h 2705233"/>
              <a:gd name="connsiteX384" fmla="*/ 2992751 w 6886183"/>
              <a:gd name="connsiteY384" fmla="*/ 2588038 h 2705233"/>
              <a:gd name="connsiteX385" fmla="*/ 2978843 w 6886183"/>
              <a:gd name="connsiteY385" fmla="*/ 2593657 h 2705233"/>
              <a:gd name="connsiteX386" fmla="*/ 2955223 w 6886183"/>
              <a:gd name="connsiteY386" fmla="*/ 2596420 h 2705233"/>
              <a:gd name="connsiteX387" fmla="*/ 2969793 w 6886183"/>
              <a:gd name="connsiteY387" fmla="*/ 2590514 h 2705233"/>
              <a:gd name="connsiteX388" fmla="*/ 2992751 w 6886183"/>
              <a:gd name="connsiteY388" fmla="*/ 2588038 h 2705233"/>
              <a:gd name="connsiteX389" fmla="*/ 2319724 w 6886183"/>
              <a:gd name="connsiteY389" fmla="*/ 2587847 h 2705233"/>
              <a:gd name="connsiteX390" fmla="*/ 2301149 w 6886183"/>
              <a:gd name="connsiteY390" fmla="*/ 2597372 h 2705233"/>
              <a:gd name="connsiteX391" fmla="*/ 2272575 w 6886183"/>
              <a:gd name="connsiteY391" fmla="*/ 2600610 h 2705233"/>
              <a:gd name="connsiteX392" fmla="*/ 2251429 w 6886183"/>
              <a:gd name="connsiteY392" fmla="*/ 2600610 h 2705233"/>
              <a:gd name="connsiteX393" fmla="*/ 2269908 w 6886183"/>
              <a:gd name="connsiteY393" fmla="*/ 2590800 h 2705233"/>
              <a:gd name="connsiteX394" fmla="*/ 2319724 w 6886183"/>
              <a:gd name="connsiteY394" fmla="*/ 2587847 h 2705233"/>
              <a:gd name="connsiteX395" fmla="*/ 3108184 w 6886183"/>
              <a:gd name="connsiteY395" fmla="*/ 2585752 h 2705233"/>
              <a:gd name="connsiteX396" fmla="*/ 3098373 w 6886183"/>
              <a:gd name="connsiteY396" fmla="*/ 2589943 h 2705233"/>
              <a:gd name="connsiteX397" fmla="*/ 3081895 w 6886183"/>
              <a:gd name="connsiteY397" fmla="*/ 2592038 h 2705233"/>
              <a:gd name="connsiteX398" fmla="*/ 3092658 w 6886183"/>
              <a:gd name="connsiteY398" fmla="*/ 2587752 h 2705233"/>
              <a:gd name="connsiteX399" fmla="*/ 3108184 w 6886183"/>
              <a:gd name="connsiteY399" fmla="*/ 2585752 h 2705233"/>
              <a:gd name="connsiteX400" fmla="*/ 1828989 w 6886183"/>
              <a:gd name="connsiteY400" fmla="*/ 2582608 h 2705233"/>
              <a:gd name="connsiteX401" fmla="*/ 1854517 w 6886183"/>
              <a:gd name="connsiteY401" fmla="*/ 2583846 h 2705233"/>
              <a:gd name="connsiteX402" fmla="*/ 1841753 w 6886183"/>
              <a:gd name="connsiteY402" fmla="*/ 2592228 h 2705233"/>
              <a:gd name="connsiteX403" fmla="*/ 1827180 w 6886183"/>
              <a:gd name="connsiteY403" fmla="*/ 2593657 h 2705233"/>
              <a:gd name="connsiteX404" fmla="*/ 1811559 w 6886183"/>
              <a:gd name="connsiteY404" fmla="*/ 2594229 h 2705233"/>
              <a:gd name="connsiteX405" fmla="*/ 1785841 w 6886183"/>
              <a:gd name="connsiteY405" fmla="*/ 2592895 h 2705233"/>
              <a:gd name="connsiteX406" fmla="*/ 1798319 w 6886183"/>
              <a:gd name="connsiteY406" fmla="*/ 2584513 h 2705233"/>
              <a:gd name="connsiteX407" fmla="*/ 1828989 w 6886183"/>
              <a:gd name="connsiteY407" fmla="*/ 2582608 h 2705233"/>
              <a:gd name="connsiteX408" fmla="*/ 2836840 w 6886183"/>
              <a:gd name="connsiteY408" fmla="*/ 2579655 h 2705233"/>
              <a:gd name="connsiteX409" fmla="*/ 2817790 w 6886183"/>
              <a:gd name="connsiteY409" fmla="*/ 2587561 h 2705233"/>
              <a:gd name="connsiteX410" fmla="*/ 2784928 w 6886183"/>
              <a:gd name="connsiteY410" fmla="*/ 2590990 h 2705233"/>
              <a:gd name="connsiteX411" fmla="*/ 2802646 w 6886183"/>
              <a:gd name="connsiteY411" fmla="*/ 2583179 h 2705233"/>
              <a:gd name="connsiteX412" fmla="*/ 2836840 w 6886183"/>
              <a:gd name="connsiteY412" fmla="*/ 2579655 h 2705233"/>
              <a:gd name="connsiteX413" fmla="*/ 2678056 w 6886183"/>
              <a:gd name="connsiteY413" fmla="*/ 2579179 h 2705233"/>
              <a:gd name="connsiteX414" fmla="*/ 2658148 w 6886183"/>
              <a:gd name="connsiteY414" fmla="*/ 2588704 h 2705233"/>
              <a:gd name="connsiteX415" fmla="*/ 2617286 w 6886183"/>
              <a:gd name="connsiteY415" fmla="*/ 2592419 h 2705233"/>
              <a:gd name="connsiteX416" fmla="*/ 2637098 w 6886183"/>
              <a:gd name="connsiteY416" fmla="*/ 2582894 h 2705233"/>
              <a:gd name="connsiteX417" fmla="*/ 2678056 w 6886183"/>
              <a:gd name="connsiteY417" fmla="*/ 2579179 h 2705233"/>
              <a:gd name="connsiteX418" fmla="*/ 2050925 w 6886183"/>
              <a:gd name="connsiteY418" fmla="*/ 2578989 h 2705233"/>
              <a:gd name="connsiteX419" fmla="*/ 2073976 w 6886183"/>
              <a:gd name="connsiteY419" fmla="*/ 2580132 h 2705233"/>
              <a:gd name="connsiteX420" fmla="*/ 2056355 w 6886183"/>
              <a:gd name="connsiteY420" fmla="*/ 2589657 h 2705233"/>
              <a:gd name="connsiteX421" fmla="*/ 2002729 w 6886183"/>
              <a:gd name="connsiteY421" fmla="*/ 2591276 h 2705233"/>
              <a:gd name="connsiteX422" fmla="*/ 2020064 w 6886183"/>
              <a:gd name="connsiteY422" fmla="*/ 2581751 h 2705233"/>
              <a:gd name="connsiteX423" fmla="*/ 2050925 w 6886183"/>
              <a:gd name="connsiteY423" fmla="*/ 2578989 h 2705233"/>
              <a:gd name="connsiteX424" fmla="*/ 2472507 w 6886183"/>
              <a:gd name="connsiteY424" fmla="*/ 2577941 h 2705233"/>
              <a:gd name="connsiteX425" fmla="*/ 2492508 w 6886183"/>
              <a:gd name="connsiteY425" fmla="*/ 2577941 h 2705233"/>
              <a:gd name="connsiteX426" fmla="*/ 2472127 w 6886183"/>
              <a:gd name="connsiteY426" fmla="*/ 2587752 h 2705233"/>
              <a:gd name="connsiteX427" fmla="*/ 2444599 w 6886183"/>
              <a:gd name="connsiteY427" fmla="*/ 2591372 h 2705233"/>
              <a:gd name="connsiteX428" fmla="*/ 2424883 w 6886183"/>
              <a:gd name="connsiteY428" fmla="*/ 2591372 h 2705233"/>
              <a:gd name="connsiteX429" fmla="*/ 2443932 w 6886183"/>
              <a:gd name="connsiteY429" fmla="*/ 2581847 h 2705233"/>
              <a:gd name="connsiteX430" fmla="*/ 2472507 w 6886183"/>
              <a:gd name="connsiteY430" fmla="*/ 2577941 h 2705233"/>
              <a:gd name="connsiteX431" fmla="*/ 1586766 w 6886183"/>
              <a:gd name="connsiteY431" fmla="*/ 2577751 h 2705233"/>
              <a:gd name="connsiteX432" fmla="*/ 1611244 w 6886183"/>
              <a:gd name="connsiteY432" fmla="*/ 2579846 h 2705233"/>
              <a:gd name="connsiteX433" fmla="*/ 1598482 w 6886183"/>
              <a:gd name="connsiteY433" fmla="*/ 2587371 h 2705233"/>
              <a:gd name="connsiteX434" fmla="*/ 1569430 w 6886183"/>
              <a:gd name="connsiteY434" fmla="*/ 2587942 h 2705233"/>
              <a:gd name="connsiteX435" fmla="*/ 1544856 w 6886183"/>
              <a:gd name="connsiteY435" fmla="*/ 2585752 h 2705233"/>
              <a:gd name="connsiteX436" fmla="*/ 1557332 w 6886183"/>
              <a:gd name="connsiteY436" fmla="*/ 2578322 h 2705233"/>
              <a:gd name="connsiteX437" fmla="*/ 1586766 w 6886183"/>
              <a:gd name="connsiteY437" fmla="*/ 2577751 h 2705233"/>
              <a:gd name="connsiteX438" fmla="*/ 2978091 w 6886183"/>
              <a:gd name="connsiteY438" fmla="*/ 2577655 h 2705233"/>
              <a:gd name="connsiteX439" fmla="*/ 2961421 w 6886183"/>
              <a:gd name="connsiteY439" fmla="*/ 2584418 h 2705233"/>
              <a:gd name="connsiteX440" fmla="*/ 2935132 w 6886183"/>
              <a:gd name="connsiteY440" fmla="*/ 2587276 h 2705233"/>
              <a:gd name="connsiteX441" fmla="*/ 2950753 w 6886183"/>
              <a:gd name="connsiteY441" fmla="*/ 2580703 h 2705233"/>
              <a:gd name="connsiteX442" fmla="*/ 2978091 w 6886183"/>
              <a:gd name="connsiteY442" fmla="*/ 2577655 h 2705233"/>
              <a:gd name="connsiteX443" fmla="*/ 3099618 w 6886183"/>
              <a:gd name="connsiteY443" fmla="*/ 2576227 h 2705233"/>
              <a:gd name="connsiteX444" fmla="*/ 3086663 w 6886183"/>
              <a:gd name="connsiteY444" fmla="*/ 2581370 h 2705233"/>
              <a:gd name="connsiteX445" fmla="*/ 3066280 w 6886183"/>
              <a:gd name="connsiteY445" fmla="*/ 2583847 h 2705233"/>
              <a:gd name="connsiteX446" fmla="*/ 3079806 w 6886183"/>
              <a:gd name="connsiteY446" fmla="*/ 2578418 h 2705233"/>
              <a:gd name="connsiteX447" fmla="*/ 3099618 w 6886183"/>
              <a:gd name="connsiteY447" fmla="*/ 2576227 h 2705233"/>
              <a:gd name="connsiteX448" fmla="*/ 3206860 w 6886183"/>
              <a:gd name="connsiteY448" fmla="*/ 2574417 h 2705233"/>
              <a:gd name="connsiteX449" fmla="*/ 3197335 w 6886183"/>
              <a:gd name="connsiteY449" fmla="*/ 2578227 h 2705233"/>
              <a:gd name="connsiteX450" fmla="*/ 3183715 w 6886183"/>
              <a:gd name="connsiteY450" fmla="*/ 2580037 h 2705233"/>
              <a:gd name="connsiteX451" fmla="*/ 3192383 w 6886183"/>
              <a:gd name="connsiteY451" fmla="*/ 2576322 h 2705233"/>
              <a:gd name="connsiteX452" fmla="*/ 3206860 w 6886183"/>
              <a:gd name="connsiteY452" fmla="*/ 2574417 h 2705233"/>
              <a:gd name="connsiteX453" fmla="*/ 2274101 w 6886183"/>
              <a:gd name="connsiteY453" fmla="*/ 2573750 h 2705233"/>
              <a:gd name="connsiteX454" fmla="*/ 2256194 w 6886183"/>
              <a:gd name="connsiteY454" fmla="*/ 2583275 h 2705233"/>
              <a:gd name="connsiteX455" fmla="*/ 2225429 w 6886183"/>
              <a:gd name="connsiteY455" fmla="*/ 2586894 h 2705233"/>
              <a:gd name="connsiteX456" fmla="*/ 2201521 w 6886183"/>
              <a:gd name="connsiteY456" fmla="*/ 2586418 h 2705233"/>
              <a:gd name="connsiteX457" fmla="*/ 2219142 w 6886183"/>
              <a:gd name="connsiteY457" fmla="*/ 2576893 h 2705233"/>
              <a:gd name="connsiteX458" fmla="*/ 2274101 w 6886183"/>
              <a:gd name="connsiteY458" fmla="*/ 2573750 h 2705233"/>
              <a:gd name="connsiteX459" fmla="*/ 2816173 w 6886183"/>
              <a:gd name="connsiteY459" fmla="*/ 2567749 h 2705233"/>
              <a:gd name="connsiteX460" fmla="*/ 2797124 w 6886183"/>
              <a:gd name="connsiteY460" fmla="*/ 2576417 h 2705233"/>
              <a:gd name="connsiteX461" fmla="*/ 2757311 w 6886183"/>
              <a:gd name="connsiteY461" fmla="*/ 2580608 h 2705233"/>
              <a:gd name="connsiteX462" fmla="*/ 2776836 w 6886183"/>
              <a:gd name="connsiteY462" fmla="*/ 2571655 h 2705233"/>
              <a:gd name="connsiteX463" fmla="*/ 2816173 w 6886183"/>
              <a:gd name="connsiteY463" fmla="*/ 2567749 h 2705233"/>
              <a:gd name="connsiteX464" fmla="*/ 2960094 w 6886183"/>
              <a:gd name="connsiteY464" fmla="*/ 2567559 h 2705233"/>
              <a:gd name="connsiteX465" fmla="*/ 2943235 w 6886183"/>
              <a:gd name="connsiteY465" fmla="*/ 2574988 h 2705233"/>
              <a:gd name="connsiteX466" fmla="*/ 2911135 w 6886183"/>
              <a:gd name="connsiteY466" fmla="*/ 2578703 h 2705233"/>
              <a:gd name="connsiteX467" fmla="*/ 2927901 w 6886183"/>
              <a:gd name="connsiteY467" fmla="*/ 2571273 h 2705233"/>
              <a:gd name="connsiteX468" fmla="*/ 2960094 w 6886183"/>
              <a:gd name="connsiteY468" fmla="*/ 2567559 h 2705233"/>
              <a:gd name="connsiteX469" fmla="*/ 2649581 w 6886183"/>
              <a:gd name="connsiteY469" fmla="*/ 2567559 h 2705233"/>
              <a:gd name="connsiteX470" fmla="*/ 2630530 w 6886183"/>
              <a:gd name="connsiteY470" fmla="*/ 2577084 h 2705233"/>
              <a:gd name="connsiteX471" fmla="*/ 2584714 w 6886183"/>
              <a:gd name="connsiteY471" fmla="*/ 2581275 h 2705233"/>
              <a:gd name="connsiteX472" fmla="*/ 2603764 w 6886183"/>
              <a:gd name="connsiteY472" fmla="*/ 2571750 h 2705233"/>
              <a:gd name="connsiteX473" fmla="*/ 2649581 w 6886183"/>
              <a:gd name="connsiteY473" fmla="*/ 2567559 h 2705233"/>
              <a:gd name="connsiteX474" fmla="*/ 3086292 w 6886183"/>
              <a:gd name="connsiteY474" fmla="*/ 2566606 h 2705233"/>
              <a:gd name="connsiteX475" fmla="*/ 3072005 w 6886183"/>
              <a:gd name="connsiteY475" fmla="*/ 2572797 h 2705233"/>
              <a:gd name="connsiteX476" fmla="*/ 3047240 w 6886183"/>
              <a:gd name="connsiteY476" fmla="*/ 2576036 h 2705233"/>
              <a:gd name="connsiteX477" fmla="*/ 3062098 w 6886183"/>
              <a:gd name="connsiteY477" fmla="*/ 2569559 h 2705233"/>
              <a:gd name="connsiteX478" fmla="*/ 3086292 w 6886183"/>
              <a:gd name="connsiteY478" fmla="*/ 2566606 h 2705233"/>
              <a:gd name="connsiteX479" fmla="*/ 2451459 w 6886183"/>
              <a:gd name="connsiteY479" fmla="*/ 2565558 h 2705233"/>
              <a:gd name="connsiteX480" fmla="*/ 2428504 w 6886183"/>
              <a:gd name="connsiteY480" fmla="*/ 2575845 h 2705233"/>
              <a:gd name="connsiteX481" fmla="*/ 2378212 w 6886183"/>
              <a:gd name="connsiteY481" fmla="*/ 2578988 h 2705233"/>
              <a:gd name="connsiteX482" fmla="*/ 2401738 w 6886183"/>
              <a:gd name="connsiteY482" fmla="*/ 2568320 h 2705233"/>
              <a:gd name="connsiteX483" fmla="*/ 2451459 w 6886183"/>
              <a:gd name="connsiteY483" fmla="*/ 2565558 h 2705233"/>
              <a:gd name="connsiteX484" fmla="*/ 3200675 w 6886183"/>
              <a:gd name="connsiteY484" fmla="*/ 2564606 h 2705233"/>
              <a:gd name="connsiteX485" fmla="*/ 3188769 w 6886183"/>
              <a:gd name="connsiteY485" fmla="*/ 2569464 h 2705233"/>
              <a:gd name="connsiteX486" fmla="*/ 3171148 w 6886183"/>
              <a:gd name="connsiteY486" fmla="*/ 2571750 h 2705233"/>
              <a:gd name="connsiteX487" fmla="*/ 3183052 w 6886183"/>
              <a:gd name="connsiteY487" fmla="*/ 2566892 h 2705233"/>
              <a:gd name="connsiteX488" fmla="*/ 3200675 w 6886183"/>
              <a:gd name="connsiteY488" fmla="*/ 2564606 h 2705233"/>
              <a:gd name="connsiteX489" fmla="*/ 3298290 w 6886183"/>
              <a:gd name="connsiteY489" fmla="*/ 2563558 h 2705233"/>
              <a:gd name="connsiteX490" fmla="*/ 3291528 w 6886183"/>
              <a:gd name="connsiteY490" fmla="*/ 2566225 h 2705233"/>
              <a:gd name="connsiteX491" fmla="*/ 3280860 w 6886183"/>
              <a:gd name="connsiteY491" fmla="*/ 2567844 h 2705233"/>
              <a:gd name="connsiteX492" fmla="*/ 3288098 w 6886183"/>
              <a:gd name="connsiteY492" fmla="*/ 2564891 h 2705233"/>
              <a:gd name="connsiteX493" fmla="*/ 3298290 w 6886183"/>
              <a:gd name="connsiteY493" fmla="*/ 2563558 h 2705233"/>
              <a:gd name="connsiteX494" fmla="*/ 1737934 w 6886183"/>
              <a:gd name="connsiteY494" fmla="*/ 2562892 h 2705233"/>
              <a:gd name="connsiteX495" fmla="*/ 1754697 w 6886183"/>
              <a:gd name="connsiteY495" fmla="*/ 2562892 h 2705233"/>
              <a:gd name="connsiteX496" fmla="*/ 1781653 w 6886183"/>
              <a:gd name="connsiteY496" fmla="*/ 2564702 h 2705233"/>
              <a:gd name="connsiteX497" fmla="*/ 1768699 w 6886183"/>
              <a:gd name="connsiteY497" fmla="*/ 2573560 h 2705233"/>
              <a:gd name="connsiteX498" fmla="*/ 1735172 w 6886183"/>
              <a:gd name="connsiteY498" fmla="*/ 2575370 h 2705233"/>
              <a:gd name="connsiteX499" fmla="*/ 1707073 w 6886183"/>
              <a:gd name="connsiteY499" fmla="*/ 2573274 h 2705233"/>
              <a:gd name="connsiteX500" fmla="*/ 1721931 w 6886183"/>
              <a:gd name="connsiteY500" fmla="*/ 2564130 h 2705233"/>
              <a:gd name="connsiteX501" fmla="*/ 1737934 w 6886183"/>
              <a:gd name="connsiteY501" fmla="*/ 2562892 h 2705233"/>
              <a:gd name="connsiteX502" fmla="*/ 1982633 w 6886183"/>
              <a:gd name="connsiteY502" fmla="*/ 2562511 h 2705233"/>
              <a:gd name="connsiteX503" fmla="*/ 2008446 w 6886183"/>
              <a:gd name="connsiteY503" fmla="*/ 2564035 h 2705233"/>
              <a:gd name="connsiteX504" fmla="*/ 1992158 w 6886183"/>
              <a:gd name="connsiteY504" fmla="*/ 2573655 h 2705233"/>
              <a:gd name="connsiteX505" fmla="*/ 1959011 w 6886183"/>
              <a:gd name="connsiteY505" fmla="*/ 2576512 h 2705233"/>
              <a:gd name="connsiteX506" fmla="*/ 1932913 w 6886183"/>
              <a:gd name="connsiteY506" fmla="*/ 2574988 h 2705233"/>
              <a:gd name="connsiteX507" fmla="*/ 1948915 w 6886183"/>
              <a:gd name="connsiteY507" fmla="*/ 2565463 h 2705233"/>
              <a:gd name="connsiteX508" fmla="*/ 1982633 w 6886183"/>
              <a:gd name="connsiteY508" fmla="*/ 2562511 h 2705233"/>
              <a:gd name="connsiteX509" fmla="*/ 1272241 w 6886183"/>
              <a:gd name="connsiteY509" fmla="*/ 2560320 h 2705233"/>
              <a:gd name="connsiteX510" fmla="*/ 1285957 w 6886183"/>
              <a:gd name="connsiteY510" fmla="*/ 2560320 h 2705233"/>
              <a:gd name="connsiteX511" fmla="*/ 1301292 w 6886183"/>
              <a:gd name="connsiteY511" fmla="*/ 2561177 h 2705233"/>
              <a:gd name="connsiteX512" fmla="*/ 1315770 w 6886183"/>
              <a:gd name="connsiteY512" fmla="*/ 2562701 h 2705233"/>
              <a:gd name="connsiteX513" fmla="*/ 1326724 w 6886183"/>
              <a:gd name="connsiteY513" fmla="*/ 2564511 h 2705233"/>
              <a:gd name="connsiteX514" fmla="*/ 1318628 w 6886183"/>
              <a:gd name="connsiteY514" fmla="*/ 2570512 h 2705233"/>
              <a:gd name="connsiteX515" fmla="*/ 1290053 w 6886183"/>
              <a:gd name="connsiteY515" fmla="*/ 2569655 h 2705233"/>
              <a:gd name="connsiteX516" fmla="*/ 1275575 w 6886183"/>
              <a:gd name="connsiteY516" fmla="*/ 2568226 h 2705233"/>
              <a:gd name="connsiteX517" fmla="*/ 1264431 w 6886183"/>
              <a:gd name="connsiteY517" fmla="*/ 2566226 h 2705233"/>
              <a:gd name="connsiteX518" fmla="*/ 1272241 w 6886183"/>
              <a:gd name="connsiteY518" fmla="*/ 2560320 h 2705233"/>
              <a:gd name="connsiteX519" fmla="*/ 1083737 w 6886183"/>
              <a:gd name="connsiteY519" fmla="*/ 2559558 h 2705233"/>
              <a:gd name="connsiteX520" fmla="*/ 1106882 w 6886183"/>
              <a:gd name="connsiteY520" fmla="*/ 2561273 h 2705233"/>
              <a:gd name="connsiteX521" fmla="*/ 1128980 w 6886183"/>
              <a:gd name="connsiteY521" fmla="*/ 2564606 h 2705233"/>
              <a:gd name="connsiteX522" fmla="*/ 1124313 w 6886183"/>
              <a:gd name="connsiteY522" fmla="*/ 2569559 h 2705233"/>
              <a:gd name="connsiteX523" fmla="*/ 1113359 w 6886183"/>
              <a:gd name="connsiteY523" fmla="*/ 2569083 h 2705233"/>
              <a:gd name="connsiteX524" fmla="*/ 1100977 w 6886183"/>
              <a:gd name="connsiteY524" fmla="*/ 2567845 h 2705233"/>
              <a:gd name="connsiteX525" fmla="*/ 1079641 w 6886183"/>
              <a:gd name="connsiteY525" fmla="*/ 2564225 h 2705233"/>
              <a:gd name="connsiteX526" fmla="*/ 1083737 w 6886183"/>
              <a:gd name="connsiteY526" fmla="*/ 2559558 h 2705233"/>
              <a:gd name="connsiteX527" fmla="*/ 2195232 w 6886183"/>
              <a:gd name="connsiteY527" fmla="*/ 2557652 h 2705233"/>
              <a:gd name="connsiteX528" fmla="*/ 2220285 w 6886183"/>
              <a:gd name="connsiteY528" fmla="*/ 2558795 h 2705233"/>
              <a:gd name="connsiteX529" fmla="*/ 2198186 w 6886183"/>
              <a:gd name="connsiteY529" fmla="*/ 2569559 h 2705233"/>
              <a:gd name="connsiteX530" fmla="*/ 2181898 w 6886183"/>
              <a:gd name="connsiteY530" fmla="*/ 2571749 h 2705233"/>
              <a:gd name="connsiteX531" fmla="*/ 2165991 w 6886183"/>
              <a:gd name="connsiteY531" fmla="*/ 2572797 h 2705233"/>
              <a:gd name="connsiteX532" fmla="*/ 2142274 w 6886183"/>
              <a:gd name="connsiteY532" fmla="*/ 2571749 h 2705233"/>
              <a:gd name="connsiteX533" fmla="*/ 2161324 w 6886183"/>
              <a:gd name="connsiteY533" fmla="*/ 2561272 h 2705233"/>
              <a:gd name="connsiteX534" fmla="*/ 2178563 w 6886183"/>
              <a:gd name="connsiteY534" fmla="*/ 2558986 h 2705233"/>
              <a:gd name="connsiteX535" fmla="*/ 2195232 w 6886183"/>
              <a:gd name="connsiteY535" fmla="*/ 2557652 h 2705233"/>
              <a:gd name="connsiteX536" fmla="*/ 2789983 w 6886183"/>
              <a:gd name="connsiteY536" fmla="*/ 2556605 h 2705233"/>
              <a:gd name="connsiteX537" fmla="*/ 2768552 w 6886183"/>
              <a:gd name="connsiteY537" fmla="*/ 2566130 h 2705233"/>
              <a:gd name="connsiteX538" fmla="*/ 2726451 w 6886183"/>
              <a:gd name="connsiteY538" fmla="*/ 2570321 h 2705233"/>
              <a:gd name="connsiteX539" fmla="*/ 2746453 w 6886183"/>
              <a:gd name="connsiteY539" fmla="*/ 2560796 h 2705233"/>
              <a:gd name="connsiteX540" fmla="*/ 2789983 w 6886183"/>
              <a:gd name="connsiteY540" fmla="*/ 2556605 h 2705233"/>
              <a:gd name="connsiteX541" fmla="*/ 2945047 w 6886183"/>
              <a:gd name="connsiteY541" fmla="*/ 2555938 h 2705233"/>
              <a:gd name="connsiteX542" fmla="*/ 2926189 w 6886183"/>
              <a:gd name="connsiteY542" fmla="*/ 2564606 h 2705233"/>
              <a:gd name="connsiteX543" fmla="*/ 2889612 w 6886183"/>
              <a:gd name="connsiteY543" fmla="*/ 2568987 h 2705233"/>
              <a:gd name="connsiteX544" fmla="*/ 2907710 w 6886183"/>
              <a:gd name="connsiteY544" fmla="*/ 2560224 h 2705233"/>
              <a:gd name="connsiteX545" fmla="*/ 2945047 w 6886183"/>
              <a:gd name="connsiteY545" fmla="*/ 2555938 h 2705233"/>
              <a:gd name="connsiteX546" fmla="*/ 3076199 w 6886183"/>
              <a:gd name="connsiteY546" fmla="*/ 2555843 h 2705233"/>
              <a:gd name="connsiteX547" fmla="*/ 3057149 w 6886183"/>
              <a:gd name="connsiteY547" fmla="*/ 2563558 h 2705233"/>
              <a:gd name="connsiteX548" fmla="*/ 3029623 w 6886183"/>
              <a:gd name="connsiteY548" fmla="*/ 2566701 h 2705233"/>
              <a:gd name="connsiteX549" fmla="*/ 3047625 w 6886183"/>
              <a:gd name="connsiteY549" fmla="*/ 2559177 h 2705233"/>
              <a:gd name="connsiteX550" fmla="*/ 3076199 w 6886183"/>
              <a:gd name="connsiteY550" fmla="*/ 2555843 h 2705233"/>
              <a:gd name="connsiteX551" fmla="*/ 3191257 w 6886183"/>
              <a:gd name="connsiteY551" fmla="*/ 2555176 h 2705233"/>
              <a:gd name="connsiteX552" fmla="*/ 3176966 w 6886183"/>
              <a:gd name="connsiteY552" fmla="*/ 2561081 h 2705233"/>
              <a:gd name="connsiteX553" fmla="*/ 3154966 w 6886183"/>
              <a:gd name="connsiteY553" fmla="*/ 2563939 h 2705233"/>
              <a:gd name="connsiteX554" fmla="*/ 3168300 w 6886183"/>
              <a:gd name="connsiteY554" fmla="*/ 2558129 h 2705233"/>
              <a:gd name="connsiteX555" fmla="*/ 3191257 w 6886183"/>
              <a:gd name="connsiteY555" fmla="*/ 2555176 h 2705233"/>
              <a:gd name="connsiteX556" fmla="*/ 3291441 w 6886183"/>
              <a:gd name="connsiteY556" fmla="*/ 2554224 h 2705233"/>
              <a:gd name="connsiteX557" fmla="*/ 3281154 w 6886183"/>
              <a:gd name="connsiteY557" fmla="*/ 2558319 h 2705233"/>
              <a:gd name="connsiteX558" fmla="*/ 3267155 w 6886183"/>
              <a:gd name="connsiteY558" fmla="*/ 2560129 h 2705233"/>
              <a:gd name="connsiteX559" fmla="*/ 3277536 w 6886183"/>
              <a:gd name="connsiteY559" fmla="*/ 2556033 h 2705233"/>
              <a:gd name="connsiteX560" fmla="*/ 3291441 w 6886183"/>
              <a:gd name="connsiteY560" fmla="*/ 2554224 h 2705233"/>
              <a:gd name="connsiteX561" fmla="*/ 2594812 w 6886183"/>
              <a:gd name="connsiteY561" fmla="*/ 2554224 h 2705233"/>
              <a:gd name="connsiteX562" fmla="*/ 2615767 w 6886183"/>
              <a:gd name="connsiteY562" fmla="*/ 2554224 h 2705233"/>
              <a:gd name="connsiteX563" fmla="*/ 2593287 w 6886183"/>
              <a:gd name="connsiteY563" fmla="*/ 2564987 h 2705233"/>
              <a:gd name="connsiteX564" fmla="*/ 2542043 w 6886183"/>
              <a:gd name="connsiteY564" fmla="*/ 2569083 h 2705233"/>
              <a:gd name="connsiteX565" fmla="*/ 2564331 w 6886183"/>
              <a:gd name="connsiteY565" fmla="*/ 2558510 h 2705233"/>
              <a:gd name="connsiteX566" fmla="*/ 2594812 w 6886183"/>
              <a:gd name="connsiteY566" fmla="*/ 2554224 h 2705233"/>
              <a:gd name="connsiteX567" fmla="*/ 1454369 w 6886183"/>
              <a:gd name="connsiteY567" fmla="*/ 2554033 h 2705233"/>
              <a:gd name="connsiteX568" fmla="*/ 1486944 w 6886183"/>
              <a:gd name="connsiteY568" fmla="*/ 2554033 h 2705233"/>
              <a:gd name="connsiteX569" fmla="*/ 1515519 w 6886183"/>
              <a:gd name="connsiteY569" fmla="*/ 2556891 h 2705233"/>
              <a:gd name="connsiteX570" fmla="*/ 1502565 w 6886183"/>
              <a:gd name="connsiteY570" fmla="*/ 2564701 h 2705233"/>
              <a:gd name="connsiteX571" fmla="*/ 1444748 w 6886183"/>
              <a:gd name="connsiteY571" fmla="*/ 2561653 h 2705233"/>
              <a:gd name="connsiteX572" fmla="*/ 1438462 w 6886183"/>
              <a:gd name="connsiteY572" fmla="*/ 2557367 h 2705233"/>
              <a:gd name="connsiteX573" fmla="*/ 1454369 w 6886183"/>
              <a:gd name="connsiteY573" fmla="*/ 2554033 h 2705233"/>
              <a:gd name="connsiteX574" fmla="*/ 2386881 w 6886183"/>
              <a:gd name="connsiteY574" fmla="*/ 2549843 h 2705233"/>
              <a:gd name="connsiteX575" fmla="*/ 2411932 w 6886183"/>
              <a:gd name="connsiteY575" fmla="*/ 2549843 h 2705233"/>
              <a:gd name="connsiteX576" fmla="*/ 2389739 w 6886183"/>
              <a:gd name="connsiteY576" fmla="*/ 2561177 h 2705233"/>
              <a:gd name="connsiteX577" fmla="*/ 2357353 w 6886183"/>
              <a:gd name="connsiteY577" fmla="*/ 2565178 h 2705233"/>
              <a:gd name="connsiteX578" fmla="*/ 2332684 w 6886183"/>
              <a:gd name="connsiteY578" fmla="*/ 2565273 h 2705233"/>
              <a:gd name="connsiteX579" fmla="*/ 2352876 w 6886183"/>
              <a:gd name="connsiteY579" fmla="*/ 2554034 h 2705233"/>
              <a:gd name="connsiteX580" fmla="*/ 2386881 w 6886183"/>
              <a:gd name="connsiteY580" fmla="*/ 2549843 h 2705233"/>
              <a:gd name="connsiteX581" fmla="*/ 2923999 w 6886183"/>
              <a:gd name="connsiteY581" fmla="*/ 2545461 h 2705233"/>
              <a:gd name="connsiteX582" fmla="*/ 2902093 w 6886183"/>
              <a:gd name="connsiteY582" fmla="*/ 2554700 h 2705233"/>
              <a:gd name="connsiteX583" fmla="*/ 2863134 w 6886183"/>
              <a:gd name="connsiteY583" fmla="*/ 2558796 h 2705233"/>
              <a:gd name="connsiteX584" fmla="*/ 2885900 w 6886183"/>
              <a:gd name="connsiteY584" fmla="*/ 2549271 h 2705233"/>
              <a:gd name="connsiteX585" fmla="*/ 2923999 w 6886183"/>
              <a:gd name="connsiteY585" fmla="*/ 2545461 h 2705233"/>
              <a:gd name="connsiteX586" fmla="*/ 3061250 w 6886183"/>
              <a:gd name="connsiteY586" fmla="*/ 2545270 h 2705233"/>
              <a:gd name="connsiteX587" fmla="*/ 3041343 w 6886183"/>
              <a:gd name="connsiteY587" fmla="*/ 2553843 h 2705233"/>
              <a:gd name="connsiteX588" fmla="*/ 3008577 w 6886183"/>
              <a:gd name="connsiteY588" fmla="*/ 2557653 h 2705233"/>
              <a:gd name="connsiteX589" fmla="*/ 3028390 w 6886183"/>
              <a:gd name="connsiteY589" fmla="*/ 2549080 h 2705233"/>
              <a:gd name="connsiteX590" fmla="*/ 3061250 w 6886183"/>
              <a:gd name="connsiteY590" fmla="*/ 2545270 h 2705233"/>
              <a:gd name="connsiteX591" fmla="*/ 3183070 w 6886183"/>
              <a:gd name="connsiteY591" fmla="*/ 2544032 h 2705233"/>
              <a:gd name="connsiteX592" fmla="*/ 3167639 w 6886183"/>
              <a:gd name="connsiteY592" fmla="*/ 2550985 h 2705233"/>
              <a:gd name="connsiteX593" fmla="*/ 3141160 w 6886183"/>
              <a:gd name="connsiteY593" fmla="*/ 2554414 h 2705233"/>
              <a:gd name="connsiteX594" fmla="*/ 3157638 w 6886183"/>
              <a:gd name="connsiteY594" fmla="*/ 2547365 h 2705233"/>
              <a:gd name="connsiteX595" fmla="*/ 3183070 w 6886183"/>
              <a:gd name="connsiteY595" fmla="*/ 2544032 h 2705233"/>
              <a:gd name="connsiteX596" fmla="*/ 3287828 w 6886183"/>
              <a:gd name="connsiteY596" fmla="*/ 2543937 h 2705233"/>
              <a:gd name="connsiteX597" fmla="*/ 3274971 w 6886183"/>
              <a:gd name="connsiteY597" fmla="*/ 2549175 h 2705233"/>
              <a:gd name="connsiteX598" fmla="*/ 3256875 w 6886183"/>
              <a:gd name="connsiteY598" fmla="*/ 2551556 h 2705233"/>
              <a:gd name="connsiteX599" fmla="*/ 3268780 w 6886183"/>
              <a:gd name="connsiteY599" fmla="*/ 2546508 h 2705233"/>
              <a:gd name="connsiteX600" fmla="*/ 3287828 w 6886183"/>
              <a:gd name="connsiteY600" fmla="*/ 2543937 h 2705233"/>
              <a:gd name="connsiteX601" fmla="*/ 3379921 w 6886183"/>
              <a:gd name="connsiteY601" fmla="*/ 2543556 h 2705233"/>
              <a:gd name="connsiteX602" fmla="*/ 3372110 w 6886183"/>
              <a:gd name="connsiteY602" fmla="*/ 2546795 h 2705233"/>
              <a:gd name="connsiteX603" fmla="*/ 3361633 w 6886183"/>
              <a:gd name="connsiteY603" fmla="*/ 2548319 h 2705233"/>
              <a:gd name="connsiteX604" fmla="*/ 3369444 w 6886183"/>
              <a:gd name="connsiteY604" fmla="*/ 2545080 h 2705233"/>
              <a:gd name="connsiteX605" fmla="*/ 3379921 w 6886183"/>
              <a:gd name="connsiteY605" fmla="*/ 2543556 h 2705233"/>
              <a:gd name="connsiteX606" fmla="*/ 2766742 w 6886183"/>
              <a:gd name="connsiteY606" fmla="*/ 2543270 h 2705233"/>
              <a:gd name="connsiteX607" fmla="*/ 2744550 w 6886183"/>
              <a:gd name="connsiteY607" fmla="*/ 2554129 h 2705233"/>
              <a:gd name="connsiteX608" fmla="*/ 2696445 w 6886183"/>
              <a:gd name="connsiteY608" fmla="*/ 2558701 h 2705233"/>
              <a:gd name="connsiteX609" fmla="*/ 2718446 w 6886183"/>
              <a:gd name="connsiteY609" fmla="*/ 2547842 h 2705233"/>
              <a:gd name="connsiteX610" fmla="*/ 2766742 w 6886183"/>
              <a:gd name="connsiteY610" fmla="*/ 2543270 h 2705233"/>
              <a:gd name="connsiteX611" fmla="*/ 1917197 w 6886183"/>
              <a:gd name="connsiteY611" fmla="*/ 2543175 h 2705233"/>
              <a:gd name="connsiteX612" fmla="*/ 1944248 w 6886183"/>
              <a:gd name="connsiteY612" fmla="*/ 2545175 h 2705233"/>
              <a:gd name="connsiteX613" fmla="*/ 1922436 w 6886183"/>
              <a:gd name="connsiteY613" fmla="*/ 2555748 h 2705233"/>
              <a:gd name="connsiteX614" fmla="*/ 1887955 w 6886183"/>
              <a:gd name="connsiteY614" fmla="*/ 2557939 h 2705233"/>
              <a:gd name="connsiteX615" fmla="*/ 1861286 w 6886183"/>
              <a:gd name="connsiteY615" fmla="*/ 2556034 h 2705233"/>
              <a:gd name="connsiteX616" fmla="*/ 1857951 w 6886183"/>
              <a:gd name="connsiteY616" fmla="*/ 2550700 h 2705233"/>
              <a:gd name="connsiteX617" fmla="*/ 1866429 w 6886183"/>
              <a:gd name="connsiteY617" fmla="*/ 2547938 h 2705233"/>
              <a:gd name="connsiteX618" fmla="*/ 1880811 w 6886183"/>
              <a:gd name="connsiteY618" fmla="*/ 2545461 h 2705233"/>
              <a:gd name="connsiteX619" fmla="*/ 1917197 w 6886183"/>
              <a:gd name="connsiteY619" fmla="*/ 2543175 h 2705233"/>
              <a:gd name="connsiteX620" fmla="*/ 2166182 w 6886183"/>
              <a:gd name="connsiteY620" fmla="*/ 2541556 h 2705233"/>
              <a:gd name="connsiteX621" fmla="*/ 2147989 w 6886183"/>
              <a:gd name="connsiteY621" fmla="*/ 2552414 h 2705233"/>
              <a:gd name="connsiteX622" fmla="*/ 2130367 w 6886183"/>
              <a:gd name="connsiteY622" fmla="*/ 2554891 h 2705233"/>
              <a:gd name="connsiteX623" fmla="*/ 2112842 w 6886183"/>
              <a:gd name="connsiteY623" fmla="*/ 2556129 h 2705233"/>
              <a:gd name="connsiteX624" fmla="*/ 2085314 w 6886183"/>
              <a:gd name="connsiteY624" fmla="*/ 2555081 h 2705233"/>
              <a:gd name="connsiteX625" fmla="*/ 2103698 w 6886183"/>
              <a:gd name="connsiteY625" fmla="*/ 2543842 h 2705233"/>
              <a:gd name="connsiteX626" fmla="*/ 2166182 w 6886183"/>
              <a:gd name="connsiteY626" fmla="*/ 2541556 h 2705233"/>
              <a:gd name="connsiteX627" fmla="*/ 1627348 w 6886183"/>
              <a:gd name="connsiteY627" fmla="*/ 2540603 h 2705233"/>
              <a:gd name="connsiteX628" fmla="*/ 1693070 w 6886183"/>
              <a:gd name="connsiteY628" fmla="*/ 2542318 h 2705233"/>
              <a:gd name="connsiteX629" fmla="*/ 1675639 w 6886183"/>
              <a:gd name="connsiteY629" fmla="*/ 2551843 h 2705233"/>
              <a:gd name="connsiteX630" fmla="*/ 1640968 w 6886183"/>
              <a:gd name="connsiteY630" fmla="*/ 2552890 h 2705233"/>
              <a:gd name="connsiteX631" fmla="*/ 1612585 w 6886183"/>
              <a:gd name="connsiteY631" fmla="*/ 2550128 h 2705233"/>
              <a:gd name="connsiteX632" fmla="*/ 1627348 w 6886183"/>
              <a:gd name="connsiteY632" fmla="*/ 2540603 h 2705233"/>
              <a:gd name="connsiteX633" fmla="*/ 2583098 w 6886183"/>
              <a:gd name="connsiteY633" fmla="*/ 2540222 h 2705233"/>
              <a:gd name="connsiteX634" fmla="*/ 2557569 w 6886183"/>
              <a:gd name="connsiteY634" fmla="*/ 2552224 h 2705233"/>
              <a:gd name="connsiteX635" fmla="*/ 2504802 w 6886183"/>
              <a:gd name="connsiteY635" fmla="*/ 2555844 h 2705233"/>
              <a:gd name="connsiteX636" fmla="*/ 2530139 w 6886183"/>
              <a:gd name="connsiteY636" fmla="*/ 2543842 h 2705233"/>
              <a:gd name="connsiteX637" fmla="*/ 2583098 w 6886183"/>
              <a:gd name="connsiteY637" fmla="*/ 2540222 h 2705233"/>
              <a:gd name="connsiteX638" fmla="*/ 3280310 w 6886183"/>
              <a:gd name="connsiteY638" fmla="*/ 2534030 h 2705233"/>
              <a:gd name="connsiteX639" fmla="*/ 3264026 w 6886183"/>
              <a:gd name="connsiteY639" fmla="*/ 2540507 h 2705233"/>
              <a:gd name="connsiteX640" fmla="*/ 3243069 w 6886183"/>
              <a:gd name="connsiteY640" fmla="*/ 2543174 h 2705233"/>
              <a:gd name="connsiteX641" fmla="*/ 3258501 w 6886183"/>
              <a:gd name="connsiteY641" fmla="*/ 2536697 h 2705233"/>
              <a:gd name="connsiteX642" fmla="*/ 3280310 w 6886183"/>
              <a:gd name="connsiteY642" fmla="*/ 2534030 h 2705233"/>
              <a:gd name="connsiteX643" fmla="*/ 3375636 w 6886183"/>
              <a:gd name="connsiteY643" fmla="*/ 2533935 h 2705233"/>
              <a:gd name="connsiteX644" fmla="*/ 3366019 w 6886183"/>
              <a:gd name="connsiteY644" fmla="*/ 2538126 h 2705233"/>
              <a:gd name="connsiteX645" fmla="*/ 3350779 w 6886183"/>
              <a:gd name="connsiteY645" fmla="*/ 2540412 h 2705233"/>
              <a:gd name="connsiteX646" fmla="*/ 3361160 w 6886183"/>
              <a:gd name="connsiteY646" fmla="*/ 2536031 h 2705233"/>
              <a:gd name="connsiteX647" fmla="*/ 3375636 w 6886183"/>
              <a:gd name="connsiteY647" fmla="*/ 2533935 h 2705233"/>
              <a:gd name="connsiteX648" fmla="*/ 2334208 w 6886183"/>
              <a:gd name="connsiteY648" fmla="*/ 2533935 h 2705233"/>
              <a:gd name="connsiteX649" fmla="*/ 2360402 w 6886183"/>
              <a:gd name="connsiteY649" fmla="*/ 2534507 h 2705233"/>
              <a:gd name="connsiteX650" fmla="*/ 2339637 w 6886183"/>
              <a:gd name="connsiteY650" fmla="*/ 2546699 h 2705233"/>
              <a:gd name="connsiteX651" fmla="*/ 2277439 w 6886183"/>
              <a:gd name="connsiteY651" fmla="*/ 2550223 h 2705233"/>
              <a:gd name="connsiteX652" fmla="*/ 2299633 w 6886183"/>
              <a:gd name="connsiteY652" fmla="*/ 2538031 h 2705233"/>
              <a:gd name="connsiteX653" fmla="*/ 2334208 w 6886183"/>
              <a:gd name="connsiteY653" fmla="*/ 2533935 h 2705233"/>
              <a:gd name="connsiteX654" fmla="*/ 3171454 w 6886183"/>
              <a:gd name="connsiteY654" fmla="*/ 2533840 h 2705233"/>
              <a:gd name="connsiteX655" fmla="*/ 3153263 w 6886183"/>
              <a:gd name="connsiteY655" fmla="*/ 2541650 h 2705233"/>
              <a:gd name="connsiteX656" fmla="*/ 3123829 w 6886183"/>
              <a:gd name="connsiteY656" fmla="*/ 2545175 h 2705233"/>
              <a:gd name="connsiteX657" fmla="*/ 3142879 w 6886183"/>
              <a:gd name="connsiteY657" fmla="*/ 2537174 h 2705233"/>
              <a:gd name="connsiteX658" fmla="*/ 3171454 w 6886183"/>
              <a:gd name="connsiteY658" fmla="*/ 2533840 h 2705233"/>
              <a:gd name="connsiteX659" fmla="*/ 3047253 w 6886183"/>
              <a:gd name="connsiteY659" fmla="*/ 2532887 h 2705233"/>
              <a:gd name="connsiteX660" fmla="*/ 3026869 w 6886183"/>
              <a:gd name="connsiteY660" fmla="*/ 2542412 h 2705233"/>
              <a:gd name="connsiteX661" fmla="*/ 2989820 w 6886183"/>
              <a:gd name="connsiteY661" fmla="*/ 2546794 h 2705233"/>
              <a:gd name="connsiteX662" fmla="*/ 3010009 w 6886183"/>
              <a:gd name="connsiteY662" fmla="*/ 2537269 h 2705233"/>
              <a:gd name="connsiteX663" fmla="*/ 3047253 w 6886183"/>
              <a:gd name="connsiteY663" fmla="*/ 2532887 h 2705233"/>
              <a:gd name="connsiteX664" fmla="*/ 2906761 w 6886183"/>
              <a:gd name="connsiteY664" fmla="*/ 2532221 h 2705233"/>
              <a:gd name="connsiteX665" fmla="*/ 2882187 w 6886183"/>
              <a:gd name="connsiteY665" fmla="*/ 2543175 h 2705233"/>
              <a:gd name="connsiteX666" fmla="*/ 2838371 w 6886183"/>
              <a:gd name="connsiteY666" fmla="*/ 2547461 h 2705233"/>
              <a:gd name="connsiteX667" fmla="*/ 2863518 w 6886183"/>
              <a:gd name="connsiteY667" fmla="*/ 2536222 h 2705233"/>
              <a:gd name="connsiteX668" fmla="*/ 2906761 w 6886183"/>
              <a:gd name="connsiteY668" fmla="*/ 2532221 h 2705233"/>
              <a:gd name="connsiteX669" fmla="*/ 2737789 w 6886183"/>
              <a:gd name="connsiteY669" fmla="*/ 2530983 h 2705233"/>
              <a:gd name="connsiteX670" fmla="*/ 2712545 w 6886183"/>
              <a:gd name="connsiteY670" fmla="*/ 2542317 h 2705233"/>
              <a:gd name="connsiteX671" fmla="*/ 2682254 w 6886183"/>
              <a:gd name="connsiteY671" fmla="*/ 2547080 h 2705233"/>
              <a:gd name="connsiteX672" fmla="*/ 2661966 w 6886183"/>
              <a:gd name="connsiteY672" fmla="*/ 2547080 h 2705233"/>
              <a:gd name="connsiteX673" fmla="*/ 2687588 w 6886183"/>
              <a:gd name="connsiteY673" fmla="*/ 2534888 h 2705233"/>
              <a:gd name="connsiteX674" fmla="*/ 2737789 w 6886183"/>
              <a:gd name="connsiteY674" fmla="*/ 2530983 h 2705233"/>
              <a:gd name="connsiteX675" fmla="*/ 1150419 w 6886183"/>
              <a:gd name="connsiteY675" fmla="*/ 2526315 h 2705233"/>
              <a:gd name="connsiteX676" fmla="*/ 1164802 w 6886183"/>
              <a:gd name="connsiteY676" fmla="*/ 2526982 h 2705233"/>
              <a:gd name="connsiteX677" fmla="*/ 1180804 w 6886183"/>
              <a:gd name="connsiteY677" fmla="*/ 2528411 h 2705233"/>
              <a:gd name="connsiteX678" fmla="*/ 1195853 w 6886183"/>
              <a:gd name="connsiteY678" fmla="*/ 2530506 h 2705233"/>
              <a:gd name="connsiteX679" fmla="*/ 1207188 w 6886183"/>
              <a:gd name="connsiteY679" fmla="*/ 2532697 h 2705233"/>
              <a:gd name="connsiteX680" fmla="*/ 1197663 w 6886183"/>
              <a:gd name="connsiteY680" fmla="*/ 2538888 h 2705233"/>
              <a:gd name="connsiteX681" fmla="*/ 1167564 w 6886183"/>
              <a:gd name="connsiteY681" fmla="*/ 2536888 h 2705233"/>
              <a:gd name="connsiteX682" fmla="*/ 1152514 w 6886183"/>
              <a:gd name="connsiteY682" fmla="*/ 2534888 h 2705233"/>
              <a:gd name="connsiteX683" fmla="*/ 1140894 w 6886183"/>
              <a:gd name="connsiteY683" fmla="*/ 2532411 h 2705233"/>
              <a:gd name="connsiteX684" fmla="*/ 1150419 w 6886183"/>
              <a:gd name="connsiteY684" fmla="*/ 2526315 h 2705233"/>
              <a:gd name="connsiteX685" fmla="*/ 2543189 w 6886183"/>
              <a:gd name="connsiteY685" fmla="*/ 2525840 h 2705233"/>
              <a:gd name="connsiteX686" fmla="*/ 2519186 w 6886183"/>
              <a:gd name="connsiteY686" fmla="*/ 2538222 h 2705233"/>
              <a:gd name="connsiteX687" fmla="*/ 2461275 w 6886183"/>
              <a:gd name="connsiteY687" fmla="*/ 2542413 h 2705233"/>
              <a:gd name="connsiteX688" fmla="*/ 2485562 w 6886183"/>
              <a:gd name="connsiteY688" fmla="*/ 2529650 h 2705233"/>
              <a:gd name="connsiteX689" fmla="*/ 2543189 w 6886183"/>
              <a:gd name="connsiteY689" fmla="*/ 2525840 h 2705233"/>
              <a:gd name="connsiteX690" fmla="*/ 1864240 w 6886183"/>
              <a:gd name="connsiteY690" fmla="*/ 2524220 h 2705233"/>
              <a:gd name="connsiteX691" fmla="*/ 1870430 w 6886183"/>
              <a:gd name="connsiteY691" fmla="*/ 2529649 h 2705233"/>
              <a:gd name="connsiteX692" fmla="*/ 1863000 w 6886183"/>
              <a:gd name="connsiteY692" fmla="*/ 2532697 h 2705233"/>
              <a:gd name="connsiteX693" fmla="*/ 1848904 w 6886183"/>
              <a:gd name="connsiteY693" fmla="*/ 2535269 h 2705233"/>
              <a:gd name="connsiteX694" fmla="*/ 1830901 w 6886183"/>
              <a:gd name="connsiteY694" fmla="*/ 2537079 h 2705233"/>
              <a:gd name="connsiteX695" fmla="*/ 1811852 w 6886183"/>
              <a:gd name="connsiteY695" fmla="*/ 2537650 h 2705233"/>
              <a:gd name="connsiteX696" fmla="*/ 1780515 w 6886183"/>
              <a:gd name="connsiteY696" fmla="*/ 2535460 h 2705233"/>
              <a:gd name="connsiteX697" fmla="*/ 1794517 w 6886183"/>
              <a:gd name="connsiteY697" fmla="*/ 2524696 h 2705233"/>
              <a:gd name="connsiteX698" fmla="*/ 1864240 w 6886183"/>
              <a:gd name="connsiteY698" fmla="*/ 2524220 h 2705233"/>
              <a:gd name="connsiteX699" fmla="*/ 1352831 w 6886183"/>
              <a:gd name="connsiteY699" fmla="*/ 2524124 h 2705233"/>
              <a:gd name="connsiteX700" fmla="*/ 1417222 w 6886183"/>
              <a:gd name="connsiteY700" fmla="*/ 2528982 h 2705233"/>
              <a:gd name="connsiteX701" fmla="*/ 1403123 w 6886183"/>
              <a:gd name="connsiteY701" fmla="*/ 2536697 h 2705233"/>
              <a:gd name="connsiteX702" fmla="*/ 1338831 w 6886183"/>
              <a:gd name="connsiteY702" fmla="*/ 2531840 h 2705233"/>
              <a:gd name="connsiteX703" fmla="*/ 1352831 w 6886183"/>
              <a:gd name="connsiteY703" fmla="*/ 2524124 h 2705233"/>
              <a:gd name="connsiteX704" fmla="*/ 3462215 w 6886183"/>
              <a:gd name="connsiteY704" fmla="*/ 2523744 h 2705233"/>
              <a:gd name="connsiteX705" fmla="*/ 3452690 w 6886183"/>
              <a:gd name="connsiteY705" fmla="*/ 2527363 h 2705233"/>
              <a:gd name="connsiteX706" fmla="*/ 3441739 w 6886183"/>
              <a:gd name="connsiteY706" fmla="*/ 2528887 h 2705233"/>
              <a:gd name="connsiteX707" fmla="*/ 3451833 w 6886183"/>
              <a:gd name="connsiteY707" fmla="*/ 2524982 h 2705233"/>
              <a:gd name="connsiteX708" fmla="*/ 3462215 w 6886183"/>
              <a:gd name="connsiteY708" fmla="*/ 2523744 h 2705233"/>
              <a:gd name="connsiteX709" fmla="*/ 3374023 w 6886183"/>
              <a:gd name="connsiteY709" fmla="*/ 2523362 h 2705233"/>
              <a:gd name="connsiteX710" fmla="*/ 3361736 w 6886183"/>
              <a:gd name="connsiteY710" fmla="*/ 2528506 h 2705233"/>
              <a:gd name="connsiteX711" fmla="*/ 3342784 w 6886183"/>
              <a:gd name="connsiteY711" fmla="*/ 2531268 h 2705233"/>
              <a:gd name="connsiteX712" fmla="*/ 3355642 w 6886183"/>
              <a:gd name="connsiteY712" fmla="*/ 2525839 h 2705233"/>
              <a:gd name="connsiteX713" fmla="*/ 3374023 w 6886183"/>
              <a:gd name="connsiteY713" fmla="*/ 2523362 h 2705233"/>
              <a:gd name="connsiteX714" fmla="*/ 3275842 w 6886183"/>
              <a:gd name="connsiteY714" fmla="*/ 2522696 h 2705233"/>
              <a:gd name="connsiteX715" fmla="*/ 3256794 w 6886183"/>
              <a:gd name="connsiteY715" fmla="*/ 2530316 h 2705233"/>
              <a:gd name="connsiteX716" fmla="*/ 3230981 w 6886183"/>
              <a:gd name="connsiteY716" fmla="*/ 2533364 h 2705233"/>
              <a:gd name="connsiteX717" fmla="*/ 3250030 w 6886183"/>
              <a:gd name="connsiteY717" fmla="*/ 2525744 h 2705233"/>
              <a:gd name="connsiteX718" fmla="*/ 3275842 w 6886183"/>
              <a:gd name="connsiteY718" fmla="*/ 2522696 h 2705233"/>
              <a:gd name="connsiteX719" fmla="*/ 3159361 w 6886183"/>
              <a:gd name="connsiteY719" fmla="*/ 2522124 h 2705233"/>
              <a:gd name="connsiteX720" fmla="*/ 3138028 w 6886183"/>
              <a:gd name="connsiteY720" fmla="*/ 2531649 h 2705233"/>
              <a:gd name="connsiteX721" fmla="*/ 3105067 w 6886183"/>
              <a:gd name="connsiteY721" fmla="*/ 2535745 h 2705233"/>
              <a:gd name="connsiteX722" fmla="*/ 3125739 w 6886183"/>
              <a:gd name="connsiteY722" fmla="*/ 2526220 h 2705233"/>
              <a:gd name="connsiteX723" fmla="*/ 3159361 w 6886183"/>
              <a:gd name="connsiteY723" fmla="*/ 2522124 h 2705233"/>
              <a:gd name="connsiteX724" fmla="*/ 2074458 w 6886183"/>
              <a:gd name="connsiteY724" fmla="*/ 2521743 h 2705233"/>
              <a:gd name="connsiteX725" fmla="*/ 2103032 w 6886183"/>
              <a:gd name="connsiteY725" fmla="*/ 2523648 h 2705233"/>
              <a:gd name="connsiteX726" fmla="*/ 2081887 w 6886183"/>
              <a:gd name="connsiteY726" fmla="*/ 2535459 h 2705233"/>
              <a:gd name="connsiteX727" fmla="*/ 2045121 w 6886183"/>
              <a:gd name="connsiteY727" fmla="*/ 2538793 h 2705233"/>
              <a:gd name="connsiteX728" fmla="*/ 2016260 w 6886183"/>
              <a:gd name="connsiteY728" fmla="*/ 2536983 h 2705233"/>
              <a:gd name="connsiteX729" fmla="*/ 2037025 w 6886183"/>
              <a:gd name="connsiteY729" fmla="*/ 2525172 h 2705233"/>
              <a:gd name="connsiteX730" fmla="*/ 2074458 w 6886183"/>
              <a:gd name="connsiteY730" fmla="*/ 2521743 h 2705233"/>
              <a:gd name="connsiteX731" fmla="*/ 3030968 w 6886183"/>
              <a:gd name="connsiteY731" fmla="*/ 2521172 h 2705233"/>
              <a:gd name="connsiteX732" fmla="*/ 3006587 w 6886183"/>
              <a:gd name="connsiteY732" fmla="*/ 2532031 h 2705233"/>
              <a:gd name="connsiteX733" fmla="*/ 2965534 w 6886183"/>
              <a:gd name="connsiteY733" fmla="*/ 2536317 h 2705233"/>
              <a:gd name="connsiteX734" fmla="*/ 2989821 w 6886183"/>
              <a:gd name="connsiteY734" fmla="*/ 2525458 h 2705233"/>
              <a:gd name="connsiteX735" fmla="*/ 3030968 w 6886183"/>
              <a:gd name="connsiteY735" fmla="*/ 2521172 h 2705233"/>
              <a:gd name="connsiteX736" fmla="*/ 2862946 w 6886183"/>
              <a:gd name="connsiteY736" fmla="*/ 2518696 h 2705233"/>
              <a:gd name="connsiteX737" fmla="*/ 2881997 w 6886183"/>
              <a:gd name="connsiteY737" fmla="*/ 2518696 h 2705233"/>
              <a:gd name="connsiteX738" fmla="*/ 2857897 w 6886183"/>
              <a:gd name="connsiteY738" fmla="*/ 2530316 h 2705233"/>
              <a:gd name="connsiteX739" fmla="*/ 2808276 w 6886183"/>
              <a:gd name="connsiteY739" fmla="*/ 2535555 h 2705233"/>
              <a:gd name="connsiteX740" fmla="*/ 2832846 w 6886183"/>
              <a:gd name="connsiteY740" fmla="*/ 2523649 h 2705233"/>
              <a:gd name="connsiteX741" fmla="*/ 2862946 w 6886183"/>
              <a:gd name="connsiteY741" fmla="*/ 2518696 h 2705233"/>
              <a:gd name="connsiteX742" fmla="*/ 943623 w 6886183"/>
              <a:gd name="connsiteY742" fmla="*/ 2517362 h 2705233"/>
              <a:gd name="connsiteX743" fmla="*/ 956481 w 6886183"/>
              <a:gd name="connsiteY743" fmla="*/ 2518601 h 2705233"/>
              <a:gd name="connsiteX744" fmla="*/ 971150 w 6886183"/>
              <a:gd name="connsiteY744" fmla="*/ 2520601 h 2705233"/>
              <a:gd name="connsiteX745" fmla="*/ 996582 w 6886183"/>
              <a:gd name="connsiteY745" fmla="*/ 2525840 h 2705233"/>
              <a:gd name="connsiteX746" fmla="*/ 1002677 w 6886183"/>
              <a:gd name="connsiteY746" fmla="*/ 2529554 h 2705233"/>
              <a:gd name="connsiteX747" fmla="*/ 998772 w 6886183"/>
              <a:gd name="connsiteY747" fmla="*/ 2530507 h 2705233"/>
              <a:gd name="connsiteX748" fmla="*/ 990485 w 6886183"/>
              <a:gd name="connsiteY748" fmla="*/ 2530507 h 2705233"/>
              <a:gd name="connsiteX749" fmla="*/ 940861 w 6886183"/>
              <a:gd name="connsiteY749" fmla="*/ 2522506 h 2705233"/>
              <a:gd name="connsiteX750" fmla="*/ 943623 w 6886183"/>
              <a:gd name="connsiteY750" fmla="*/ 2517362 h 2705233"/>
              <a:gd name="connsiteX751" fmla="*/ 2285728 w 6886183"/>
              <a:gd name="connsiteY751" fmla="*/ 2516124 h 2705233"/>
              <a:gd name="connsiteX752" fmla="*/ 2313350 w 6886183"/>
              <a:gd name="connsiteY752" fmla="*/ 2517267 h 2705233"/>
              <a:gd name="connsiteX753" fmla="*/ 2291062 w 6886183"/>
              <a:gd name="connsiteY753" fmla="*/ 2530030 h 2705233"/>
              <a:gd name="connsiteX754" fmla="*/ 2224386 w 6886183"/>
              <a:gd name="connsiteY754" fmla="*/ 2533078 h 2705233"/>
              <a:gd name="connsiteX755" fmla="*/ 2248199 w 6886183"/>
              <a:gd name="connsiteY755" fmla="*/ 2520220 h 2705233"/>
              <a:gd name="connsiteX756" fmla="*/ 2285728 w 6886183"/>
              <a:gd name="connsiteY756" fmla="*/ 2516124 h 2705233"/>
              <a:gd name="connsiteX757" fmla="*/ 2688901 w 6886183"/>
              <a:gd name="connsiteY757" fmla="*/ 2514957 h 2705233"/>
              <a:gd name="connsiteX758" fmla="*/ 2711403 w 6886183"/>
              <a:gd name="connsiteY758" fmla="*/ 2515648 h 2705233"/>
              <a:gd name="connsiteX759" fmla="*/ 2683494 w 6886183"/>
              <a:gd name="connsiteY759" fmla="*/ 2528697 h 2705233"/>
              <a:gd name="connsiteX760" fmla="*/ 2626916 w 6886183"/>
              <a:gd name="connsiteY760" fmla="*/ 2532984 h 2705233"/>
              <a:gd name="connsiteX761" fmla="*/ 2654254 w 6886183"/>
              <a:gd name="connsiteY761" fmla="*/ 2519839 h 2705233"/>
              <a:gd name="connsiteX762" fmla="*/ 2688901 w 6886183"/>
              <a:gd name="connsiteY762" fmla="*/ 2514957 h 2705233"/>
              <a:gd name="connsiteX763" fmla="*/ 1551339 w 6886183"/>
              <a:gd name="connsiteY763" fmla="*/ 2513362 h 2705233"/>
              <a:gd name="connsiteX764" fmla="*/ 1561436 w 6886183"/>
              <a:gd name="connsiteY764" fmla="*/ 2513362 h 2705233"/>
              <a:gd name="connsiteX765" fmla="*/ 1571532 w 6886183"/>
              <a:gd name="connsiteY765" fmla="*/ 2513362 h 2705233"/>
              <a:gd name="connsiteX766" fmla="*/ 1603536 w 6886183"/>
              <a:gd name="connsiteY766" fmla="*/ 2516791 h 2705233"/>
              <a:gd name="connsiteX767" fmla="*/ 1587534 w 6886183"/>
              <a:gd name="connsiteY767" fmla="*/ 2526316 h 2705233"/>
              <a:gd name="connsiteX768" fmla="*/ 1519621 w 6886183"/>
              <a:gd name="connsiteY768" fmla="*/ 2524125 h 2705233"/>
              <a:gd name="connsiteX769" fmla="*/ 1512668 w 6886183"/>
              <a:gd name="connsiteY769" fmla="*/ 2518601 h 2705233"/>
              <a:gd name="connsiteX770" fmla="*/ 1532765 w 6886183"/>
              <a:gd name="connsiteY770" fmla="*/ 2514219 h 2705233"/>
              <a:gd name="connsiteX771" fmla="*/ 1551339 w 6886183"/>
              <a:gd name="connsiteY771" fmla="*/ 2513362 h 2705233"/>
              <a:gd name="connsiteX772" fmla="*/ 3368891 w 6886183"/>
              <a:gd name="connsiteY772" fmla="*/ 2512790 h 2705233"/>
              <a:gd name="connsiteX773" fmla="*/ 3353938 w 6886183"/>
              <a:gd name="connsiteY773" fmla="*/ 2519267 h 2705233"/>
              <a:gd name="connsiteX774" fmla="*/ 3331178 w 6886183"/>
              <a:gd name="connsiteY774" fmla="*/ 2522410 h 2705233"/>
              <a:gd name="connsiteX775" fmla="*/ 3346128 w 6886183"/>
              <a:gd name="connsiteY775" fmla="*/ 2515933 h 2705233"/>
              <a:gd name="connsiteX776" fmla="*/ 3368891 w 6886183"/>
              <a:gd name="connsiteY776" fmla="*/ 2512790 h 2705233"/>
              <a:gd name="connsiteX777" fmla="*/ 3462596 w 6886183"/>
              <a:gd name="connsiteY777" fmla="*/ 2512504 h 2705233"/>
              <a:gd name="connsiteX778" fmla="*/ 3450594 w 6886183"/>
              <a:gd name="connsiteY778" fmla="*/ 2517457 h 2705233"/>
              <a:gd name="connsiteX779" fmla="*/ 3435167 w 6886183"/>
              <a:gd name="connsiteY779" fmla="*/ 2519552 h 2705233"/>
              <a:gd name="connsiteX780" fmla="*/ 3448022 w 6886183"/>
              <a:gd name="connsiteY780" fmla="*/ 2514504 h 2705233"/>
              <a:gd name="connsiteX781" fmla="*/ 3462596 w 6886183"/>
              <a:gd name="connsiteY781" fmla="*/ 2512504 h 2705233"/>
              <a:gd name="connsiteX782" fmla="*/ 3267088 w 6886183"/>
              <a:gd name="connsiteY782" fmla="*/ 2511742 h 2705233"/>
              <a:gd name="connsiteX783" fmla="*/ 3246610 w 6886183"/>
              <a:gd name="connsiteY783" fmla="*/ 2520505 h 2705233"/>
              <a:gd name="connsiteX784" fmla="*/ 3216793 w 6886183"/>
              <a:gd name="connsiteY784" fmla="*/ 2524125 h 2705233"/>
              <a:gd name="connsiteX785" fmla="*/ 3237178 w 6886183"/>
              <a:gd name="connsiteY785" fmla="*/ 2515457 h 2705233"/>
              <a:gd name="connsiteX786" fmla="*/ 3267088 w 6886183"/>
              <a:gd name="connsiteY786" fmla="*/ 2511742 h 2705233"/>
              <a:gd name="connsiteX787" fmla="*/ 3150600 w 6886183"/>
              <a:gd name="connsiteY787" fmla="*/ 2510028 h 2705233"/>
              <a:gd name="connsiteX788" fmla="*/ 3126407 w 6886183"/>
              <a:gd name="connsiteY788" fmla="*/ 2520505 h 2705233"/>
              <a:gd name="connsiteX789" fmla="*/ 3089068 w 6886183"/>
              <a:gd name="connsiteY789" fmla="*/ 2524696 h 2705233"/>
              <a:gd name="connsiteX790" fmla="*/ 3113836 w 6886183"/>
              <a:gd name="connsiteY790" fmla="*/ 2513933 h 2705233"/>
              <a:gd name="connsiteX791" fmla="*/ 3150600 w 6886183"/>
              <a:gd name="connsiteY791" fmla="*/ 2510028 h 2705233"/>
              <a:gd name="connsiteX792" fmla="*/ 2505758 w 6886183"/>
              <a:gd name="connsiteY792" fmla="*/ 2508885 h 2705233"/>
              <a:gd name="connsiteX793" fmla="*/ 2480706 w 6886183"/>
              <a:gd name="connsiteY793" fmla="*/ 2522792 h 2705233"/>
              <a:gd name="connsiteX794" fmla="*/ 2444225 w 6886183"/>
              <a:gd name="connsiteY794" fmla="*/ 2527459 h 2705233"/>
              <a:gd name="connsiteX795" fmla="*/ 2417271 w 6886183"/>
              <a:gd name="connsiteY795" fmla="*/ 2526792 h 2705233"/>
              <a:gd name="connsiteX796" fmla="*/ 2441273 w 6886183"/>
              <a:gd name="connsiteY796" fmla="*/ 2513267 h 2705233"/>
              <a:gd name="connsiteX797" fmla="*/ 2505758 w 6886183"/>
              <a:gd name="connsiteY797" fmla="*/ 2508885 h 2705233"/>
              <a:gd name="connsiteX798" fmla="*/ 3015730 w 6886183"/>
              <a:gd name="connsiteY798" fmla="*/ 2507837 h 2705233"/>
              <a:gd name="connsiteX799" fmla="*/ 2989537 w 6886183"/>
              <a:gd name="connsiteY799" fmla="*/ 2519648 h 2705233"/>
              <a:gd name="connsiteX800" fmla="*/ 2945627 w 6886183"/>
              <a:gd name="connsiteY800" fmla="*/ 2524315 h 2705233"/>
              <a:gd name="connsiteX801" fmla="*/ 2970485 w 6886183"/>
              <a:gd name="connsiteY801" fmla="*/ 2512504 h 2705233"/>
              <a:gd name="connsiteX802" fmla="*/ 3015730 w 6886183"/>
              <a:gd name="connsiteY802" fmla="*/ 2507837 h 2705233"/>
              <a:gd name="connsiteX803" fmla="*/ 2834682 w 6886183"/>
              <a:gd name="connsiteY803" fmla="*/ 2505038 h 2705233"/>
              <a:gd name="connsiteX804" fmla="*/ 2856850 w 6886183"/>
              <a:gd name="connsiteY804" fmla="*/ 2505170 h 2705233"/>
              <a:gd name="connsiteX805" fmla="*/ 2829991 w 6886183"/>
              <a:gd name="connsiteY805" fmla="*/ 2518219 h 2705233"/>
              <a:gd name="connsiteX806" fmla="*/ 2776271 w 6886183"/>
              <a:gd name="connsiteY806" fmla="*/ 2523362 h 2705233"/>
              <a:gd name="connsiteX807" fmla="*/ 2801511 w 6886183"/>
              <a:gd name="connsiteY807" fmla="*/ 2510408 h 2705233"/>
              <a:gd name="connsiteX808" fmla="*/ 2834682 w 6886183"/>
              <a:gd name="connsiteY808" fmla="*/ 2505038 h 2705233"/>
              <a:gd name="connsiteX809" fmla="*/ 3542889 w 6886183"/>
              <a:gd name="connsiteY809" fmla="*/ 2503646 h 2705233"/>
              <a:gd name="connsiteX810" fmla="*/ 3532126 w 6886183"/>
              <a:gd name="connsiteY810" fmla="*/ 2507646 h 2705233"/>
              <a:gd name="connsiteX811" fmla="*/ 3521648 w 6886183"/>
              <a:gd name="connsiteY811" fmla="*/ 2508980 h 2705233"/>
              <a:gd name="connsiteX812" fmla="*/ 3531650 w 6886183"/>
              <a:gd name="connsiteY812" fmla="*/ 2505074 h 2705233"/>
              <a:gd name="connsiteX813" fmla="*/ 3542889 w 6886183"/>
              <a:gd name="connsiteY813" fmla="*/ 2503646 h 2705233"/>
              <a:gd name="connsiteX814" fmla="*/ 3460119 w 6886183"/>
              <a:gd name="connsiteY814" fmla="*/ 2502122 h 2705233"/>
              <a:gd name="connsiteX815" fmla="*/ 3446688 w 6886183"/>
              <a:gd name="connsiteY815" fmla="*/ 2507837 h 2705233"/>
              <a:gd name="connsiteX816" fmla="*/ 3426879 w 6886183"/>
              <a:gd name="connsiteY816" fmla="*/ 2510694 h 2705233"/>
              <a:gd name="connsiteX817" fmla="*/ 3440309 w 6886183"/>
              <a:gd name="connsiteY817" fmla="*/ 2504979 h 2705233"/>
              <a:gd name="connsiteX818" fmla="*/ 3460119 w 6886183"/>
              <a:gd name="connsiteY818" fmla="*/ 2502122 h 2705233"/>
              <a:gd name="connsiteX819" fmla="*/ 2035502 w 6886183"/>
              <a:gd name="connsiteY819" fmla="*/ 2502122 h 2705233"/>
              <a:gd name="connsiteX820" fmla="*/ 2015499 w 6886183"/>
              <a:gd name="connsiteY820" fmla="*/ 2514600 h 2705233"/>
              <a:gd name="connsiteX821" fmla="*/ 1995973 w 6886183"/>
              <a:gd name="connsiteY821" fmla="*/ 2516886 h 2705233"/>
              <a:gd name="connsiteX822" fmla="*/ 1976923 w 6886183"/>
              <a:gd name="connsiteY822" fmla="*/ 2517934 h 2705233"/>
              <a:gd name="connsiteX823" fmla="*/ 1945776 w 6886183"/>
              <a:gd name="connsiteY823" fmla="*/ 2515838 h 2705233"/>
              <a:gd name="connsiteX824" fmla="*/ 1939204 w 6886183"/>
              <a:gd name="connsiteY824" fmla="*/ 2509647 h 2705233"/>
              <a:gd name="connsiteX825" fmla="*/ 1948729 w 6886183"/>
              <a:gd name="connsiteY825" fmla="*/ 2506218 h 2705233"/>
              <a:gd name="connsiteX826" fmla="*/ 1965683 w 6886183"/>
              <a:gd name="connsiteY826" fmla="*/ 2502980 h 2705233"/>
              <a:gd name="connsiteX827" fmla="*/ 2035502 w 6886183"/>
              <a:gd name="connsiteY827" fmla="*/ 2502122 h 2705233"/>
              <a:gd name="connsiteX828" fmla="*/ 3366421 w 6886183"/>
              <a:gd name="connsiteY828" fmla="*/ 2500694 h 2705233"/>
              <a:gd name="connsiteX829" fmla="*/ 3348041 w 6886183"/>
              <a:gd name="connsiteY829" fmla="*/ 2508409 h 2705233"/>
              <a:gd name="connsiteX830" fmla="*/ 3321469 w 6886183"/>
              <a:gd name="connsiteY830" fmla="*/ 2511933 h 2705233"/>
              <a:gd name="connsiteX831" fmla="*/ 3339852 w 6886183"/>
              <a:gd name="connsiteY831" fmla="*/ 2504123 h 2705233"/>
              <a:gd name="connsiteX832" fmla="*/ 3366421 w 6886183"/>
              <a:gd name="connsiteY832" fmla="*/ 2500694 h 2705233"/>
              <a:gd name="connsiteX833" fmla="*/ 3260994 w 6886183"/>
              <a:gd name="connsiteY833" fmla="*/ 2499455 h 2705233"/>
              <a:gd name="connsiteX834" fmla="*/ 3237372 w 6886183"/>
              <a:gd name="connsiteY834" fmla="*/ 2508980 h 2705233"/>
              <a:gd name="connsiteX835" fmla="*/ 3204988 w 6886183"/>
              <a:gd name="connsiteY835" fmla="*/ 2512790 h 2705233"/>
              <a:gd name="connsiteX836" fmla="*/ 3227562 w 6886183"/>
              <a:gd name="connsiteY836" fmla="*/ 2503265 h 2705233"/>
              <a:gd name="connsiteX837" fmla="*/ 3260994 w 6886183"/>
              <a:gd name="connsiteY837" fmla="*/ 2499455 h 2705233"/>
              <a:gd name="connsiteX838" fmla="*/ 2649778 w 6886183"/>
              <a:gd name="connsiteY838" fmla="*/ 2499265 h 2705233"/>
              <a:gd name="connsiteX839" fmla="*/ 2674447 w 6886183"/>
              <a:gd name="connsiteY839" fmla="*/ 2500027 h 2705233"/>
              <a:gd name="connsiteX840" fmla="*/ 2647777 w 6886183"/>
              <a:gd name="connsiteY840" fmla="*/ 2513838 h 2705233"/>
              <a:gd name="connsiteX841" fmla="*/ 2629298 w 6886183"/>
              <a:gd name="connsiteY841" fmla="*/ 2517172 h 2705233"/>
              <a:gd name="connsiteX842" fmla="*/ 2611486 w 6886183"/>
              <a:gd name="connsiteY842" fmla="*/ 2519172 h 2705233"/>
              <a:gd name="connsiteX843" fmla="*/ 2585960 w 6886183"/>
              <a:gd name="connsiteY843" fmla="*/ 2518696 h 2705233"/>
              <a:gd name="connsiteX844" fmla="*/ 2613012 w 6886183"/>
              <a:gd name="connsiteY844" fmla="*/ 2504504 h 2705233"/>
              <a:gd name="connsiteX845" fmla="*/ 2649778 w 6886183"/>
              <a:gd name="connsiteY845" fmla="*/ 2499265 h 2705233"/>
              <a:gd name="connsiteX846" fmla="*/ 2256295 w 6886183"/>
              <a:gd name="connsiteY846" fmla="*/ 2499169 h 2705233"/>
              <a:gd name="connsiteX847" fmla="*/ 2231529 w 6886183"/>
              <a:gd name="connsiteY847" fmla="*/ 2512981 h 2705233"/>
              <a:gd name="connsiteX848" fmla="*/ 2193427 w 6886183"/>
              <a:gd name="connsiteY848" fmla="*/ 2516886 h 2705233"/>
              <a:gd name="connsiteX849" fmla="*/ 2163613 w 6886183"/>
              <a:gd name="connsiteY849" fmla="*/ 2515362 h 2705233"/>
              <a:gd name="connsiteX850" fmla="*/ 2160661 w 6886183"/>
              <a:gd name="connsiteY850" fmla="*/ 2508885 h 2705233"/>
              <a:gd name="connsiteX851" fmla="*/ 2187902 w 6886183"/>
              <a:gd name="connsiteY851" fmla="*/ 2501455 h 2705233"/>
              <a:gd name="connsiteX852" fmla="*/ 2256295 w 6886183"/>
              <a:gd name="connsiteY852" fmla="*/ 2499169 h 2705233"/>
              <a:gd name="connsiteX853" fmla="*/ 1732603 w 6886183"/>
              <a:gd name="connsiteY853" fmla="*/ 2498026 h 2705233"/>
              <a:gd name="connsiteX854" fmla="*/ 1752320 w 6886183"/>
              <a:gd name="connsiteY854" fmla="*/ 2498026 h 2705233"/>
              <a:gd name="connsiteX855" fmla="*/ 1770131 w 6886183"/>
              <a:gd name="connsiteY855" fmla="*/ 2498884 h 2705233"/>
              <a:gd name="connsiteX856" fmla="*/ 1784324 w 6886183"/>
              <a:gd name="connsiteY856" fmla="*/ 2501074 h 2705233"/>
              <a:gd name="connsiteX857" fmla="*/ 1768893 w 6886183"/>
              <a:gd name="connsiteY857" fmla="*/ 2511742 h 2705233"/>
              <a:gd name="connsiteX858" fmla="*/ 1729841 w 6886183"/>
              <a:gd name="connsiteY858" fmla="*/ 2513933 h 2705233"/>
              <a:gd name="connsiteX859" fmla="*/ 1697551 w 6886183"/>
              <a:gd name="connsiteY859" fmla="*/ 2510790 h 2705233"/>
              <a:gd name="connsiteX860" fmla="*/ 1712600 w 6886183"/>
              <a:gd name="connsiteY860" fmla="*/ 2499646 h 2705233"/>
              <a:gd name="connsiteX861" fmla="*/ 1732603 w 6886183"/>
              <a:gd name="connsiteY861" fmla="*/ 2498026 h 2705233"/>
              <a:gd name="connsiteX862" fmla="*/ 3135935 w 6886183"/>
              <a:gd name="connsiteY862" fmla="*/ 2497645 h 2705233"/>
              <a:gd name="connsiteX863" fmla="*/ 3111457 w 6886183"/>
              <a:gd name="connsiteY863" fmla="*/ 2508885 h 2705233"/>
              <a:gd name="connsiteX864" fmla="*/ 3069833 w 6886183"/>
              <a:gd name="connsiteY864" fmla="*/ 2513743 h 2705233"/>
              <a:gd name="connsiteX865" fmla="*/ 3094785 w 6886183"/>
              <a:gd name="connsiteY865" fmla="*/ 2502217 h 2705233"/>
              <a:gd name="connsiteX866" fmla="*/ 3135935 w 6886183"/>
              <a:gd name="connsiteY866" fmla="*/ 2497645 h 2705233"/>
              <a:gd name="connsiteX867" fmla="*/ 2977237 w 6886183"/>
              <a:gd name="connsiteY867" fmla="*/ 2494121 h 2705233"/>
              <a:gd name="connsiteX868" fmla="*/ 2996775 w 6886183"/>
              <a:gd name="connsiteY868" fmla="*/ 2494312 h 2705233"/>
              <a:gd name="connsiteX869" fmla="*/ 2967249 w 6886183"/>
              <a:gd name="connsiteY869" fmla="*/ 2507742 h 2705233"/>
              <a:gd name="connsiteX870" fmla="*/ 2918766 w 6886183"/>
              <a:gd name="connsiteY870" fmla="*/ 2512314 h 2705233"/>
              <a:gd name="connsiteX871" fmla="*/ 2946196 w 6886183"/>
              <a:gd name="connsiteY871" fmla="*/ 2499360 h 2705233"/>
              <a:gd name="connsiteX872" fmla="*/ 2977237 w 6886183"/>
              <a:gd name="connsiteY872" fmla="*/ 2494121 h 2705233"/>
              <a:gd name="connsiteX873" fmla="*/ 3545366 w 6886183"/>
              <a:gd name="connsiteY873" fmla="*/ 2492121 h 2705233"/>
              <a:gd name="connsiteX874" fmla="*/ 3533365 w 6886183"/>
              <a:gd name="connsiteY874" fmla="*/ 2497169 h 2705233"/>
              <a:gd name="connsiteX875" fmla="*/ 3517458 w 6886183"/>
              <a:gd name="connsiteY875" fmla="*/ 2499455 h 2705233"/>
              <a:gd name="connsiteX876" fmla="*/ 3529459 w 6886183"/>
              <a:gd name="connsiteY876" fmla="*/ 2494407 h 2705233"/>
              <a:gd name="connsiteX877" fmla="*/ 3545366 w 6886183"/>
              <a:gd name="connsiteY877" fmla="*/ 2492121 h 2705233"/>
              <a:gd name="connsiteX878" fmla="*/ 2431153 w 6886183"/>
              <a:gd name="connsiteY878" fmla="*/ 2490858 h 2705233"/>
              <a:gd name="connsiteX879" fmla="*/ 2460324 w 6886183"/>
              <a:gd name="connsiteY879" fmla="*/ 2492025 h 2705233"/>
              <a:gd name="connsiteX880" fmla="*/ 2435082 w 6886183"/>
              <a:gd name="connsiteY880" fmla="*/ 2506408 h 2705233"/>
              <a:gd name="connsiteX881" fmla="*/ 2395934 w 6886183"/>
              <a:gd name="connsiteY881" fmla="*/ 2511361 h 2705233"/>
              <a:gd name="connsiteX882" fmla="*/ 2365550 w 6886183"/>
              <a:gd name="connsiteY882" fmla="*/ 2510599 h 2705233"/>
              <a:gd name="connsiteX883" fmla="*/ 2390981 w 6886183"/>
              <a:gd name="connsiteY883" fmla="*/ 2495835 h 2705233"/>
              <a:gd name="connsiteX884" fmla="*/ 2431153 w 6886183"/>
              <a:gd name="connsiteY884" fmla="*/ 2490858 h 2705233"/>
              <a:gd name="connsiteX885" fmla="*/ 3459644 w 6886183"/>
              <a:gd name="connsiteY885" fmla="*/ 2490502 h 2705233"/>
              <a:gd name="connsiteX886" fmla="*/ 3442978 w 6886183"/>
              <a:gd name="connsiteY886" fmla="*/ 2497455 h 2705233"/>
              <a:gd name="connsiteX887" fmla="*/ 3420979 w 6886183"/>
              <a:gd name="connsiteY887" fmla="*/ 2500408 h 2705233"/>
              <a:gd name="connsiteX888" fmla="*/ 3436787 w 6886183"/>
              <a:gd name="connsiteY888" fmla="*/ 2493550 h 2705233"/>
              <a:gd name="connsiteX889" fmla="*/ 3459644 w 6886183"/>
              <a:gd name="connsiteY889" fmla="*/ 2490502 h 2705233"/>
              <a:gd name="connsiteX890" fmla="*/ 1231672 w 6886183"/>
              <a:gd name="connsiteY890" fmla="*/ 2489930 h 2705233"/>
              <a:gd name="connsiteX891" fmla="*/ 1268534 w 6886183"/>
              <a:gd name="connsiteY891" fmla="*/ 2492025 h 2705233"/>
              <a:gd name="connsiteX892" fmla="*/ 1286155 w 6886183"/>
              <a:gd name="connsiteY892" fmla="*/ 2494312 h 2705233"/>
              <a:gd name="connsiteX893" fmla="*/ 1298824 w 6886183"/>
              <a:gd name="connsiteY893" fmla="*/ 2496883 h 2705233"/>
              <a:gd name="connsiteX894" fmla="*/ 1286632 w 6886183"/>
              <a:gd name="connsiteY894" fmla="*/ 2504789 h 2705233"/>
              <a:gd name="connsiteX895" fmla="*/ 1250913 w 6886183"/>
              <a:gd name="connsiteY895" fmla="*/ 2503170 h 2705233"/>
              <a:gd name="connsiteX896" fmla="*/ 1233006 w 6886183"/>
              <a:gd name="connsiteY896" fmla="*/ 2500979 h 2705233"/>
              <a:gd name="connsiteX897" fmla="*/ 1219195 w 6886183"/>
              <a:gd name="connsiteY897" fmla="*/ 2498121 h 2705233"/>
              <a:gd name="connsiteX898" fmla="*/ 1231672 w 6886183"/>
              <a:gd name="connsiteY898" fmla="*/ 2489930 h 2705233"/>
              <a:gd name="connsiteX899" fmla="*/ 2811512 w 6886183"/>
              <a:gd name="connsiteY899" fmla="*/ 2489072 h 2705233"/>
              <a:gd name="connsiteX900" fmla="*/ 2833324 w 6886183"/>
              <a:gd name="connsiteY900" fmla="*/ 2489739 h 2705233"/>
              <a:gd name="connsiteX901" fmla="*/ 2803226 w 6886183"/>
              <a:gd name="connsiteY901" fmla="*/ 2504217 h 2705233"/>
              <a:gd name="connsiteX902" fmla="*/ 2769318 w 6886183"/>
              <a:gd name="connsiteY902" fmla="*/ 2509456 h 2705233"/>
              <a:gd name="connsiteX903" fmla="*/ 2747217 w 6886183"/>
              <a:gd name="connsiteY903" fmla="*/ 2508789 h 2705233"/>
              <a:gd name="connsiteX904" fmla="*/ 2777031 w 6886183"/>
              <a:gd name="connsiteY904" fmla="*/ 2494406 h 2705233"/>
              <a:gd name="connsiteX905" fmla="*/ 2811512 w 6886183"/>
              <a:gd name="connsiteY905" fmla="*/ 2489072 h 2705233"/>
              <a:gd name="connsiteX906" fmla="*/ 3360614 w 6886183"/>
              <a:gd name="connsiteY906" fmla="*/ 2488691 h 2705233"/>
              <a:gd name="connsiteX907" fmla="*/ 3340333 w 6886183"/>
              <a:gd name="connsiteY907" fmla="*/ 2497550 h 2705233"/>
              <a:gd name="connsiteX908" fmla="*/ 3309184 w 6886183"/>
              <a:gd name="connsiteY908" fmla="*/ 2502026 h 2705233"/>
              <a:gd name="connsiteX909" fmla="*/ 3330045 w 6886183"/>
              <a:gd name="connsiteY909" fmla="*/ 2492501 h 2705233"/>
              <a:gd name="connsiteX910" fmla="*/ 3360614 w 6886183"/>
              <a:gd name="connsiteY910" fmla="*/ 2488691 h 2705233"/>
              <a:gd name="connsiteX911" fmla="*/ 3236912 w 6886183"/>
              <a:gd name="connsiteY911" fmla="*/ 2486275 h 2705233"/>
              <a:gd name="connsiteX912" fmla="*/ 3250712 w 6886183"/>
              <a:gd name="connsiteY912" fmla="*/ 2486406 h 2705233"/>
              <a:gd name="connsiteX913" fmla="*/ 3225660 w 6886183"/>
              <a:gd name="connsiteY913" fmla="*/ 2497360 h 2705233"/>
              <a:gd name="connsiteX914" fmla="*/ 3187560 w 6886183"/>
              <a:gd name="connsiteY914" fmla="*/ 2501741 h 2705233"/>
              <a:gd name="connsiteX915" fmla="*/ 3212612 w 6886183"/>
              <a:gd name="connsiteY915" fmla="*/ 2490787 h 2705233"/>
              <a:gd name="connsiteX916" fmla="*/ 3236912 w 6886183"/>
              <a:gd name="connsiteY916" fmla="*/ 2486275 h 2705233"/>
              <a:gd name="connsiteX917" fmla="*/ 1015542 w 6886183"/>
              <a:gd name="connsiteY917" fmla="*/ 2484120 h 2705233"/>
              <a:gd name="connsiteX918" fmla="*/ 1077930 w 6886183"/>
              <a:gd name="connsiteY918" fmla="*/ 2492787 h 2705233"/>
              <a:gd name="connsiteX919" fmla="*/ 1073453 w 6886183"/>
              <a:gd name="connsiteY919" fmla="*/ 2499836 h 2705233"/>
              <a:gd name="connsiteX920" fmla="*/ 1041831 w 6886183"/>
              <a:gd name="connsiteY920" fmla="*/ 2496788 h 2705233"/>
              <a:gd name="connsiteX921" fmla="*/ 1024972 w 6886183"/>
              <a:gd name="connsiteY921" fmla="*/ 2493930 h 2705233"/>
              <a:gd name="connsiteX922" fmla="*/ 1011637 w 6886183"/>
              <a:gd name="connsiteY922" fmla="*/ 2490882 h 2705233"/>
              <a:gd name="connsiteX923" fmla="*/ 1015542 w 6886183"/>
              <a:gd name="connsiteY923" fmla="*/ 2484120 h 2705233"/>
              <a:gd name="connsiteX924" fmla="*/ 1425800 w 6886183"/>
              <a:gd name="connsiteY924" fmla="*/ 2483644 h 2705233"/>
              <a:gd name="connsiteX925" fmla="*/ 1498094 w 6886183"/>
              <a:gd name="connsiteY925" fmla="*/ 2488501 h 2705233"/>
              <a:gd name="connsiteX926" fmla="*/ 1480092 w 6886183"/>
              <a:gd name="connsiteY926" fmla="*/ 2498026 h 2705233"/>
              <a:gd name="connsiteX927" fmla="*/ 1441992 w 6886183"/>
              <a:gd name="connsiteY927" fmla="*/ 2498026 h 2705233"/>
              <a:gd name="connsiteX928" fmla="*/ 1410465 w 6886183"/>
              <a:gd name="connsiteY928" fmla="*/ 2493740 h 2705233"/>
              <a:gd name="connsiteX929" fmla="*/ 1425800 w 6886183"/>
              <a:gd name="connsiteY929" fmla="*/ 2483644 h 2705233"/>
              <a:gd name="connsiteX930" fmla="*/ 3109706 w 6886183"/>
              <a:gd name="connsiteY930" fmla="*/ 2483013 h 2705233"/>
              <a:gd name="connsiteX931" fmla="*/ 3125839 w 6886183"/>
              <a:gd name="connsiteY931" fmla="*/ 2483453 h 2705233"/>
              <a:gd name="connsiteX932" fmla="*/ 3096883 w 6886183"/>
              <a:gd name="connsiteY932" fmla="*/ 2496407 h 2705233"/>
              <a:gd name="connsiteX933" fmla="*/ 3051258 w 6886183"/>
              <a:gd name="connsiteY933" fmla="*/ 2501169 h 2705233"/>
              <a:gd name="connsiteX934" fmla="*/ 3080784 w 6886183"/>
              <a:gd name="connsiteY934" fmla="*/ 2487930 h 2705233"/>
              <a:gd name="connsiteX935" fmla="*/ 3109706 w 6886183"/>
              <a:gd name="connsiteY935" fmla="*/ 2483013 h 2705233"/>
              <a:gd name="connsiteX936" fmla="*/ 3625757 w 6886183"/>
              <a:gd name="connsiteY936" fmla="*/ 2482691 h 2705233"/>
              <a:gd name="connsiteX937" fmla="*/ 3615660 w 6886183"/>
              <a:gd name="connsiteY937" fmla="*/ 2486692 h 2705233"/>
              <a:gd name="connsiteX938" fmla="*/ 3603754 w 6886183"/>
              <a:gd name="connsiteY938" fmla="*/ 2488406 h 2705233"/>
              <a:gd name="connsiteX939" fmla="*/ 3613279 w 6886183"/>
              <a:gd name="connsiteY939" fmla="*/ 2484501 h 2705233"/>
              <a:gd name="connsiteX940" fmla="*/ 3625757 w 6886183"/>
              <a:gd name="connsiteY940" fmla="*/ 2482691 h 2705233"/>
              <a:gd name="connsiteX941" fmla="*/ 2615333 w 6886183"/>
              <a:gd name="connsiteY941" fmla="*/ 2481739 h 2705233"/>
              <a:gd name="connsiteX942" fmla="*/ 2641205 w 6886183"/>
              <a:gd name="connsiteY942" fmla="*/ 2482882 h 2705233"/>
              <a:gd name="connsiteX943" fmla="*/ 2610821 w 6886183"/>
              <a:gd name="connsiteY943" fmla="*/ 2498217 h 2705233"/>
              <a:gd name="connsiteX944" fmla="*/ 2547384 w 6886183"/>
              <a:gd name="connsiteY944" fmla="*/ 2502218 h 2705233"/>
              <a:gd name="connsiteX945" fmla="*/ 2576818 w 6886183"/>
              <a:gd name="connsiteY945" fmla="*/ 2487168 h 2705233"/>
              <a:gd name="connsiteX946" fmla="*/ 2615333 w 6886183"/>
              <a:gd name="connsiteY946" fmla="*/ 2481739 h 2705233"/>
              <a:gd name="connsiteX947" fmla="*/ 3545176 w 6886183"/>
              <a:gd name="connsiteY947" fmla="*/ 2481262 h 2705233"/>
              <a:gd name="connsiteX948" fmla="*/ 3529174 w 6886183"/>
              <a:gd name="connsiteY948" fmla="*/ 2487644 h 2705233"/>
              <a:gd name="connsiteX949" fmla="*/ 3510600 w 6886183"/>
              <a:gd name="connsiteY949" fmla="*/ 2490121 h 2705233"/>
              <a:gd name="connsiteX950" fmla="*/ 3527269 w 6886183"/>
              <a:gd name="connsiteY950" fmla="*/ 2483453 h 2705233"/>
              <a:gd name="connsiteX951" fmla="*/ 3545176 w 6886183"/>
              <a:gd name="connsiteY951" fmla="*/ 2481262 h 2705233"/>
              <a:gd name="connsiteX952" fmla="*/ 3456598 w 6886183"/>
              <a:gd name="connsiteY952" fmla="*/ 2478881 h 2705233"/>
              <a:gd name="connsiteX953" fmla="*/ 3436982 w 6886183"/>
              <a:gd name="connsiteY953" fmla="*/ 2487072 h 2705233"/>
              <a:gd name="connsiteX954" fmla="*/ 3411367 w 6886183"/>
              <a:gd name="connsiteY954" fmla="*/ 2490406 h 2705233"/>
              <a:gd name="connsiteX955" fmla="*/ 3430410 w 6886183"/>
              <a:gd name="connsiteY955" fmla="*/ 2482310 h 2705233"/>
              <a:gd name="connsiteX956" fmla="*/ 3456598 w 6886183"/>
              <a:gd name="connsiteY956" fmla="*/ 2478881 h 2705233"/>
              <a:gd name="connsiteX957" fmla="*/ 2958379 w 6886183"/>
              <a:gd name="connsiteY957" fmla="*/ 2478595 h 2705233"/>
              <a:gd name="connsiteX958" fmla="*/ 2978868 w 6886183"/>
              <a:gd name="connsiteY958" fmla="*/ 2479166 h 2705233"/>
              <a:gd name="connsiteX959" fmla="*/ 2950294 w 6886183"/>
              <a:gd name="connsiteY959" fmla="*/ 2492978 h 2705233"/>
              <a:gd name="connsiteX960" fmla="*/ 2896096 w 6886183"/>
              <a:gd name="connsiteY960" fmla="*/ 2498502 h 2705233"/>
              <a:gd name="connsiteX961" fmla="*/ 2924670 w 6886183"/>
              <a:gd name="connsiteY961" fmla="*/ 2484310 h 2705233"/>
              <a:gd name="connsiteX962" fmla="*/ 2958379 w 6886183"/>
              <a:gd name="connsiteY962" fmla="*/ 2478595 h 2705233"/>
              <a:gd name="connsiteX963" fmla="*/ 1926059 w 6886183"/>
              <a:gd name="connsiteY963" fmla="*/ 2476595 h 2705233"/>
              <a:gd name="connsiteX964" fmla="*/ 1944442 w 6886183"/>
              <a:gd name="connsiteY964" fmla="*/ 2477357 h 2705233"/>
              <a:gd name="connsiteX965" fmla="*/ 1958634 w 6886183"/>
              <a:gd name="connsiteY965" fmla="*/ 2479452 h 2705233"/>
              <a:gd name="connsiteX966" fmla="*/ 1938156 w 6886183"/>
              <a:gd name="connsiteY966" fmla="*/ 2492692 h 2705233"/>
              <a:gd name="connsiteX967" fmla="*/ 1897104 w 6886183"/>
              <a:gd name="connsiteY967" fmla="*/ 2495645 h 2705233"/>
              <a:gd name="connsiteX968" fmla="*/ 1864147 w 6886183"/>
              <a:gd name="connsiteY968" fmla="*/ 2492692 h 2705233"/>
              <a:gd name="connsiteX969" fmla="*/ 1884150 w 6886183"/>
              <a:gd name="connsiteY969" fmla="*/ 2479548 h 2705233"/>
              <a:gd name="connsiteX970" fmla="*/ 1926059 w 6886183"/>
              <a:gd name="connsiteY970" fmla="*/ 2476595 h 2705233"/>
              <a:gd name="connsiteX971" fmla="*/ 2167614 w 6886183"/>
              <a:gd name="connsiteY971" fmla="*/ 2476119 h 2705233"/>
              <a:gd name="connsiteX972" fmla="*/ 2199142 w 6886183"/>
              <a:gd name="connsiteY972" fmla="*/ 2478024 h 2705233"/>
              <a:gd name="connsiteX973" fmla="*/ 2175520 w 6886183"/>
              <a:gd name="connsiteY973" fmla="*/ 2492597 h 2705233"/>
              <a:gd name="connsiteX974" fmla="*/ 2102940 w 6886183"/>
              <a:gd name="connsiteY974" fmla="*/ 2494693 h 2705233"/>
              <a:gd name="connsiteX975" fmla="*/ 2126180 w 6886183"/>
              <a:gd name="connsiteY975" fmla="*/ 2480119 h 2705233"/>
              <a:gd name="connsiteX976" fmla="*/ 2167614 w 6886183"/>
              <a:gd name="connsiteY976" fmla="*/ 2476119 h 2705233"/>
              <a:gd name="connsiteX977" fmla="*/ 3357476 w 6886183"/>
              <a:gd name="connsiteY977" fmla="*/ 2475833 h 2705233"/>
              <a:gd name="connsiteX978" fmla="*/ 3333096 w 6886183"/>
              <a:gd name="connsiteY978" fmla="*/ 2486311 h 2705233"/>
              <a:gd name="connsiteX979" fmla="*/ 3299473 w 6886183"/>
              <a:gd name="connsiteY979" fmla="*/ 2490407 h 2705233"/>
              <a:gd name="connsiteX980" fmla="*/ 3323856 w 6886183"/>
              <a:gd name="connsiteY980" fmla="*/ 2479929 h 2705233"/>
              <a:gd name="connsiteX981" fmla="*/ 3357476 w 6886183"/>
              <a:gd name="connsiteY981" fmla="*/ 2475833 h 2705233"/>
              <a:gd name="connsiteX982" fmla="*/ 2781125 w 6886183"/>
              <a:gd name="connsiteY982" fmla="*/ 2473071 h 2705233"/>
              <a:gd name="connsiteX983" fmla="*/ 2805605 w 6886183"/>
              <a:gd name="connsiteY983" fmla="*/ 2474023 h 2705233"/>
              <a:gd name="connsiteX984" fmla="*/ 2774270 w 6886183"/>
              <a:gd name="connsiteY984" fmla="*/ 2489454 h 2705233"/>
              <a:gd name="connsiteX985" fmla="*/ 2736645 w 6886183"/>
              <a:gd name="connsiteY985" fmla="*/ 2495074 h 2705233"/>
              <a:gd name="connsiteX986" fmla="*/ 2710738 w 6886183"/>
              <a:gd name="connsiteY986" fmla="*/ 2494502 h 2705233"/>
              <a:gd name="connsiteX987" fmla="*/ 2742455 w 6886183"/>
              <a:gd name="connsiteY987" fmla="*/ 2478595 h 2705233"/>
              <a:gd name="connsiteX988" fmla="*/ 2762077 w 6886183"/>
              <a:gd name="connsiteY988" fmla="*/ 2475166 h 2705233"/>
              <a:gd name="connsiteX989" fmla="*/ 2781125 w 6886183"/>
              <a:gd name="connsiteY989" fmla="*/ 2473071 h 2705233"/>
              <a:gd name="connsiteX990" fmla="*/ 3229056 w 6886183"/>
              <a:gd name="connsiteY990" fmla="*/ 2472035 h 2705233"/>
              <a:gd name="connsiteX991" fmla="*/ 3244045 w 6886183"/>
              <a:gd name="connsiteY991" fmla="*/ 2472213 h 2705233"/>
              <a:gd name="connsiteX992" fmla="*/ 3215469 w 6886183"/>
              <a:gd name="connsiteY992" fmla="*/ 2484881 h 2705233"/>
              <a:gd name="connsiteX993" fmla="*/ 3189371 w 6886183"/>
              <a:gd name="connsiteY993" fmla="*/ 2489644 h 2705233"/>
              <a:gd name="connsiteX994" fmla="*/ 3173845 w 6886183"/>
              <a:gd name="connsiteY994" fmla="*/ 2489549 h 2705233"/>
              <a:gd name="connsiteX995" fmla="*/ 3202421 w 6886183"/>
              <a:gd name="connsiteY995" fmla="*/ 2476785 h 2705233"/>
              <a:gd name="connsiteX996" fmla="*/ 3229056 w 6886183"/>
              <a:gd name="connsiteY996" fmla="*/ 2472035 h 2705233"/>
              <a:gd name="connsiteX997" fmla="*/ 1614779 w 6886183"/>
              <a:gd name="connsiteY997" fmla="*/ 2471833 h 2705233"/>
              <a:gd name="connsiteX998" fmla="*/ 1689453 w 6886183"/>
              <a:gd name="connsiteY998" fmla="*/ 2473928 h 2705233"/>
              <a:gd name="connsiteX999" fmla="*/ 1698407 w 6886183"/>
              <a:gd name="connsiteY999" fmla="*/ 2480215 h 2705233"/>
              <a:gd name="connsiteX1000" fmla="*/ 1675452 w 6886183"/>
              <a:gd name="connsiteY1000" fmla="*/ 2485739 h 2705233"/>
              <a:gd name="connsiteX1001" fmla="*/ 1655544 w 6886183"/>
              <a:gd name="connsiteY1001" fmla="*/ 2487263 h 2705233"/>
              <a:gd name="connsiteX1002" fmla="*/ 1645449 w 6886183"/>
              <a:gd name="connsiteY1002" fmla="*/ 2487263 h 2705233"/>
              <a:gd name="connsiteX1003" fmla="*/ 1635448 w 6886183"/>
              <a:gd name="connsiteY1003" fmla="*/ 2487263 h 2705233"/>
              <a:gd name="connsiteX1004" fmla="*/ 1600872 w 6886183"/>
              <a:gd name="connsiteY1004" fmla="*/ 2483644 h 2705233"/>
              <a:gd name="connsiteX1005" fmla="*/ 1591347 w 6886183"/>
              <a:gd name="connsiteY1005" fmla="*/ 2477167 h 2705233"/>
              <a:gd name="connsiteX1006" fmla="*/ 1614779 w 6886183"/>
              <a:gd name="connsiteY1006" fmla="*/ 2471833 h 2705233"/>
              <a:gd name="connsiteX1007" fmla="*/ 2376967 w 6886183"/>
              <a:gd name="connsiteY1007" fmla="*/ 2471452 h 2705233"/>
              <a:gd name="connsiteX1008" fmla="*/ 2407840 w 6886183"/>
              <a:gd name="connsiteY1008" fmla="*/ 2472976 h 2705233"/>
              <a:gd name="connsiteX1009" fmla="*/ 2381361 w 6886183"/>
              <a:gd name="connsiteY1009" fmla="*/ 2488216 h 2705233"/>
              <a:gd name="connsiteX1010" fmla="*/ 2339832 w 6886183"/>
              <a:gd name="connsiteY1010" fmla="*/ 2493169 h 2705233"/>
              <a:gd name="connsiteX1011" fmla="*/ 2307923 w 6886183"/>
              <a:gd name="connsiteY1011" fmla="*/ 2491931 h 2705233"/>
              <a:gd name="connsiteX1012" fmla="*/ 2334593 w 6886183"/>
              <a:gd name="connsiteY1012" fmla="*/ 2476215 h 2705233"/>
              <a:gd name="connsiteX1013" fmla="*/ 2376967 w 6886183"/>
              <a:gd name="connsiteY1013" fmla="*/ 2471452 h 2705233"/>
              <a:gd name="connsiteX1014" fmla="*/ 3626900 w 6886183"/>
              <a:gd name="connsiteY1014" fmla="*/ 2471356 h 2705233"/>
              <a:gd name="connsiteX1015" fmla="*/ 3614613 w 6886183"/>
              <a:gd name="connsiteY1015" fmla="*/ 2476500 h 2705233"/>
              <a:gd name="connsiteX1016" fmla="*/ 3598611 w 6886183"/>
              <a:gd name="connsiteY1016" fmla="*/ 2478786 h 2705233"/>
              <a:gd name="connsiteX1017" fmla="*/ 3611089 w 6886183"/>
              <a:gd name="connsiteY1017" fmla="*/ 2473737 h 2705233"/>
              <a:gd name="connsiteX1018" fmla="*/ 3626900 w 6886183"/>
              <a:gd name="connsiteY1018" fmla="*/ 2471356 h 2705233"/>
              <a:gd name="connsiteX1019" fmla="*/ 3547366 w 6886183"/>
              <a:gd name="connsiteY1019" fmla="*/ 2468784 h 2705233"/>
              <a:gd name="connsiteX1020" fmla="*/ 3529840 w 6886183"/>
              <a:gd name="connsiteY1020" fmla="*/ 2476309 h 2705233"/>
              <a:gd name="connsiteX1021" fmla="*/ 3506884 w 6886183"/>
              <a:gd name="connsiteY1021" fmla="*/ 2479452 h 2705233"/>
              <a:gd name="connsiteX1022" fmla="*/ 3524410 w 6886183"/>
              <a:gd name="connsiteY1022" fmla="*/ 2472023 h 2705233"/>
              <a:gd name="connsiteX1023" fmla="*/ 3547366 w 6886183"/>
              <a:gd name="connsiteY1023" fmla="*/ 2468784 h 2705233"/>
              <a:gd name="connsiteX1024" fmla="*/ 3089739 w 6886183"/>
              <a:gd name="connsiteY1024" fmla="*/ 2468499 h 2705233"/>
              <a:gd name="connsiteX1025" fmla="*/ 3108220 w 6886183"/>
              <a:gd name="connsiteY1025" fmla="*/ 2468499 h 2705233"/>
              <a:gd name="connsiteX1026" fmla="*/ 3079644 w 6886183"/>
              <a:gd name="connsiteY1026" fmla="*/ 2482119 h 2705233"/>
              <a:gd name="connsiteX1027" fmla="*/ 3048019 w 6886183"/>
              <a:gd name="connsiteY1027" fmla="*/ 2487930 h 2705233"/>
              <a:gd name="connsiteX1028" fmla="*/ 3028685 w 6886183"/>
              <a:gd name="connsiteY1028" fmla="*/ 2488120 h 2705233"/>
              <a:gd name="connsiteX1029" fmla="*/ 3057828 w 6886183"/>
              <a:gd name="connsiteY1029" fmla="*/ 2474118 h 2705233"/>
              <a:gd name="connsiteX1030" fmla="*/ 3089739 w 6886183"/>
              <a:gd name="connsiteY1030" fmla="*/ 2468499 h 2705233"/>
              <a:gd name="connsiteX1031" fmla="*/ 3456792 w 6886183"/>
              <a:gd name="connsiteY1031" fmla="*/ 2465832 h 2705233"/>
              <a:gd name="connsiteX1032" fmla="*/ 3434414 w 6886183"/>
              <a:gd name="connsiteY1032" fmla="*/ 2475357 h 2705233"/>
              <a:gd name="connsiteX1033" fmla="*/ 3404514 w 6886183"/>
              <a:gd name="connsiteY1033" fmla="*/ 2479167 h 2705233"/>
              <a:gd name="connsiteX1034" fmla="*/ 3426892 w 6886183"/>
              <a:gd name="connsiteY1034" fmla="*/ 2469547 h 2705233"/>
              <a:gd name="connsiteX1035" fmla="*/ 3456792 w 6886183"/>
              <a:gd name="connsiteY1035" fmla="*/ 2465832 h 2705233"/>
              <a:gd name="connsiteX1036" fmla="*/ 2572340 w 6886183"/>
              <a:gd name="connsiteY1036" fmla="*/ 2463927 h 2705233"/>
              <a:gd name="connsiteX1037" fmla="*/ 2600247 w 6886183"/>
              <a:gd name="connsiteY1037" fmla="*/ 2465165 h 2705233"/>
              <a:gd name="connsiteX1038" fmla="*/ 2571864 w 6886183"/>
              <a:gd name="connsiteY1038" fmla="*/ 2481072 h 2705233"/>
              <a:gd name="connsiteX1039" fmla="*/ 2531097 w 6886183"/>
              <a:gd name="connsiteY1039" fmla="*/ 2486787 h 2705233"/>
              <a:gd name="connsiteX1040" fmla="*/ 2502521 w 6886183"/>
              <a:gd name="connsiteY1040" fmla="*/ 2485549 h 2705233"/>
              <a:gd name="connsiteX1041" fmla="*/ 2531953 w 6886183"/>
              <a:gd name="connsiteY1041" fmla="*/ 2469452 h 2705233"/>
              <a:gd name="connsiteX1042" fmla="*/ 2572340 w 6886183"/>
              <a:gd name="connsiteY1042" fmla="*/ 2463927 h 2705233"/>
              <a:gd name="connsiteX1043" fmla="*/ 3349764 w 6886183"/>
              <a:gd name="connsiteY1043" fmla="*/ 2462879 h 2705233"/>
              <a:gd name="connsiteX1044" fmla="*/ 3324622 w 6886183"/>
              <a:gd name="connsiteY1044" fmla="*/ 2474309 h 2705233"/>
              <a:gd name="connsiteX1045" fmla="*/ 3286525 w 6886183"/>
              <a:gd name="connsiteY1045" fmla="*/ 2479071 h 2705233"/>
              <a:gd name="connsiteX1046" fmla="*/ 3312524 w 6886183"/>
              <a:gd name="connsiteY1046" fmla="*/ 2467355 h 2705233"/>
              <a:gd name="connsiteX1047" fmla="*/ 3349764 w 6886183"/>
              <a:gd name="connsiteY1047" fmla="*/ 2462879 h 2705233"/>
              <a:gd name="connsiteX1048" fmla="*/ 2934230 w 6886183"/>
              <a:gd name="connsiteY1048" fmla="*/ 2462879 h 2705233"/>
              <a:gd name="connsiteX1049" fmla="*/ 2957343 w 6886183"/>
              <a:gd name="connsiteY1049" fmla="*/ 2463736 h 2705233"/>
              <a:gd name="connsiteX1050" fmla="*/ 2925242 w 6886183"/>
              <a:gd name="connsiteY1050" fmla="*/ 2479262 h 2705233"/>
              <a:gd name="connsiteX1051" fmla="*/ 2865712 w 6886183"/>
              <a:gd name="connsiteY1051" fmla="*/ 2484500 h 2705233"/>
              <a:gd name="connsiteX1052" fmla="*/ 2897617 w 6886183"/>
              <a:gd name="connsiteY1052" fmla="*/ 2468879 h 2705233"/>
              <a:gd name="connsiteX1053" fmla="*/ 2934230 w 6886183"/>
              <a:gd name="connsiteY1053" fmla="*/ 2462879 h 2705233"/>
              <a:gd name="connsiteX1054" fmla="*/ 782339 w 6886183"/>
              <a:gd name="connsiteY1054" fmla="*/ 2462533 h 2705233"/>
              <a:gd name="connsiteX1055" fmla="*/ 797316 w 6886183"/>
              <a:gd name="connsiteY1055" fmla="*/ 2463164 h 2705233"/>
              <a:gd name="connsiteX1056" fmla="*/ 804174 w 6886183"/>
              <a:gd name="connsiteY1056" fmla="*/ 2464307 h 2705233"/>
              <a:gd name="connsiteX1057" fmla="*/ 811604 w 6886183"/>
              <a:gd name="connsiteY1057" fmla="*/ 2465736 h 2705233"/>
              <a:gd name="connsiteX1058" fmla="*/ 827225 w 6886183"/>
              <a:gd name="connsiteY1058" fmla="*/ 2469165 h 2705233"/>
              <a:gd name="connsiteX1059" fmla="*/ 841608 w 6886183"/>
              <a:gd name="connsiteY1059" fmla="*/ 2472785 h 2705233"/>
              <a:gd name="connsiteX1060" fmla="*/ 851704 w 6886183"/>
              <a:gd name="connsiteY1060" fmla="*/ 2475833 h 2705233"/>
              <a:gd name="connsiteX1061" fmla="*/ 842656 w 6886183"/>
              <a:gd name="connsiteY1061" fmla="*/ 2479643 h 2705233"/>
              <a:gd name="connsiteX1062" fmla="*/ 829225 w 6886183"/>
              <a:gd name="connsiteY1062" fmla="*/ 2477547 h 2705233"/>
              <a:gd name="connsiteX1063" fmla="*/ 813604 w 6886183"/>
              <a:gd name="connsiteY1063" fmla="*/ 2474213 h 2705233"/>
              <a:gd name="connsiteX1064" fmla="*/ 798745 w 6886183"/>
              <a:gd name="connsiteY1064" fmla="*/ 2470594 h 2705233"/>
              <a:gd name="connsiteX1065" fmla="*/ 787791 w 6886183"/>
              <a:gd name="connsiteY1065" fmla="*/ 2466974 h 2705233"/>
              <a:gd name="connsiteX1066" fmla="*/ 782339 w 6886183"/>
              <a:gd name="connsiteY1066" fmla="*/ 2462533 h 2705233"/>
              <a:gd name="connsiteX1067" fmla="*/ 3703957 w 6886183"/>
              <a:gd name="connsiteY1067" fmla="*/ 2462212 h 2705233"/>
              <a:gd name="connsiteX1068" fmla="*/ 3693385 w 6886183"/>
              <a:gd name="connsiteY1068" fmla="*/ 2466498 h 2705233"/>
              <a:gd name="connsiteX1069" fmla="*/ 3682717 w 6886183"/>
              <a:gd name="connsiteY1069" fmla="*/ 2468118 h 2705233"/>
              <a:gd name="connsiteX1070" fmla="*/ 3692242 w 6886183"/>
              <a:gd name="connsiteY1070" fmla="*/ 2464022 h 2705233"/>
              <a:gd name="connsiteX1071" fmla="*/ 3703957 w 6886183"/>
              <a:gd name="connsiteY1071" fmla="*/ 2462212 h 2705233"/>
              <a:gd name="connsiteX1072" fmla="*/ 3628804 w 6886183"/>
              <a:gd name="connsiteY1072" fmla="*/ 2459831 h 2705233"/>
              <a:gd name="connsiteX1073" fmla="*/ 3612517 w 6886183"/>
              <a:gd name="connsiteY1073" fmla="*/ 2466498 h 2705233"/>
              <a:gd name="connsiteX1074" fmla="*/ 3594133 w 6886183"/>
              <a:gd name="connsiteY1074" fmla="*/ 2469070 h 2705233"/>
              <a:gd name="connsiteX1075" fmla="*/ 3610421 w 6886183"/>
              <a:gd name="connsiteY1075" fmla="*/ 2462307 h 2705233"/>
              <a:gd name="connsiteX1076" fmla="*/ 3628804 w 6886183"/>
              <a:gd name="connsiteY1076" fmla="*/ 2459831 h 2705233"/>
              <a:gd name="connsiteX1077" fmla="*/ 3216065 w 6886183"/>
              <a:gd name="connsiteY1077" fmla="*/ 2457831 h 2705233"/>
              <a:gd name="connsiteX1078" fmla="*/ 3231947 w 6886183"/>
              <a:gd name="connsiteY1078" fmla="*/ 2458402 h 2705233"/>
              <a:gd name="connsiteX1079" fmla="*/ 3201849 w 6886183"/>
              <a:gd name="connsiteY1079" fmla="*/ 2472118 h 2705233"/>
              <a:gd name="connsiteX1080" fmla="*/ 3156605 w 6886183"/>
              <a:gd name="connsiteY1080" fmla="*/ 2477071 h 2705233"/>
              <a:gd name="connsiteX1081" fmla="*/ 3186608 w 6886183"/>
              <a:gd name="connsiteY1081" fmla="*/ 2463260 h 2705233"/>
              <a:gd name="connsiteX1082" fmla="*/ 3216065 w 6886183"/>
              <a:gd name="connsiteY1082" fmla="*/ 2457831 h 2705233"/>
              <a:gd name="connsiteX1083" fmla="*/ 3545937 w 6886183"/>
              <a:gd name="connsiteY1083" fmla="*/ 2456592 h 2705233"/>
              <a:gd name="connsiteX1084" fmla="*/ 3524982 w 6886183"/>
              <a:gd name="connsiteY1084" fmla="*/ 2465165 h 2705233"/>
              <a:gd name="connsiteX1085" fmla="*/ 3499742 w 6886183"/>
              <a:gd name="connsiteY1085" fmla="*/ 2468308 h 2705233"/>
              <a:gd name="connsiteX1086" fmla="*/ 3520696 w 6886183"/>
              <a:gd name="connsiteY1086" fmla="*/ 2459735 h 2705233"/>
              <a:gd name="connsiteX1087" fmla="*/ 3545937 w 6886183"/>
              <a:gd name="connsiteY1087" fmla="*/ 2456592 h 2705233"/>
              <a:gd name="connsiteX1088" fmla="*/ 2750362 w 6886183"/>
              <a:gd name="connsiteY1088" fmla="*/ 2454973 h 2705233"/>
              <a:gd name="connsiteX1089" fmla="*/ 2777317 w 6886183"/>
              <a:gd name="connsiteY1089" fmla="*/ 2456021 h 2705233"/>
              <a:gd name="connsiteX1090" fmla="*/ 2743027 w 6886183"/>
              <a:gd name="connsiteY1090" fmla="*/ 2473070 h 2705233"/>
              <a:gd name="connsiteX1091" fmla="*/ 2677594 w 6886183"/>
              <a:gd name="connsiteY1091" fmla="*/ 2477547 h 2705233"/>
              <a:gd name="connsiteX1092" fmla="*/ 2709310 w 6886183"/>
              <a:gd name="connsiteY1092" fmla="*/ 2460974 h 2705233"/>
              <a:gd name="connsiteX1093" fmla="*/ 2750362 w 6886183"/>
              <a:gd name="connsiteY1093" fmla="*/ 2454973 h 2705233"/>
              <a:gd name="connsiteX1094" fmla="*/ 2097987 w 6886183"/>
              <a:gd name="connsiteY1094" fmla="*/ 2453354 h 2705233"/>
              <a:gd name="connsiteX1095" fmla="*/ 2117037 w 6886183"/>
              <a:gd name="connsiteY1095" fmla="*/ 2453830 h 2705233"/>
              <a:gd name="connsiteX1096" fmla="*/ 2131134 w 6886183"/>
              <a:gd name="connsiteY1096" fmla="*/ 2455926 h 2705233"/>
              <a:gd name="connsiteX1097" fmla="*/ 2107893 w 6886183"/>
              <a:gd name="connsiteY1097" fmla="*/ 2470975 h 2705233"/>
              <a:gd name="connsiteX1098" fmla="*/ 2065030 w 6886183"/>
              <a:gd name="connsiteY1098" fmla="*/ 2474785 h 2705233"/>
              <a:gd name="connsiteX1099" fmla="*/ 2030646 w 6886183"/>
              <a:gd name="connsiteY1099" fmla="*/ 2472499 h 2705233"/>
              <a:gd name="connsiteX1100" fmla="*/ 2054173 w 6886183"/>
              <a:gd name="connsiteY1100" fmla="*/ 2456973 h 2705233"/>
              <a:gd name="connsiteX1101" fmla="*/ 2097987 w 6886183"/>
              <a:gd name="connsiteY1101" fmla="*/ 2453354 h 2705233"/>
              <a:gd name="connsiteX1102" fmla="*/ 3442512 w 6886183"/>
              <a:gd name="connsiteY1102" fmla="*/ 2452497 h 2705233"/>
              <a:gd name="connsiteX1103" fmla="*/ 3453462 w 6886183"/>
              <a:gd name="connsiteY1103" fmla="*/ 2452878 h 2705233"/>
              <a:gd name="connsiteX1104" fmla="*/ 3427939 w 6886183"/>
              <a:gd name="connsiteY1104" fmla="*/ 2463737 h 2705233"/>
              <a:gd name="connsiteX1105" fmla="*/ 3394136 w 6886183"/>
              <a:gd name="connsiteY1105" fmla="*/ 2467928 h 2705233"/>
              <a:gd name="connsiteX1106" fmla="*/ 3420423 w 6886183"/>
              <a:gd name="connsiteY1106" fmla="*/ 2456688 h 2705233"/>
              <a:gd name="connsiteX1107" fmla="*/ 3442512 w 6886183"/>
              <a:gd name="connsiteY1107" fmla="*/ 2452497 h 2705233"/>
              <a:gd name="connsiteX1108" fmla="*/ 3074749 w 6886183"/>
              <a:gd name="connsiteY1108" fmla="*/ 2452104 h 2705233"/>
              <a:gd name="connsiteX1109" fmla="*/ 3095360 w 6886183"/>
              <a:gd name="connsiteY1109" fmla="*/ 2452592 h 2705233"/>
              <a:gd name="connsiteX1110" fmla="*/ 3064023 w 6886183"/>
              <a:gd name="connsiteY1110" fmla="*/ 2468022 h 2705233"/>
              <a:gd name="connsiteX1111" fmla="*/ 3008111 w 6886183"/>
              <a:gd name="connsiteY1111" fmla="*/ 2473737 h 2705233"/>
              <a:gd name="connsiteX1112" fmla="*/ 3040496 w 6886183"/>
              <a:gd name="connsiteY1112" fmla="*/ 2458116 h 2705233"/>
              <a:gd name="connsiteX1113" fmla="*/ 3074749 w 6886183"/>
              <a:gd name="connsiteY1113" fmla="*/ 2452104 h 2705233"/>
              <a:gd name="connsiteX1114" fmla="*/ 3708148 w 6886183"/>
              <a:gd name="connsiteY1114" fmla="*/ 2450783 h 2705233"/>
              <a:gd name="connsiteX1115" fmla="*/ 3694623 w 6886183"/>
              <a:gd name="connsiteY1115" fmla="*/ 2456307 h 2705233"/>
              <a:gd name="connsiteX1116" fmla="*/ 3680049 w 6886183"/>
              <a:gd name="connsiteY1116" fmla="*/ 2458403 h 2705233"/>
              <a:gd name="connsiteX1117" fmla="*/ 3693670 w 6886183"/>
              <a:gd name="connsiteY1117" fmla="*/ 2452878 h 2705233"/>
              <a:gd name="connsiteX1118" fmla="*/ 3708148 w 6886183"/>
              <a:gd name="connsiteY1118" fmla="*/ 2450783 h 2705233"/>
              <a:gd name="connsiteX1119" fmla="*/ 1846715 w 6886183"/>
              <a:gd name="connsiteY1119" fmla="*/ 2449735 h 2705233"/>
              <a:gd name="connsiteX1120" fmla="*/ 1881290 w 6886183"/>
              <a:gd name="connsiteY1120" fmla="*/ 2453449 h 2705233"/>
              <a:gd name="connsiteX1121" fmla="*/ 1861002 w 6886183"/>
              <a:gd name="connsiteY1121" fmla="*/ 2466975 h 2705233"/>
              <a:gd name="connsiteX1122" fmla="*/ 1817663 w 6886183"/>
              <a:gd name="connsiteY1122" fmla="*/ 2469547 h 2705233"/>
              <a:gd name="connsiteX1123" fmla="*/ 1782040 w 6886183"/>
              <a:gd name="connsiteY1123" fmla="*/ 2466022 h 2705233"/>
              <a:gd name="connsiteX1124" fmla="*/ 1802424 w 6886183"/>
              <a:gd name="connsiteY1124" fmla="*/ 2452116 h 2705233"/>
              <a:gd name="connsiteX1125" fmla="*/ 1846715 w 6886183"/>
              <a:gd name="connsiteY1125" fmla="*/ 2449735 h 2705233"/>
              <a:gd name="connsiteX1126" fmla="*/ 2326080 w 6886183"/>
              <a:gd name="connsiteY1126" fmla="*/ 2449592 h 2705233"/>
              <a:gd name="connsiteX1127" fmla="*/ 2358216 w 6886183"/>
              <a:gd name="connsiteY1127" fmla="*/ 2451640 h 2705233"/>
              <a:gd name="connsiteX1128" fmla="*/ 2358216 w 6886183"/>
              <a:gd name="connsiteY1128" fmla="*/ 2459450 h 2705233"/>
              <a:gd name="connsiteX1129" fmla="*/ 2328688 w 6886183"/>
              <a:gd name="connsiteY1129" fmla="*/ 2468213 h 2705233"/>
              <a:gd name="connsiteX1130" fmla="*/ 2252487 w 6886183"/>
              <a:gd name="connsiteY1130" fmla="*/ 2470785 h 2705233"/>
              <a:gd name="connsiteX1131" fmla="*/ 2251441 w 6886183"/>
              <a:gd name="connsiteY1131" fmla="*/ 2462975 h 2705233"/>
              <a:gd name="connsiteX1132" fmla="*/ 2281444 w 6886183"/>
              <a:gd name="connsiteY1132" fmla="*/ 2454117 h 2705233"/>
              <a:gd name="connsiteX1133" fmla="*/ 2326080 w 6886183"/>
              <a:gd name="connsiteY1133" fmla="*/ 2449592 h 2705233"/>
              <a:gd name="connsiteX1134" fmla="*/ 3331252 w 6886183"/>
              <a:gd name="connsiteY1134" fmla="*/ 2447818 h 2705233"/>
              <a:gd name="connsiteX1135" fmla="*/ 3346239 w 6886183"/>
              <a:gd name="connsiteY1135" fmla="*/ 2448020 h 2705233"/>
              <a:gd name="connsiteX1136" fmla="*/ 3317668 w 6886183"/>
              <a:gd name="connsiteY1136" fmla="*/ 2461260 h 2705233"/>
              <a:gd name="connsiteX1137" fmla="*/ 3275761 w 6886183"/>
              <a:gd name="connsiteY1137" fmla="*/ 2466213 h 2705233"/>
              <a:gd name="connsiteX1138" fmla="*/ 3304333 w 6886183"/>
              <a:gd name="connsiteY1138" fmla="*/ 2452973 h 2705233"/>
              <a:gd name="connsiteX1139" fmla="*/ 3331252 w 6886183"/>
              <a:gd name="connsiteY1139" fmla="*/ 2447818 h 2705233"/>
              <a:gd name="connsiteX1140" fmla="*/ 1312355 w 6886183"/>
              <a:gd name="connsiteY1140" fmla="*/ 2447258 h 2705233"/>
              <a:gd name="connsiteX1141" fmla="*/ 1352646 w 6886183"/>
              <a:gd name="connsiteY1141" fmla="*/ 2448496 h 2705233"/>
              <a:gd name="connsiteX1142" fmla="*/ 1386174 w 6886183"/>
              <a:gd name="connsiteY1142" fmla="*/ 2454021 h 2705233"/>
              <a:gd name="connsiteX1143" fmla="*/ 1371411 w 6886183"/>
              <a:gd name="connsiteY1143" fmla="*/ 2464117 h 2705233"/>
              <a:gd name="connsiteX1144" fmla="*/ 1351789 w 6886183"/>
              <a:gd name="connsiteY1144" fmla="*/ 2464117 h 2705233"/>
              <a:gd name="connsiteX1145" fmla="*/ 1331882 w 6886183"/>
              <a:gd name="connsiteY1145" fmla="*/ 2462879 h 2705233"/>
              <a:gd name="connsiteX1146" fmla="*/ 1313403 w 6886183"/>
              <a:gd name="connsiteY1146" fmla="*/ 2460498 h 2705233"/>
              <a:gd name="connsiteX1147" fmla="*/ 1297878 w 6886183"/>
              <a:gd name="connsiteY1147" fmla="*/ 2457069 h 2705233"/>
              <a:gd name="connsiteX1148" fmla="*/ 1312355 w 6886183"/>
              <a:gd name="connsiteY1148" fmla="*/ 2447258 h 2705233"/>
              <a:gd name="connsiteX1149" fmla="*/ 3633472 w 6886183"/>
              <a:gd name="connsiteY1149" fmla="*/ 2446686 h 2705233"/>
              <a:gd name="connsiteX1150" fmla="*/ 3614422 w 6886183"/>
              <a:gd name="connsiteY1150" fmla="*/ 2454497 h 2705233"/>
              <a:gd name="connsiteX1151" fmla="*/ 3592419 w 6886183"/>
              <a:gd name="connsiteY1151" fmla="*/ 2457449 h 2705233"/>
              <a:gd name="connsiteX1152" fmla="*/ 3610707 w 6886183"/>
              <a:gd name="connsiteY1152" fmla="*/ 2449734 h 2705233"/>
              <a:gd name="connsiteX1153" fmla="*/ 3633472 w 6886183"/>
              <a:gd name="connsiteY1153" fmla="*/ 2446686 h 2705233"/>
              <a:gd name="connsiteX1154" fmla="*/ 1097655 w 6886183"/>
              <a:gd name="connsiteY1154" fmla="*/ 2446019 h 2705233"/>
              <a:gd name="connsiteX1155" fmla="*/ 1116039 w 6886183"/>
              <a:gd name="connsiteY1155" fmla="*/ 2447067 h 2705233"/>
              <a:gd name="connsiteX1156" fmla="*/ 1134422 w 6886183"/>
              <a:gd name="connsiteY1156" fmla="*/ 2449067 h 2705233"/>
              <a:gd name="connsiteX1157" fmla="*/ 1151662 w 6886183"/>
              <a:gd name="connsiteY1157" fmla="*/ 2451925 h 2705233"/>
              <a:gd name="connsiteX1158" fmla="*/ 1166045 w 6886183"/>
              <a:gd name="connsiteY1158" fmla="*/ 2455354 h 2705233"/>
              <a:gd name="connsiteX1159" fmla="*/ 1154996 w 6886183"/>
              <a:gd name="connsiteY1159" fmla="*/ 2463450 h 2705233"/>
              <a:gd name="connsiteX1160" fmla="*/ 1118801 w 6886183"/>
              <a:gd name="connsiteY1160" fmla="*/ 2460688 h 2705233"/>
              <a:gd name="connsiteX1161" fmla="*/ 1086702 w 6886183"/>
              <a:gd name="connsiteY1161" fmla="*/ 2454020 h 2705233"/>
              <a:gd name="connsiteX1162" fmla="*/ 1097655 w 6886183"/>
              <a:gd name="connsiteY1162" fmla="*/ 2446019 h 2705233"/>
              <a:gd name="connsiteX1163" fmla="*/ 2910417 w 6886183"/>
              <a:gd name="connsiteY1163" fmla="*/ 2444746 h 2705233"/>
              <a:gd name="connsiteX1164" fmla="*/ 2934956 w 6886183"/>
              <a:gd name="connsiteY1164" fmla="*/ 2445734 h 2705233"/>
              <a:gd name="connsiteX1165" fmla="*/ 2902476 w 6886183"/>
              <a:gd name="connsiteY1165" fmla="*/ 2462308 h 2705233"/>
              <a:gd name="connsiteX1166" fmla="*/ 2838563 w 6886183"/>
              <a:gd name="connsiteY1166" fmla="*/ 2467832 h 2705233"/>
              <a:gd name="connsiteX1167" fmla="*/ 2870662 w 6886183"/>
              <a:gd name="connsiteY1167" fmla="*/ 2451259 h 2705233"/>
              <a:gd name="connsiteX1168" fmla="*/ 2910417 w 6886183"/>
              <a:gd name="connsiteY1168" fmla="*/ 2444746 h 2705233"/>
              <a:gd name="connsiteX1169" fmla="*/ 2531466 w 6886183"/>
              <a:gd name="connsiteY1169" fmla="*/ 2443508 h 2705233"/>
              <a:gd name="connsiteX1170" fmla="*/ 2563101 w 6886183"/>
              <a:gd name="connsiteY1170" fmla="*/ 2445068 h 2705233"/>
              <a:gd name="connsiteX1171" fmla="*/ 2531287 w 6886183"/>
              <a:gd name="connsiteY1171" fmla="*/ 2462308 h 2705233"/>
              <a:gd name="connsiteX1172" fmla="*/ 2457375 w 6886183"/>
              <a:gd name="connsiteY1172" fmla="*/ 2466308 h 2705233"/>
              <a:gd name="connsiteX1173" fmla="*/ 2486902 w 6886183"/>
              <a:gd name="connsiteY1173" fmla="*/ 2449163 h 2705233"/>
              <a:gd name="connsiteX1174" fmla="*/ 2531466 w 6886183"/>
              <a:gd name="connsiteY1174" fmla="*/ 2443508 h 2705233"/>
              <a:gd name="connsiteX1175" fmla="*/ 3547651 w 6886183"/>
              <a:gd name="connsiteY1175" fmla="*/ 2442877 h 2705233"/>
              <a:gd name="connsiteX1176" fmla="*/ 3523554 w 6886183"/>
              <a:gd name="connsiteY1176" fmla="*/ 2452973 h 2705233"/>
              <a:gd name="connsiteX1177" fmla="*/ 3494980 w 6886183"/>
              <a:gd name="connsiteY1177" fmla="*/ 2456497 h 2705233"/>
              <a:gd name="connsiteX1178" fmla="*/ 3519076 w 6886183"/>
              <a:gd name="connsiteY1178" fmla="*/ 2446496 h 2705233"/>
              <a:gd name="connsiteX1179" fmla="*/ 3547651 w 6886183"/>
              <a:gd name="connsiteY1179" fmla="*/ 2442877 h 2705233"/>
              <a:gd name="connsiteX1180" fmla="*/ 3782062 w 6886183"/>
              <a:gd name="connsiteY1180" fmla="*/ 2442495 h 2705233"/>
              <a:gd name="connsiteX1181" fmla="*/ 3771870 w 6886183"/>
              <a:gd name="connsiteY1181" fmla="*/ 2446401 h 2705233"/>
              <a:gd name="connsiteX1182" fmla="*/ 3761583 w 6886183"/>
              <a:gd name="connsiteY1182" fmla="*/ 2447925 h 2705233"/>
              <a:gd name="connsiteX1183" fmla="*/ 3772537 w 6886183"/>
              <a:gd name="connsiteY1183" fmla="*/ 2443638 h 2705233"/>
              <a:gd name="connsiteX1184" fmla="*/ 3782062 w 6886183"/>
              <a:gd name="connsiteY1184" fmla="*/ 2442495 h 2705233"/>
              <a:gd name="connsiteX1185" fmla="*/ 3205682 w 6886183"/>
              <a:gd name="connsiteY1185" fmla="*/ 2442270 h 2705233"/>
              <a:gd name="connsiteX1186" fmla="*/ 3224233 w 6886183"/>
              <a:gd name="connsiteY1186" fmla="*/ 2442686 h 2705233"/>
              <a:gd name="connsiteX1187" fmla="*/ 3190990 w 6886183"/>
              <a:gd name="connsiteY1187" fmla="*/ 2458117 h 2705233"/>
              <a:gd name="connsiteX1188" fmla="*/ 3140316 w 6886183"/>
              <a:gd name="connsiteY1188" fmla="*/ 2463165 h 2705233"/>
              <a:gd name="connsiteX1189" fmla="*/ 3173845 w 6886183"/>
              <a:gd name="connsiteY1189" fmla="*/ 2447925 h 2705233"/>
              <a:gd name="connsiteX1190" fmla="*/ 3205682 w 6886183"/>
              <a:gd name="connsiteY1190" fmla="*/ 2442270 h 2705233"/>
              <a:gd name="connsiteX1191" fmla="*/ 3435764 w 6886183"/>
              <a:gd name="connsiteY1191" fmla="*/ 2438376 h 2705233"/>
              <a:gd name="connsiteX1192" fmla="*/ 3449272 w 6886183"/>
              <a:gd name="connsiteY1192" fmla="*/ 2438590 h 2705233"/>
              <a:gd name="connsiteX1193" fmla="*/ 3420710 w 6886183"/>
              <a:gd name="connsiteY1193" fmla="*/ 2451353 h 2705233"/>
              <a:gd name="connsiteX1194" fmla="*/ 3383662 w 6886183"/>
              <a:gd name="connsiteY1194" fmla="*/ 2455544 h 2705233"/>
              <a:gd name="connsiteX1195" fmla="*/ 3411184 w 6886183"/>
              <a:gd name="connsiteY1195" fmla="*/ 2443162 h 2705233"/>
              <a:gd name="connsiteX1196" fmla="*/ 3435764 w 6886183"/>
              <a:gd name="connsiteY1196" fmla="*/ 2438376 h 2705233"/>
              <a:gd name="connsiteX1197" fmla="*/ 3714911 w 6886183"/>
              <a:gd name="connsiteY1197" fmla="*/ 2438114 h 2705233"/>
              <a:gd name="connsiteX1198" fmla="*/ 3698242 w 6886183"/>
              <a:gd name="connsiteY1198" fmla="*/ 2444876 h 2705233"/>
              <a:gd name="connsiteX1199" fmla="*/ 3680431 w 6886183"/>
              <a:gd name="connsiteY1199" fmla="*/ 2447258 h 2705233"/>
              <a:gd name="connsiteX1200" fmla="*/ 3697004 w 6886183"/>
              <a:gd name="connsiteY1200" fmla="*/ 2440400 h 2705233"/>
              <a:gd name="connsiteX1201" fmla="*/ 3714911 w 6886183"/>
              <a:gd name="connsiteY1201" fmla="*/ 2438114 h 2705233"/>
              <a:gd name="connsiteX1202" fmla="*/ 1511242 w 6886183"/>
              <a:gd name="connsiteY1202" fmla="*/ 2437161 h 2705233"/>
              <a:gd name="connsiteX1203" fmla="*/ 1554962 w 6886183"/>
              <a:gd name="connsiteY1203" fmla="*/ 2437161 h 2705233"/>
              <a:gd name="connsiteX1204" fmla="*/ 1590014 w 6886183"/>
              <a:gd name="connsiteY1204" fmla="*/ 2442114 h 2705233"/>
              <a:gd name="connsiteX1205" fmla="*/ 1568868 w 6886183"/>
              <a:gd name="connsiteY1205" fmla="*/ 2454306 h 2705233"/>
              <a:gd name="connsiteX1206" fmla="*/ 1490954 w 6886183"/>
              <a:gd name="connsiteY1206" fmla="*/ 2448877 h 2705233"/>
              <a:gd name="connsiteX1207" fmla="*/ 1511242 w 6886183"/>
              <a:gd name="connsiteY1207" fmla="*/ 2437161 h 2705233"/>
              <a:gd name="connsiteX1208" fmla="*/ 2713788 w 6886183"/>
              <a:gd name="connsiteY1208" fmla="*/ 2436400 h 2705233"/>
              <a:gd name="connsiteX1209" fmla="*/ 2742360 w 6886183"/>
              <a:gd name="connsiteY1209" fmla="*/ 2437733 h 2705233"/>
              <a:gd name="connsiteX1210" fmla="*/ 2709027 w 6886183"/>
              <a:gd name="connsiteY1210" fmla="*/ 2455450 h 2705233"/>
              <a:gd name="connsiteX1211" fmla="*/ 2666926 w 6886183"/>
              <a:gd name="connsiteY1211" fmla="*/ 2461546 h 2705233"/>
              <a:gd name="connsiteX1212" fmla="*/ 2638352 w 6886183"/>
              <a:gd name="connsiteY1212" fmla="*/ 2460308 h 2705233"/>
              <a:gd name="connsiteX1213" fmla="*/ 2670831 w 6886183"/>
              <a:gd name="connsiteY1213" fmla="*/ 2442591 h 2705233"/>
              <a:gd name="connsiteX1214" fmla="*/ 2713788 w 6886183"/>
              <a:gd name="connsiteY1214" fmla="*/ 2436400 h 2705233"/>
              <a:gd name="connsiteX1215" fmla="*/ 3055317 w 6886183"/>
              <a:gd name="connsiteY1215" fmla="*/ 2435697 h 2705233"/>
              <a:gd name="connsiteX1216" fmla="*/ 3076878 w 6886183"/>
              <a:gd name="connsiteY1216" fmla="*/ 2436875 h 2705233"/>
              <a:gd name="connsiteX1217" fmla="*/ 3041829 w 6886183"/>
              <a:gd name="connsiteY1217" fmla="*/ 2453639 h 2705233"/>
              <a:gd name="connsiteX1218" fmla="*/ 2983247 w 6886183"/>
              <a:gd name="connsiteY1218" fmla="*/ 2458878 h 2705233"/>
              <a:gd name="connsiteX1219" fmla="*/ 3018111 w 6886183"/>
              <a:gd name="connsiteY1219" fmla="*/ 2442019 h 2705233"/>
              <a:gd name="connsiteX1220" fmla="*/ 3055317 w 6886183"/>
              <a:gd name="connsiteY1220" fmla="*/ 2435697 h 2705233"/>
              <a:gd name="connsiteX1221" fmla="*/ 3634139 w 6886183"/>
              <a:gd name="connsiteY1221" fmla="*/ 2434590 h 2705233"/>
              <a:gd name="connsiteX1222" fmla="*/ 3612993 w 6886183"/>
              <a:gd name="connsiteY1222" fmla="*/ 2443353 h 2705233"/>
              <a:gd name="connsiteX1223" fmla="*/ 3588419 w 6886183"/>
              <a:gd name="connsiteY1223" fmla="*/ 2446401 h 2705233"/>
              <a:gd name="connsiteX1224" fmla="*/ 3609564 w 6886183"/>
              <a:gd name="connsiteY1224" fmla="*/ 2437638 h 2705233"/>
              <a:gd name="connsiteX1225" fmla="*/ 3634139 w 6886183"/>
              <a:gd name="connsiteY1225" fmla="*/ 2434590 h 2705233"/>
              <a:gd name="connsiteX1226" fmla="*/ 3321895 w 6886183"/>
              <a:gd name="connsiteY1226" fmla="*/ 2433209 h 2705233"/>
              <a:gd name="connsiteX1227" fmla="*/ 3339385 w 6886183"/>
              <a:gd name="connsiteY1227" fmla="*/ 2433447 h 2705233"/>
              <a:gd name="connsiteX1228" fmla="*/ 3306046 w 6886183"/>
              <a:gd name="connsiteY1228" fmla="*/ 2448306 h 2705233"/>
              <a:gd name="connsiteX1229" fmla="*/ 3260334 w 6886183"/>
              <a:gd name="connsiteY1229" fmla="*/ 2453164 h 2705233"/>
              <a:gd name="connsiteX1230" fmla="*/ 3291764 w 6886183"/>
              <a:gd name="connsiteY1230" fmla="*/ 2438686 h 2705233"/>
              <a:gd name="connsiteX1231" fmla="*/ 3321895 w 6886183"/>
              <a:gd name="connsiteY1231" fmla="*/ 2433209 h 2705233"/>
              <a:gd name="connsiteX1232" fmla="*/ 3788253 w 6886183"/>
              <a:gd name="connsiteY1232" fmla="*/ 2429828 h 2705233"/>
              <a:gd name="connsiteX1233" fmla="*/ 3775394 w 6886183"/>
              <a:gd name="connsiteY1233" fmla="*/ 2435257 h 2705233"/>
              <a:gd name="connsiteX1234" fmla="*/ 3760726 w 6886183"/>
              <a:gd name="connsiteY1234" fmla="*/ 2437448 h 2705233"/>
              <a:gd name="connsiteX1235" fmla="*/ 3773585 w 6886183"/>
              <a:gd name="connsiteY1235" fmla="*/ 2432018 h 2705233"/>
              <a:gd name="connsiteX1236" fmla="*/ 3788253 w 6886183"/>
              <a:gd name="connsiteY1236" fmla="*/ 2429828 h 2705233"/>
              <a:gd name="connsiteX1237" fmla="*/ 859714 w 6886183"/>
              <a:gd name="connsiteY1237" fmla="*/ 2429256 h 2705233"/>
              <a:gd name="connsiteX1238" fmla="*/ 875239 w 6886183"/>
              <a:gd name="connsiteY1238" fmla="*/ 2431256 h 2705233"/>
              <a:gd name="connsiteX1239" fmla="*/ 884098 w 6886183"/>
              <a:gd name="connsiteY1239" fmla="*/ 2432780 h 2705233"/>
              <a:gd name="connsiteX1240" fmla="*/ 893147 w 6886183"/>
              <a:gd name="connsiteY1240" fmla="*/ 2434399 h 2705233"/>
              <a:gd name="connsiteX1241" fmla="*/ 910958 w 6886183"/>
              <a:gd name="connsiteY1241" fmla="*/ 2438209 h 2705233"/>
              <a:gd name="connsiteX1242" fmla="*/ 925722 w 6886183"/>
              <a:gd name="connsiteY1242" fmla="*/ 2442114 h 2705233"/>
              <a:gd name="connsiteX1243" fmla="*/ 921626 w 6886183"/>
              <a:gd name="connsiteY1243" fmla="*/ 2449734 h 2705233"/>
              <a:gd name="connsiteX1244" fmla="*/ 888194 w 6886183"/>
              <a:gd name="connsiteY1244" fmla="*/ 2444686 h 2705233"/>
              <a:gd name="connsiteX1245" fmla="*/ 870668 w 6886183"/>
              <a:gd name="connsiteY1245" fmla="*/ 2440686 h 2705233"/>
              <a:gd name="connsiteX1246" fmla="*/ 856094 w 6886183"/>
              <a:gd name="connsiteY1246" fmla="*/ 2436495 h 2705233"/>
              <a:gd name="connsiteX1247" fmla="*/ 859714 w 6886183"/>
              <a:gd name="connsiteY1247" fmla="*/ 2429256 h 2705233"/>
              <a:gd name="connsiteX1248" fmla="*/ 3536320 w 6886183"/>
              <a:gd name="connsiteY1248" fmla="*/ 2428672 h 2705233"/>
              <a:gd name="connsiteX1249" fmla="*/ 3547368 w 6886183"/>
              <a:gd name="connsiteY1249" fmla="*/ 2428875 h 2705233"/>
              <a:gd name="connsiteX1250" fmla="*/ 3521746 w 6886183"/>
              <a:gd name="connsiteY1250" fmla="*/ 2440210 h 2705233"/>
              <a:gd name="connsiteX1251" fmla="*/ 3487839 w 6886183"/>
              <a:gd name="connsiteY1251" fmla="*/ 2444401 h 2705233"/>
              <a:gd name="connsiteX1252" fmla="*/ 3514415 w 6886183"/>
              <a:gd name="connsiteY1252" fmla="*/ 2432971 h 2705233"/>
              <a:gd name="connsiteX1253" fmla="*/ 3536320 w 6886183"/>
              <a:gd name="connsiteY1253" fmla="*/ 2428672 h 2705233"/>
              <a:gd name="connsiteX1254" fmla="*/ 2883770 w 6886183"/>
              <a:gd name="connsiteY1254" fmla="*/ 2426541 h 2705233"/>
              <a:gd name="connsiteX1255" fmla="*/ 2909622 w 6886183"/>
              <a:gd name="connsiteY1255" fmla="*/ 2428113 h 2705233"/>
              <a:gd name="connsiteX1256" fmla="*/ 2872377 w 6886183"/>
              <a:gd name="connsiteY1256" fmla="*/ 2446401 h 2705233"/>
              <a:gd name="connsiteX1257" fmla="*/ 2830562 w 6886183"/>
              <a:gd name="connsiteY1257" fmla="*/ 2452687 h 2705233"/>
              <a:gd name="connsiteX1258" fmla="*/ 2804177 w 6886183"/>
              <a:gd name="connsiteY1258" fmla="*/ 2451354 h 2705233"/>
              <a:gd name="connsiteX1259" fmla="*/ 2841133 w 6886183"/>
              <a:gd name="connsiteY1259" fmla="*/ 2432971 h 2705233"/>
              <a:gd name="connsiteX1260" fmla="*/ 2883770 w 6886183"/>
              <a:gd name="connsiteY1260" fmla="*/ 2426541 h 2705233"/>
              <a:gd name="connsiteX1261" fmla="*/ 2263155 w 6886183"/>
              <a:gd name="connsiteY1261" fmla="*/ 2426303 h 2705233"/>
              <a:gd name="connsiteX1262" fmla="*/ 2297731 w 6886183"/>
              <a:gd name="connsiteY1262" fmla="*/ 2428875 h 2705233"/>
              <a:gd name="connsiteX1263" fmla="*/ 2270299 w 6886183"/>
              <a:gd name="connsiteY1263" fmla="*/ 2445829 h 2705233"/>
              <a:gd name="connsiteX1264" fmla="*/ 2247916 w 6886183"/>
              <a:gd name="connsiteY1264" fmla="*/ 2448973 h 2705233"/>
              <a:gd name="connsiteX1265" fmla="*/ 2224579 w 6886183"/>
              <a:gd name="connsiteY1265" fmla="*/ 2450497 h 2705233"/>
              <a:gd name="connsiteX1266" fmla="*/ 2203815 w 6886183"/>
              <a:gd name="connsiteY1266" fmla="*/ 2450497 h 2705233"/>
              <a:gd name="connsiteX1267" fmla="*/ 2188667 w 6886183"/>
              <a:gd name="connsiteY1267" fmla="*/ 2448687 h 2705233"/>
              <a:gd name="connsiteX1268" fmla="*/ 2185714 w 6886183"/>
              <a:gd name="connsiteY1268" fmla="*/ 2440305 h 2705233"/>
              <a:gd name="connsiteX1269" fmla="*/ 2216197 w 6886183"/>
              <a:gd name="connsiteY1269" fmla="*/ 2430780 h 2705233"/>
              <a:gd name="connsiteX1270" fmla="*/ 2263155 w 6886183"/>
              <a:gd name="connsiteY1270" fmla="*/ 2426303 h 2705233"/>
              <a:gd name="connsiteX1271" fmla="*/ 2022074 w 6886183"/>
              <a:gd name="connsiteY1271" fmla="*/ 2426018 h 2705233"/>
              <a:gd name="connsiteX1272" fmla="*/ 2058840 w 6886183"/>
              <a:gd name="connsiteY1272" fmla="*/ 2429066 h 2705233"/>
              <a:gd name="connsiteX1273" fmla="*/ 2036266 w 6886183"/>
              <a:gd name="connsiteY1273" fmla="*/ 2445068 h 2705233"/>
              <a:gd name="connsiteX1274" fmla="*/ 2014072 w 6886183"/>
              <a:gd name="connsiteY1274" fmla="*/ 2447639 h 2705233"/>
              <a:gd name="connsiteX1275" fmla="*/ 1990928 w 6886183"/>
              <a:gd name="connsiteY1275" fmla="*/ 2448592 h 2705233"/>
              <a:gd name="connsiteX1276" fmla="*/ 1953875 w 6886183"/>
              <a:gd name="connsiteY1276" fmla="*/ 2445639 h 2705233"/>
              <a:gd name="connsiteX1277" fmla="*/ 1975783 w 6886183"/>
              <a:gd name="connsiteY1277" fmla="*/ 2429542 h 2705233"/>
              <a:gd name="connsiteX1278" fmla="*/ 2022074 w 6886183"/>
              <a:gd name="connsiteY1278" fmla="*/ 2426018 h 2705233"/>
              <a:gd name="connsiteX1279" fmla="*/ 3191229 w 6886183"/>
              <a:gd name="connsiteY1279" fmla="*/ 2425804 h 2705233"/>
              <a:gd name="connsiteX1280" fmla="*/ 3210613 w 6886183"/>
              <a:gd name="connsiteY1280" fmla="*/ 2426780 h 2705233"/>
              <a:gd name="connsiteX1281" fmla="*/ 3175655 w 6886183"/>
              <a:gd name="connsiteY1281" fmla="*/ 2443258 h 2705233"/>
              <a:gd name="connsiteX1282" fmla="*/ 3121267 w 6886183"/>
              <a:gd name="connsiteY1282" fmla="*/ 2448592 h 2705233"/>
              <a:gd name="connsiteX1283" fmla="*/ 3156128 w 6886183"/>
              <a:gd name="connsiteY1283" fmla="*/ 2432114 h 2705233"/>
              <a:gd name="connsiteX1284" fmla="*/ 3191229 w 6886183"/>
              <a:gd name="connsiteY1284" fmla="*/ 2425804 h 2705233"/>
              <a:gd name="connsiteX1285" fmla="*/ 3718435 w 6886183"/>
              <a:gd name="connsiteY1285" fmla="*/ 2424874 h 2705233"/>
              <a:gd name="connsiteX1286" fmla="*/ 3699385 w 6886183"/>
              <a:gd name="connsiteY1286" fmla="*/ 2433066 h 2705233"/>
              <a:gd name="connsiteX1287" fmla="*/ 3677859 w 6886183"/>
              <a:gd name="connsiteY1287" fmla="*/ 2436018 h 2705233"/>
              <a:gd name="connsiteX1288" fmla="*/ 3696242 w 6886183"/>
              <a:gd name="connsiteY1288" fmla="*/ 2428113 h 2705233"/>
              <a:gd name="connsiteX1289" fmla="*/ 3718435 w 6886183"/>
              <a:gd name="connsiteY1289" fmla="*/ 2424874 h 2705233"/>
              <a:gd name="connsiteX1290" fmla="*/ 3434883 w 6886183"/>
              <a:gd name="connsiteY1290" fmla="*/ 2422648 h 2705233"/>
              <a:gd name="connsiteX1291" fmla="*/ 3447655 w 6886183"/>
              <a:gd name="connsiteY1291" fmla="*/ 2423541 h 2705233"/>
              <a:gd name="connsiteX1292" fmla="*/ 3416425 w 6886183"/>
              <a:gd name="connsiteY1292" fmla="*/ 2437162 h 2705233"/>
              <a:gd name="connsiteX1293" fmla="*/ 3375857 w 6886183"/>
              <a:gd name="connsiteY1293" fmla="*/ 2441829 h 2705233"/>
              <a:gd name="connsiteX1294" fmla="*/ 3407757 w 6886183"/>
              <a:gd name="connsiteY1294" fmla="*/ 2427827 h 2705233"/>
              <a:gd name="connsiteX1295" fmla="*/ 3434883 w 6886183"/>
              <a:gd name="connsiteY1295" fmla="*/ 2422648 h 2705233"/>
              <a:gd name="connsiteX1296" fmla="*/ 2482555 w 6886183"/>
              <a:gd name="connsiteY1296" fmla="*/ 2422112 h 2705233"/>
              <a:gd name="connsiteX1297" fmla="*/ 2515285 w 6886183"/>
              <a:gd name="connsiteY1297" fmla="*/ 2424398 h 2705233"/>
              <a:gd name="connsiteX1298" fmla="*/ 2481376 w 6886183"/>
              <a:gd name="connsiteY1298" fmla="*/ 2442686 h 2705233"/>
              <a:gd name="connsiteX1299" fmla="*/ 2436324 w 6886183"/>
              <a:gd name="connsiteY1299" fmla="*/ 2447925 h 2705233"/>
              <a:gd name="connsiteX1300" fmla="*/ 2404129 w 6886183"/>
              <a:gd name="connsiteY1300" fmla="*/ 2445829 h 2705233"/>
              <a:gd name="connsiteX1301" fmla="*/ 2435753 w 6886183"/>
              <a:gd name="connsiteY1301" fmla="*/ 2427541 h 2705233"/>
              <a:gd name="connsiteX1302" fmla="*/ 2482555 w 6886183"/>
              <a:gd name="connsiteY1302" fmla="*/ 2422112 h 2705233"/>
              <a:gd name="connsiteX1303" fmla="*/ 3859882 w 6886183"/>
              <a:gd name="connsiteY1303" fmla="*/ 2421731 h 2705233"/>
              <a:gd name="connsiteX1304" fmla="*/ 3851024 w 6886183"/>
              <a:gd name="connsiteY1304" fmla="*/ 2425541 h 2705233"/>
              <a:gd name="connsiteX1305" fmla="*/ 3840070 w 6886183"/>
              <a:gd name="connsiteY1305" fmla="*/ 2427256 h 2705233"/>
              <a:gd name="connsiteX1306" fmla="*/ 3849595 w 6886183"/>
              <a:gd name="connsiteY1306" fmla="*/ 2423351 h 2705233"/>
              <a:gd name="connsiteX1307" fmla="*/ 3859882 w 6886183"/>
              <a:gd name="connsiteY1307" fmla="*/ 2421731 h 2705233"/>
              <a:gd name="connsiteX1308" fmla="*/ 3638997 w 6886183"/>
              <a:gd name="connsiteY1308" fmla="*/ 2420302 h 2705233"/>
              <a:gd name="connsiteX1309" fmla="*/ 3614613 w 6886183"/>
              <a:gd name="connsiteY1309" fmla="*/ 2430494 h 2705233"/>
              <a:gd name="connsiteX1310" fmla="*/ 3586704 w 6886183"/>
              <a:gd name="connsiteY1310" fmla="*/ 2434018 h 2705233"/>
              <a:gd name="connsiteX1311" fmla="*/ 3611088 w 6886183"/>
              <a:gd name="connsiteY1311" fmla="*/ 2423731 h 2705233"/>
              <a:gd name="connsiteX1312" fmla="*/ 3638997 w 6886183"/>
              <a:gd name="connsiteY1312" fmla="*/ 2420302 h 2705233"/>
              <a:gd name="connsiteX1313" fmla="*/ 1750229 w 6886183"/>
              <a:gd name="connsiteY1313" fmla="*/ 2420017 h 2705233"/>
              <a:gd name="connsiteX1314" fmla="*/ 1787470 w 6886183"/>
              <a:gd name="connsiteY1314" fmla="*/ 2424112 h 2705233"/>
              <a:gd name="connsiteX1315" fmla="*/ 1766421 w 6886183"/>
              <a:gd name="connsiteY1315" fmla="*/ 2439067 h 2705233"/>
              <a:gd name="connsiteX1316" fmla="*/ 1721463 w 6886183"/>
              <a:gd name="connsiteY1316" fmla="*/ 2440591 h 2705233"/>
              <a:gd name="connsiteX1317" fmla="*/ 1684601 w 6886183"/>
              <a:gd name="connsiteY1317" fmla="*/ 2436209 h 2705233"/>
              <a:gd name="connsiteX1318" fmla="*/ 1704509 w 6886183"/>
              <a:gd name="connsiteY1318" fmla="*/ 2421636 h 2705233"/>
              <a:gd name="connsiteX1319" fmla="*/ 1750229 w 6886183"/>
              <a:gd name="connsiteY1319" fmla="*/ 2420017 h 2705233"/>
              <a:gd name="connsiteX1320" fmla="*/ 3038278 w 6886183"/>
              <a:gd name="connsiteY1320" fmla="*/ 2417076 h 2705233"/>
              <a:gd name="connsiteX1321" fmla="*/ 3062591 w 6886183"/>
              <a:gd name="connsiteY1321" fmla="*/ 2418493 h 2705233"/>
              <a:gd name="connsiteX1322" fmla="*/ 3023637 w 6886183"/>
              <a:gd name="connsiteY1322" fmla="*/ 2436971 h 2705233"/>
              <a:gd name="connsiteX1323" fmla="*/ 2984486 w 6886183"/>
              <a:gd name="connsiteY1323" fmla="*/ 2443258 h 2705233"/>
              <a:gd name="connsiteX1324" fmla="*/ 2960198 w 6886183"/>
              <a:gd name="connsiteY1324" fmla="*/ 2442210 h 2705233"/>
              <a:gd name="connsiteX1325" fmla="*/ 2997536 w 6886183"/>
              <a:gd name="connsiteY1325" fmla="*/ 2423731 h 2705233"/>
              <a:gd name="connsiteX1326" fmla="*/ 3038278 w 6886183"/>
              <a:gd name="connsiteY1326" fmla="*/ 2417076 h 2705233"/>
              <a:gd name="connsiteX1327" fmla="*/ 3797111 w 6886183"/>
              <a:gd name="connsiteY1327" fmla="*/ 2416969 h 2705233"/>
              <a:gd name="connsiteX1328" fmla="*/ 3780157 w 6886183"/>
              <a:gd name="connsiteY1328" fmla="*/ 2423446 h 2705233"/>
              <a:gd name="connsiteX1329" fmla="*/ 3763012 w 6886183"/>
              <a:gd name="connsiteY1329" fmla="*/ 2425732 h 2705233"/>
              <a:gd name="connsiteX1330" fmla="*/ 3779300 w 6886183"/>
              <a:gd name="connsiteY1330" fmla="*/ 2419350 h 2705233"/>
              <a:gd name="connsiteX1331" fmla="*/ 3797111 w 6886183"/>
              <a:gd name="connsiteY1331" fmla="*/ 2416969 h 2705233"/>
              <a:gd name="connsiteX1332" fmla="*/ 3316406 w 6886183"/>
              <a:gd name="connsiteY1332" fmla="*/ 2415575 h 2705233"/>
              <a:gd name="connsiteX1333" fmla="*/ 3333195 w 6886183"/>
              <a:gd name="connsiteY1333" fmla="*/ 2416587 h 2705233"/>
              <a:gd name="connsiteX1334" fmla="*/ 3296810 w 6886183"/>
              <a:gd name="connsiteY1334" fmla="*/ 2432875 h 2705233"/>
              <a:gd name="connsiteX1335" fmla="*/ 3248234 w 6886183"/>
              <a:gd name="connsiteY1335" fmla="*/ 2437637 h 2705233"/>
              <a:gd name="connsiteX1336" fmla="*/ 3284617 w 6886183"/>
              <a:gd name="connsiteY1336" fmla="*/ 2421350 h 2705233"/>
              <a:gd name="connsiteX1337" fmla="*/ 3316406 w 6886183"/>
              <a:gd name="connsiteY1337" fmla="*/ 2415575 h 2705233"/>
              <a:gd name="connsiteX1338" fmla="*/ 2677308 w 6886183"/>
              <a:gd name="connsiteY1338" fmla="*/ 2414397 h 2705233"/>
              <a:gd name="connsiteX1339" fmla="*/ 2707215 w 6886183"/>
              <a:gd name="connsiteY1339" fmla="*/ 2416302 h 2705233"/>
              <a:gd name="connsiteX1340" fmla="*/ 2705311 w 6886183"/>
              <a:gd name="connsiteY1340" fmla="*/ 2424970 h 2705233"/>
              <a:gd name="connsiteX1341" fmla="*/ 2671117 w 6886183"/>
              <a:gd name="connsiteY1341" fmla="*/ 2435543 h 2705233"/>
              <a:gd name="connsiteX1342" fmla="*/ 2597392 w 6886183"/>
              <a:gd name="connsiteY1342" fmla="*/ 2439543 h 2705233"/>
              <a:gd name="connsiteX1343" fmla="*/ 2598536 w 6886183"/>
              <a:gd name="connsiteY1343" fmla="*/ 2430971 h 2705233"/>
              <a:gd name="connsiteX1344" fmla="*/ 2632255 w 6886183"/>
              <a:gd name="connsiteY1344" fmla="*/ 2420588 h 2705233"/>
              <a:gd name="connsiteX1345" fmla="*/ 2655590 w 6886183"/>
              <a:gd name="connsiteY1345" fmla="*/ 2416588 h 2705233"/>
              <a:gd name="connsiteX1346" fmla="*/ 2677308 w 6886183"/>
              <a:gd name="connsiteY1346" fmla="*/ 2414397 h 2705233"/>
              <a:gd name="connsiteX1347" fmla="*/ 3538295 w 6886183"/>
              <a:gd name="connsiteY1347" fmla="*/ 2413480 h 2705233"/>
              <a:gd name="connsiteX1348" fmla="*/ 3549940 w 6886183"/>
              <a:gd name="connsiteY1348" fmla="*/ 2414016 h 2705233"/>
              <a:gd name="connsiteX1349" fmla="*/ 3518794 w 6886183"/>
              <a:gd name="connsiteY1349" fmla="*/ 2427255 h 2705233"/>
              <a:gd name="connsiteX1350" fmla="*/ 3483173 w 6886183"/>
              <a:gd name="connsiteY1350" fmla="*/ 2431256 h 2705233"/>
              <a:gd name="connsiteX1351" fmla="*/ 3514222 w 6886183"/>
              <a:gd name="connsiteY1351" fmla="*/ 2418016 h 2705233"/>
              <a:gd name="connsiteX1352" fmla="*/ 3538295 w 6886183"/>
              <a:gd name="connsiteY1352" fmla="*/ 2413480 h 2705233"/>
              <a:gd name="connsiteX1353" fmla="*/ 3725293 w 6886183"/>
              <a:gd name="connsiteY1353" fmla="*/ 2410968 h 2705233"/>
              <a:gd name="connsiteX1354" fmla="*/ 3702623 w 6886183"/>
              <a:gd name="connsiteY1354" fmla="*/ 2420493 h 2705233"/>
              <a:gd name="connsiteX1355" fmla="*/ 3678525 w 6886183"/>
              <a:gd name="connsiteY1355" fmla="*/ 2423636 h 2705233"/>
              <a:gd name="connsiteX1356" fmla="*/ 3700337 w 6886183"/>
              <a:gd name="connsiteY1356" fmla="*/ 2414206 h 2705233"/>
              <a:gd name="connsiteX1357" fmla="*/ 3725293 w 6886183"/>
              <a:gd name="connsiteY1357" fmla="*/ 2410968 h 2705233"/>
              <a:gd name="connsiteX1358" fmla="*/ 3870549 w 6886183"/>
              <a:gd name="connsiteY1358" fmla="*/ 2408681 h 2705233"/>
              <a:gd name="connsiteX1359" fmla="*/ 3856261 w 6886183"/>
              <a:gd name="connsiteY1359" fmla="*/ 2414206 h 2705233"/>
              <a:gd name="connsiteX1360" fmla="*/ 3843879 w 6886183"/>
              <a:gd name="connsiteY1360" fmla="*/ 2415825 h 2705233"/>
              <a:gd name="connsiteX1361" fmla="*/ 3857500 w 6886183"/>
              <a:gd name="connsiteY1361" fmla="*/ 2410301 h 2705233"/>
              <a:gd name="connsiteX1362" fmla="*/ 3870549 w 6886183"/>
              <a:gd name="connsiteY1362" fmla="*/ 2408681 h 2705233"/>
              <a:gd name="connsiteX1363" fmla="*/ 3176919 w 6886183"/>
              <a:gd name="connsiteY1363" fmla="*/ 2408551 h 2705233"/>
              <a:gd name="connsiteX1364" fmla="*/ 3197658 w 6886183"/>
              <a:gd name="connsiteY1364" fmla="*/ 2410016 h 2705233"/>
              <a:gd name="connsiteX1365" fmla="*/ 3157747 w 6886183"/>
              <a:gd name="connsiteY1365" fmla="*/ 2428208 h 2705233"/>
              <a:gd name="connsiteX1366" fmla="*/ 3098788 w 6886183"/>
              <a:gd name="connsiteY1366" fmla="*/ 2433161 h 2705233"/>
              <a:gd name="connsiteX1367" fmla="*/ 3138602 w 6886183"/>
              <a:gd name="connsiteY1367" fmla="*/ 2414873 h 2705233"/>
              <a:gd name="connsiteX1368" fmla="*/ 3176919 w 6886183"/>
              <a:gd name="connsiteY1368" fmla="*/ 2408551 h 2705233"/>
              <a:gd name="connsiteX1369" fmla="*/ 3428597 w 6886183"/>
              <a:gd name="connsiteY1369" fmla="*/ 2407062 h 2705233"/>
              <a:gd name="connsiteX1370" fmla="*/ 3443559 w 6886183"/>
              <a:gd name="connsiteY1370" fmla="*/ 2407920 h 2705233"/>
              <a:gd name="connsiteX1371" fmla="*/ 3407946 w 6886183"/>
              <a:gd name="connsiteY1371" fmla="*/ 2423636 h 2705233"/>
              <a:gd name="connsiteX1372" fmla="*/ 3363477 w 6886183"/>
              <a:gd name="connsiteY1372" fmla="*/ 2428303 h 2705233"/>
              <a:gd name="connsiteX1373" fmla="*/ 3398993 w 6886183"/>
              <a:gd name="connsiteY1373" fmla="*/ 2412492 h 2705233"/>
              <a:gd name="connsiteX1374" fmla="*/ 3428597 w 6886183"/>
              <a:gd name="connsiteY1374" fmla="*/ 2407062 h 2705233"/>
              <a:gd name="connsiteX1375" fmla="*/ 2857291 w 6886183"/>
              <a:gd name="connsiteY1375" fmla="*/ 2405575 h 2705233"/>
              <a:gd name="connsiteX1376" fmla="*/ 2885142 w 6886183"/>
              <a:gd name="connsiteY1376" fmla="*/ 2407254 h 2705233"/>
              <a:gd name="connsiteX1377" fmla="*/ 2846660 w 6886183"/>
              <a:gd name="connsiteY1377" fmla="*/ 2427446 h 2705233"/>
              <a:gd name="connsiteX1378" fmla="*/ 2803226 w 6886183"/>
              <a:gd name="connsiteY1378" fmla="*/ 2433923 h 2705233"/>
              <a:gd name="connsiteX1379" fmla="*/ 2774079 w 6886183"/>
              <a:gd name="connsiteY1379" fmla="*/ 2432590 h 2705233"/>
              <a:gd name="connsiteX1380" fmla="*/ 2778081 w 6886183"/>
              <a:gd name="connsiteY1380" fmla="*/ 2423065 h 2705233"/>
              <a:gd name="connsiteX1381" fmla="*/ 2812941 w 6886183"/>
              <a:gd name="connsiteY1381" fmla="*/ 2411825 h 2705233"/>
              <a:gd name="connsiteX1382" fmla="*/ 2857291 w 6886183"/>
              <a:gd name="connsiteY1382" fmla="*/ 2405575 h 2705233"/>
              <a:gd name="connsiteX1383" fmla="*/ 3630913 w 6886183"/>
              <a:gd name="connsiteY1383" fmla="*/ 2405479 h 2705233"/>
              <a:gd name="connsiteX1384" fmla="*/ 3640616 w 6886183"/>
              <a:gd name="connsiteY1384" fmla="*/ 2406205 h 2705233"/>
              <a:gd name="connsiteX1385" fmla="*/ 3612708 w 6886183"/>
              <a:gd name="connsiteY1385" fmla="*/ 2417921 h 2705233"/>
              <a:gd name="connsiteX1386" fmla="*/ 3581085 w 6886183"/>
              <a:gd name="connsiteY1386" fmla="*/ 2421540 h 2705233"/>
              <a:gd name="connsiteX1387" fmla="*/ 3608993 w 6886183"/>
              <a:gd name="connsiteY1387" fmla="*/ 2409825 h 2705233"/>
              <a:gd name="connsiteX1388" fmla="*/ 3630913 w 6886183"/>
              <a:gd name="connsiteY1388" fmla="*/ 2405479 h 2705233"/>
              <a:gd name="connsiteX1389" fmla="*/ 3802731 w 6886183"/>
              <a:gd name="connsiteY1389" fmla="*/ 2403443 h 2705233"/>
              <a:gd name="connsiteX1390" fmla="*/ 3783205 w 6886183"/>
              <a:gd name="connsiteY1390" fmla="*/ 2411539 h 2705233"/>
              <a:gd name="connsiteX1391" fmla="*/ 3762822 w 6886183"/>
              <a:gd name="connsiteY1391" fmla="*/ 2414206 h 2705233"/>
              <a:gd name="connsiteX1392" fmla="*/ 3782443 w 6886183"/>
              <a:gd name="connsiteY1392" fmla="*/ 2406110 h 2705233"/>
              <a:gd name="connsiteX1393" fmla="*/ 3802731 w 6886183"/>
              <a:gd name="connsiteY1393" fmla="*/ 2403443 h 2705233"/>
              <a:gd name="connsiteX1394" fmla="*/ 1173575 w 6886183"/>
              <a:gd name="connsiteY1394" fmla="*/ 2403062 h 2705233"/>
              <a:gd name="connsiteX1395" fmla="*/ 1194910 w 6886183"/>
              <a:gd name="connsiteY1395" fmla="*/ 2403729 h 2705233"/>
              <a:gd name="connsiteX1396" fmla="*/ 1217104 w 6886183"/>
              <a:gd name="connsiteY1396" fmla="*/ 2405634 h 2705233"/>
              <a:gd name="connsiteX1397" fmla="*/ 1227962 w 6886183"/>
              <a:gd name="connsiteY1397" fmla="*/ 2407158 h 2705233"/>
              <a:gd name="connsiteX1398" fmla="*/ 1233105 w 6886183"/>
              <a:gd name="connsiteY1398" fmla="*/ 2408015 h 2705233"/>
              <a:gd name="connsiteX1399" fmla="*/ 1238059 w 6886183"/>
              <a:gd name="connsiteY1399" fmla="*/ 2408872 h 2705233"/>
              <a:gd name="connsiteX1400" fmla="*/ 1255108 w 6886183"/>
              <a:gd name="connsiteY1400" fmla="*/ 2412873 h 2705233"/>
              <a:gd name="connsiteX1401" fmla="*/ 1242916 w 6886183"/>
              <a:gd name="connsiteY1401" fmla="*/ 2423350 h 2705233"/>
              <a:gd name="connsiteX1402" fmla="*/ 1233391 w 6886183"/>
              <a:gd name="connsiteY1402" fmla="*/ 2423350 h 2705233"/>
              <a:gd name="connsiteX1403" fmla="*/ 1223104 w 6886183"/>
              <a:gd name="connsiteY1403" fmla="*/ 2423350 h 2705233"/>
              <a:gd name="connsiteX1404" fmla="*/ 1202149 w 6886183"/>
              <a:gd name="connsiteY1404" fmla="*/ 2421445 h 2705233"/>
              <a:gd name="connsiteX1405" fmla="*/ 1182053 w 6886183"/>
              <a:gd name="connsiteY1405" fmla="*/ 2418397 h 2705233"/>
              <a:gd name="connsiteX1406" fmla="*/ 1165003 w 6886183"/>
              <a:gd name="connsiteY1406" fmla="*/ 2413921 h 2705233"/>
              <a:gd name="connsiteX1407" fmla="*/ 1152525 w 6886183"/>
              <a:gd name="connsiteY1407" fmla="*/ 2406396 h 2705233"/>
              <a:gd name="connsiteX1408" fmla="*/ 1173575 w 6886183"/>
              <a:gd name="connsiteY1408" fmla="*/ 2403062 h 2705233"/>
              <a:gd name="connsiteX1409" fmla="*/ 3936462 w 6886183"/>
              <a:gd name="connsiteY1409" fmla="*/ 2401538 h 2705233"/>
              <a:gd name="connsiteX1410" fmla="*/ 3927985 w 6886183"/>
              <a:gd name="connsiteY1410" fmla="*/ 2404967 h 2705233"/>
              <a:gd name="connsiteX1411" fmla="*/ 3918460 w 6886183"/>
              <a:gd name="connsiteY1411" fmla="*/ 2406396 h 2705233"/>
              <a:gd name="connsiteX1412" fmla="*/ 3926937 w 6886183"/>
              <a:gd name="connsiteY1412" fmla="*/ 2402872 h 2705233"/>
              <a:gd name="connsiteX1413" fmla="*/ 3936462 w 6886183"/>
              <a:gd name="connsiteY1413" fmla="*/ 2401538 h 2705233"/>
              <a:gd name="connsiteX1414" fmla="*/ 2200097 w 6886183"/>
              <a:gd name="connsiteY1414" fmla="*/ 2400110 h 2705233"/>
              <a:gd name="connsiteX1415" fmla="*/ 2237152 w 6886183"/>
              <a:gd name="connsiteY1415" fmla="*/ 2403253 h 2705233"/>
              <a:gd name="connsiteX1416" fmla="*/ 2209053 w 6886183"/>
              <a:gd name="connsiteY1416" fmla="*/ 2421255 h 2705233"/>
              <a:gd name="connsiteX1417" fmla="*/ 2160568 w 6886183"/>
              <a:gd name="connsiteY1417" fmla="*/ 2425637 h 2705233"/>
              <a:gd name="connsiteX1418" fmla="*/ 2123135 w 6886183"/>
              <a:gd name="connsiteY1418" fmla="*/ 2422588 h 2705233"/>
              <a:gd name="connsiteX1419" fmla="*/ 2150567 w 6886183"/>
              <a:gd name="connsiteY1419" fmla="*/ 2404491 h 2705233"/>
              <a:gd name="connsiteX1420" fmla="*/ 2200097 w 6886183"/>
              <a:gd name="connsiteY1420" fmla="*/ 2400110 h 2705233"/>
              <a:gd name="connsiteX1421" fmla="*/ 3304597 w 6886183"/>
              <a:gd name="connsiteY1421" fmla="*/ 2398704 h 2705233"/>
              <a:gd name="connsiteX1422" fmla="*/ 3324431 w 6886183"/>
              <a:gd name="connsiteY1422" fmla="*/ 2399537 h 2705233"/>
              <a:gd name="connsiteX1423" fmla="*/ 3287761 w 6886183"/>
              <a:gd name="connsiteY1423" fmla="*/ 2417159 h 2705233"/>
              <a:gd name="connsiteX1424" fmla="*/ 3231567 w 6886183"/>
              <a:gd name="connsiteY1424" fmla="*/ 2423255 h 2705233"/>
              <a:gd name="connsiteX1425" fmla="*/ 3268905 w 6886183"/>
              <a:gd name="connsiteY1425" fmla="*/ 2405157 h 2705233"/>
              <a:gd name="connsiteX1426" fmla="*/ 3304597 w 6886183"/>
              <a:gd name="connsiteY1426" fmla="*/ 2398704 h 2705233"/>
              <a:gd name="connsiteX1427" fmla="*/ 1390559 w 6886183"/>
              <a:gd name="connsiteY1427" fmla="*/ 2398585 h 2705233"/>
              <a:gd name="connsiteX1428" fmla="*/ 1413038 w 6886183"/>
              <a:gd name="connsiteY1428" fmla="*/ 2398585 h 2705233"/>
              <a:gd name="connsiteX1429" fmla="*/ 1436660 w 6886183"/>
              <a:gd name="connsiteY1429" fmla="*/ 2400014 h 2705233"/>
              <a:gd name="connsiteX1430" fmla="*/ 1474188 w 6886183"/>
              <a:gd name="connsiteY1430" fmla="*/ 2406014 h 2705233"/>
              <a:gd name="connsiteX1431" fmla="*/ 1480474 w 6886183"/>
              <a:gd name="connsiteY1431" fmla="*/ 2413444 h 2705233"/>
              <a:gd name="connsiteX1432" fmla="*/ 1472187 w 6886183"/>
              <a:gd name="connsiteY1432" fmla="*/ 2416492 h 2705233"/>
              <a:gd name="connsiteX1433" fmla="*/ 1456948 w 6886183"/>
              <a:gd name="connsiteY1433" fmla="*/ 2418397 h 2705233"/>
              <a:gd name="connsiteX1434" fmla="*/ 1435517 w 6886183"/>
              <a:gd name="connsiteY1434" fmla="*/ 2418397 h 2705233"/>
              <a:gd name="connsiteX1435" fmla="*/ 1412181 w 6886183"/>
              <a:gd name="connsiteY1435" fmla="*/ 2417159 h 2705233"/>
              <a:gd name="connsiteX1436" fmla="*/ 1390368 w 6886183"/>
              <a:gd name="connsiteY1436" fmla="*/ 2414682 h 2705233"/>
              <a:gd name="connsiteX1437" fmla="*/ 1373224 w 6886183"/>
              <a:gd name="connsiteY1437" fmla="*/ 2411349 h 2705233"/>
              <a:gd name="connsiteX1438" fmla="*/ 1390559 w 6886183"/>
              <a:gd name="connsiteY1438" fmla="*/ 2398585 h 2705233"/>
              <a:gd name="connsiteX1439" fmla="*/ 3014885 w 6886183"/>
              <a:gd name="connsiteY1439" fmla="*/ 2398157 h 2705233"/>
              <a:gd name="connsiteX1440" fmla="*/ 3040209 w 6886183"/>
              <a:gd name="connsiteY1440" fmla="*/ 2400014 h 2705233"/>
              <a:gd name="connsiteX1441" fmla="*/ 2999252 w 6886183"/>
              <a:gd name="connsiteY1441" fmla="*/ 2419826 h 2705233"/>
              <a:gd name="connsiteX1442" fmla="*/ 2957724 w 6886183"/>
              <a:gd name="connsiteY1442" fmla="*/ 2426494 h 2705233"/>
              <a:gd name="connsiteX1443" fmla="*/ 2932100 w 6886183"/>
              <a:gd name="connsiteY1443" fmla="*/ 2424970 h 2705233"/>
              <a:gd name="connsiteX1444" fmla="*/ 2936957 w 6886183"/>
              <a:gd name="connsiteY1444" fmla="*/ 2416207 h 2705233"/>
              <a:gd name="connsiteX1445" fmla="*/ 2971343 w 6886183"/>
              <a:gd name="connsiteY1445" fmla="*/ 2405158 h 2705233"/>
              <a:gd name="connsiteX1446" fmla="*/ 3014885 w 6886183"/>
              <a:gd name="connsiteY1446" fmla="*/ 2398157 h 2705233"/>
              <a:gd name="connsiteX1447" fmla="*/ 3534630 w 6886183"/>
              <a:gd name="connsiteY1447" fmla="*/ 2398157 h 2705233"/>
              <a:gd name="connsiteX1448" fmla="*/ 3547845 w 6886183"/>
              <a:gd name="connsiteY1448" fmla="*/ 2399062 h 2705233"/>
              <a:gd name="connsiteX1449" fmla="*/ 3516034 w 6886183"/>
              <a:gd name="connsiteY1449" fmla="*/ 2413063 h 2705233"/>
              <a:gd name="connsiteX1450" fmla="*/ 3475745 w 6886183"/>
              <a:gd name="connsiteY1450" fmla="*/ 2417635 h 2705233"/>
              <a:gd name="connsiteX1451" fmla="*/ 3507557 w 6886183"/>
              <a:gd name="connsiteY1451" fmla="*/ 2403538 h 2705233"/>
              <a:gd name="connsiteX1452" fmla="*/ 3534630 w 6886183"/>
              <a:gd name="connsiteY1452" fmla="*/ 2398157 h 2705233"/>
              <a:gd name="connsiteX1453" fmla="*/ 2432715 w 6886183"/>
              <a:gd name="connsiteY1453" fmla="*/ 2397645 h 2705233"/>
              <a:gd name="connsiteX1454" fmla="*/ 2466516 w 6886183"/>
              <a:gd name="connsiteY1454" fmla="*/ 2400395 h 2705233"/>
              <a:gd name="connsiteX1455" fmla="*/ 2467756 w 6886183"/>
              <a:gd name="connsiteY1455" fmla="*/ 2409158 h 2705233"/>
              <a:gd name="connsiteX1456" fmla="*/ 2436322 w 6886183"/>
              <a:gd name="connsiteY1456" fmla="*/ 2419350 h 2705233"/>
              <a:gd name="connsiteX1457" fmla="*/ 2354026 w 6886183"/>
              <a:gd name="connsiteY1457" fmla="*/ 2422302 h 2705233"/>
              <a:gd name="connsiteX1458" fmla="*/ 2384412 w 6886183"/>
              <a:gd name="connsiteY1458" fmla="*/ 2403252 h 2705233"/>
              <a:gd name="connsiteX1459" fmla="*/ 2432715 w 6886183"/>
              <a:gd name="connsiteY1459" fmla="*/ 2397645 h 2705233"/>
              <a:gd name="connsiteX1460" fmla="*/ 1937491 w 6886183"/>
              <a:gd name="connsiteY1460" fmla="*/ 2397252 h 2705233"/>
              <a:gd name="connsiteX1461" fmla="*/ 1976162 w 6886183"/>
              <a:gd name="connsiteY1461" fmla="*/ 2400776 h 2705233"/>
              <a:gd name="connsiteX1462" fmla="*/ 1953017 w 6886183"/>
              <a:gd name="connsiteY1462" fmla="*/ 2417826 h 2705233"/>
              <a:gd name="connsiteX1463" fmla="*/ 1930538 w 6886183"/>
              <a:gd name="connsiteY1463" fmla="*/ 2420112 h 2705233"/>
              <a:gd name="connsiteX1464" fmla="*/ 1906535 w 6886183"/>
              <a:gd name="connsiteY1464" fmla="*/ 2420683 h 2705233"/>
              <a:gd name="connsiteX1465" fmla="*/ 1867387 w 6886183"/>
              <a:gd name="connsiteY1465" fmla="*/ 2417064 h 2705233"/>
              <a:gd name="connsiteX1466" fmla="*/ 1889867 w 6886183"/>
              <a:gd name="connsiteY1466" fmla="*/ 2399919 h 2705233"/>
              <a:gd name="connsiteX1467" fmla="*/ 1937491 w 6886183"/>
              <a:gd name="connsiteY1467" fmla="*/ 2397252 h 2705233"/>
              <a:gd name="connsiteX1468" fmla="*/ 3728626 w 6886183"/>
              <a:gd name="connsiteY1468" fmla="*/ 2396585 h 2705233"/>
              <a:gd name="connsiteX1469" fmla="*/ 3704719 w 6886183"/>
              <a:gd name="connsiteY1469" fmla="*/ 2406967 h 2705233"/>
              <a:gd name="connsiteX1470" fmla="*/ 3676715 w 6886183"/>
              <a:gd name="connsiteY1470" fmla="*/ 2410682 h 2705233"/>
              <a:gd name="connsiteX1471" fmla="*/ 3700718 w 6886183"/>
              <a:gd name="connsiteY1471" fmla="*/ 2400300 h 2705233"/>
              <a:gd name="connsiteX1472" fmla="*/ 3728626 w 6886183"/>
              <a:gd name="connsiteY1472" fmla="*/ 2396585 h 2705233"/>
              <a:gd name="connsiteX1473" fmla="*/ 3878360 w 6886183"/>
              <a:gd name="connsiteY1473" fmla="*/ 2395537 h 2705233"/>
              <a:gd name="connsiteX1474" fmla="*/ 3862168 w 6886183"/>
              <a:gd name="connsiteY1474" fmla="*/ 2402109 h 2705233"/>
              <a:gd name="connsiteX1475" fmla="*/ 3845404 w 6886183"/>
              <a:gd name="connsiteY1475" fmla="*/ 2404491 h 2705233"/>
              <a:gd name="connsiteX1476" fmla="*/ 3862263 w 6886183"/>
              <a:gd name="connsiteY1476" fmla="*/ 2397633 h 2705233"/>
              <a:gd name="connsiteX1477" fmla="*/ 3878360 w 6886183"/>
              <a:gd name="connsiteY1477" fmla="*/ 2395537 h 2705233"/>
              <a:gd name="connsiteX1478" fmla="*/ 2633110 w 6886183"/>
              <a:gd name="connsiteY1478" fmla="*/ 2392775 h 2705233"/>
              <a:gd name="connsiteX1479" fmla="*/ 2665781 w 6886183"/>
              <a:gd name="connsiteY1479" fmla="*/ 2395157 h 2705233"/>
              <a:gd name="connsiteX1480" fmla="*/ 2630824 w 6886183"/>
              <a:gd name="connsiteY1480" fmla="*/ 2415064 h 2705233"/>
              <a:gd name="connsiteX1481" fmla="*/ 2607012 w 6886183"/>
              <a:gd name="connsiteY1481" fmla="*/ 2419160 h 2705233"/>
              <a:gd name="connsiteX1482" fmla="*/ 2584438 w 6886183"/>
              <a:gd name="connsiteY1482" fmla="*/ 2421350 h 2705233"/>
              <a:gd name="connsiteX1483" fmla="*/ 2551863 w 6886183"/>
              <a:gd name="connsiteY1483" fmla="*/ 2419350 h 2705233"/>
              <a:gd name="connsiteX1484" fmla="*/ 2584438 w 6886183"/>
              <a:gd name="connsiteY1484" fmla="*/ 2399443 h 2705233"/>
              <a:gd name="connsiteX1485" fmla="*/ 2633110 w 6886183"/>
              <a:gd name="connsiteY1485" fmla="*/ 2392775 h 2705233"/>
              <a:gd name="connsiteX1486" fmla="*/ 940874 w 6886183"/>
              <a:gd name="connsiteY1486" fmla="*/ 2390775 h 2705233"/>
              <a:gd name="connsiteX1487" fmla="*/ 960876 w 6886183"/>
              <a:gd name="connsiteY1487" fmla="*/ 2392775 h 2705233"/>
              <a:gd name="connsiteX1488" fmla="*/ 981165 w 6886183"/>
              <a:gd name="connsiteY1488" fmla="*/ 2395918 h 2705233"/>
              <a:gd name="connsiteX1489" fmla="*/ 1000215 w 6886183"/>
              <a:gd name="connsiteY1489" fmla="*/ 2400014 h 2705233"/>
              <a:gd name="connsiteX1490" fmla="*/ 1016693 w 6886183"/>
              <a:gd name="connsiteY1490" fmla="*/ 2404681 h 2705233"/>
              <a:gd name="connsiteX1491" fmla="*/ 1005358 w 6886183"/>
              <a:gd name="connsiteY1491" fmla="*/ 2412968 h 2705233"/>
              <a:gd name="connsiteX1492" fmla="*/ 1000786 w 6886183"/>
              <a:gd name="connsiteY1492" fmla="*/ 2412968 h 2705233"/>
              <a:gd name="connsiteX1493" fmla="*/ 996119 w 6886183"/>
              <a:gd name="connsiteY1493" fmla="*/ 2412968 h 2705233"/>
              <a:gd name="connsiteX1494" fmla="*/ 986595 w 6886183"/>
              <a:gd name="connsiteY1494" fmla="*/ 2411825 h 2705233"/>
              <a:gd name="connsiteX1495" fmla="*/ 967544 w 6886183"/>
              <a:gd name="connsiteY1495" fmla="*/ 2408872 h 2705233"/>
              <a:gd name="connsiteX1496" fmla="*/ 962877 w 6886183"/>
              <a:gd name="connsiteY1496" fmla="*/ 2407920 h 2705233"/>
              <a:gd name="connsiteX1497" fmla="*/ 958304 w 6886183"/>
              <a:gd name="connsiteY1497" fmla="*/ 2406967 h 2705233"/>
              <a:gd name="connsiteX1498" fmla="*/ 949351 w 6886183"/>
              <a:gd name="connsiteY1498" fmla="*/ 2404777 h 2705233"/>
              <a:gd name="connsiteX1499" fmla="*/ 933541 w 6886183"/>
              <a:gd name="connsiteY1499" fmla="*/ 2399728 h 2705233"/>
              <a:gd name="connsiteX1500" fmla="*/ 921063 w 6886183"/>
              <a:gd name="connsiteY1500" fmla="*/ 2392204 h 2705233"/>
              <a:gd name="connsiteX1501" fmla="*/ 926967 w 6886183"/>
              <a:gd name="connsiteY1501" fmla="*/ 2390870 h 2705233"/>
              <a:gd name="connsiteX1502" fmla="*/ 940874 w 6886183"/>
              <a:gd name="connsiteY1502" fmla="*/ 2390775 h 2705233"/>
              <a:gd name="connsiteX1503" fmla="*/ 3424551 w 6886183"/>
              <a:gd name="connsiteY1503" fmla="*/ 2389644 h 2705233"/>
              <a:gd name="connsiteX1504" fmla="*/ 3442224 w 6886183"/>
              <a:gd name="connsiteY1504" fmla="*/ 2390584 h 2705233"/>
              <a:gd name="connsiteX1505" fmla="*/ 3404803 w 6886183"/>
              <a:gd name="connsiteY1505" fmla="*/ 2407539 h 2705233"/>
              <a:gd name="connsiteX1506" fmla="*/ 3355097 w 6886183"/>
              <a:gd name="connsiteY1506" fmla="*/ 2412873 h 2705233"/>
              <a:gd name="connsiteX1507" fmla="*/ 3391376 w 6886183"/>
              <a:gd name="connsiteY1507" fmla="*/ 2395918 h 2705233"/>
              <a:gd name="connsiteX1508" fmla="*/ 3424551 w 6886183"/>
              <a:gd name="connsiteY1508" fmla="*/ 2389644 h 2705233"/>
              <a:gd name="connsiteX1509" fmla="*/ 3633758 w 6886183"/>
              <a:gd name="connsiteY1509" fmla="*/ 2388989 h 2705233"/>
              <a:gd name="connsiteX1510" fmla="*/ 3645760 w 6886183"/>
              <a:gd name="connsiteY1510" fmla="*/ 2389441 h 2705233"/>
              <a:gd name="connsiteX1511" fmla="*/ 3615946 w 6886183"/>
              <a:gd name="connsiteY1511" fmla="*/ 2402681 h 2705233"/>
              <a:gd name="connsiteX1512" fmla="*/ 3579086 w 6886183"/>
              <a:gd name="connsiteY1512" fmla="*/ 2407348 h 2705233"/>
              <a:gd name="connsiteX1513" fmla="*/ 3609755 w 6886183"/>
              <a:gd name="connsiteY1513" fmla="*/ 2393823 h 2705233"/>
              <a:gd name="connsiteX1514" fmla="*/ 3633758 w 6886183"/>
              <a:gd name="connsiteY1514" fmla="*/ 2388989 h 2705233"/>
              <a:gd name="connsiteX1515" fmla="*/ 3811399 w 6886183"/>
              <a:gd name="connsiteY1515" fmla="*/ 2388965 h 2705233"/>
              <a:gd name="connsiteX1516" fmla="*/ 3788254 w 6886183"/>
              <a:gd name="connsiteY1516" fmla="*/ 2398490 h 2705233"/>
              <a:gd name="connsiteX1517" fmla="*/ 3766251 w 6886183"/>
              <a:gd name="connsiteY1517" fmla="*/ 2401062 h 2705233"/>
              <a:gd name="connsiteX1518" fmla="*/ 3789492 w 6886183"/>
              <a:gd name="connsiteY1518" fmla="*/ 2391537 h 2705233"/>
              <a:gd name="connsiteX1519" fmla="*/ 3811399 w 6886183"/>
              <a:gd name="connsiteY1519" fmla="*/ 2388965 h 2705233"/>
              <a:gd name="connsiteX1520" fmla="*/ 3160701 w 6886183"/>
              <a:gd name="connsiteY1520" fmla="*/ 2388488 h 2705233"/>
              <a:gd name="connsiteX1521" fmla="*/ 3184227 w 6886183"/>
              <a:gd name="connsiteY1521" fmla="*/ 2389917 h 2705233"/>
              <a:gd name="connsiteX1522" fmla="*/ 3145459 w 6886183"/>
              <a:gd name="connsiteY1522" fmla="*/ 2408967 h 2705233"/>
              <a:gd name="connsiteX1523" fmla="*/ 3080881 w 6886183"/>
              <a:gd name="connsiteY1523" fmla="*/ 2414968 h 2705233"/>
              <a:gd name="connsiteX1524" fmla="*/ 3119456 w 6886183"/>
              <a:gd name="connsiteY1524" fmla="*/ 2395823 h 2705233"/>
              <a:gd name="connsiteX1525" fmla="*/ 3160701 w 6886183"/>
              <a:gd name="connsiteY1525" fmla="*/ 2388488 h 2705233"/>
              <a:gd name="connsiteX1526" fmla="*/ 3948463 w 6886183"/>
              <a:gd name="connsiteY1526" fmla="*/ 2387727 h 2705233"/>
              <a:gd name="connsiteX1527" fmla="*/ 3935986 w 6886183"/>
              <a:gd name="connsiteY1527" fmla="*/ 2392775 h 2705233"/>
              <a:gd name="connsiteX1528" fmla="*/ 3924365 w 6886183"/>
              <a:gd name="connsiteY1528" fmla="*/ 2394490 h 2705233"/>
              <a:gd name="connsiteX1529" fmla="*/ 3936176 w 6886183"/>
              <a:gd name="connsiteY1529" fmla="*/ 2389537 h 2705233"/>
              <a:gd name="connsiteX1530" fmla="*/ 3948463 w 6886183"/>
              <a:gd name="connsiteY1530" fmla="*/ 2387727 h 2705233"/>
              <a:gd name="connsiteX1531" fmla="*/ 2822405 w 6886183"/>
              <a:gd name="connsiteY1531" fmla="*/ 2384976 h 2705233"/>
              <a:gd name="connsiteX1532" fmla="*/ 2853040 w 6886183"/>
              <a:gd name="connsiteY1532" fmla="*/ 2387060 h 2705233"/>
              <a:gd name="connsiteX1533" fmla="*/ 2814276 w 6886183"/>
              <a:gd name="connsiteY1533" fmla="*/ 2407824 h 2705233"/>
              <a:gd name="connsiteX1534" fmla="*/ 2767699 w 6886183"/>
              <a:gd name="connsiteY1534" fmla="*/ 2414587 h 2705233"/>
              <a:gd name="connsiteX1535" fmla="*/ 2736549 w 6886183"/>
              <a:gd name="connsiteY1535" fmla="*/ 2412777 h 2705233"/>
              <a:gd name="connsiteX1536" fmla="*/ 2774841 w 6886183"/>
              <a:gd name="connsiteY1536" fmla="*/ 2391822 h 2705233"/>
              <a:gd name="connsiteX1537" fmla="*/ 2822405 w 6886183"/>
              <a:gd name="connsiteY1537" fmla="*/ 2384976 h 2705233"/>
              <a:gd name="connsiteX1538" fmla="*/ 1629259 w 6886183"/>
              <a:gd name="connsiteY1538" fmla="*/ 2384583 h 2705233"/>
              <a:gd name="connsiteX1539" fmla="*/ 1654595 w 6886183"/>
              <a:gd name="connsiteY1539" fmla="*/ 2385155 h 2705233"/>
              <a:gd name="connsiteX1540" fmla="*/ 1677359 w 6886183"/>
              <a:gd name="connsiteY1540" fmla="*/ 2387345 h 2705233"/>
              <a:gd name="connsiteX1541" fmla="*/ 1693361 w 6886183"/>
              <a:gd name="connsiteY1541" fmla="*/ 2390774 h 2705233"/>
              <a:gd name="connsiteX1542" fmla="*/ 1671074 w 6886183"/>
              <a:gd name="connsiteY1542" fmla="*/ 2405538 h 2705233"/>
              <a:gd name="connsiteX1543" fmla="*/ 1583253 w 6886183"/>
              <a:gd name="connsiteY1543" fmla="*/ 2400490 h 2705233"/>
              <a:gd name="connsiteX1544" fmla="*/ 1577824 w 6886183"/>
              <a:gd name="connsiteY1544" fmla="*/ 2391917 h 2705233"/>
              <a:gd name="connsiteX1545" fmla="*/ 1605161 w 6886183"/>
              <a:gd name="connsiteY1545" fmla="*/ 2385631 h 2705233"/>
              <a:gd name="connsiteX1546" fmla="*/ 1629259 w 6886183"/>
              <a:gd name="connsiteY1546" fmla="*/ 2384583 h 2705233"/>
              <a:gd name="connsiteX1547" fmla="*/ 4012377 w 6886183"/>
              <a:gd name="connsiteY1547" fmla="*/ 2381440 h 2705233"/>
              <a:gd name="connsiteX1548" fmla="*/ 4004376 w 6886183"/>
              <a:gd name="connsiteY1548" fmla="*/ 2384679 h 2705233"/>
              <a:gd name="connsiteX1549" fmla="*/ 3995899 w 6886183"/>
              <a:gd name="connsiteY1549" fmla="*/ 2386012 h 2705233"/>
              <a:gd name="connsiteX1550" fmla="*/ 4004566 w 6886183"/>
              <a:gd name="connsiteY1550" fmla="*/ 2382488 h 2705233"/>
              <a:gd name="connsiteX1551" fmla="*/ 4012377 w 6886183"/>
              <a:gd name="connsiteY1551" fmla="*/ 2381440 h 2705233"/>
              <a:gd name="connsiteX1552" fmla="*/ 3886170 w 6886183"/>
              <a:gd name="connsiteY1552" fmla="*/ 2381440 h 2705233"/>
              <a:gd name="connsiteX1553" fmla="*/ 3867120 w 6886183"/>
              <a:gd name="connsiteY1553" fmla="*/ 2389346 h 2705233"/>
              <a:gd name="connsiteX1554" fmla="*/ 3847118 w 6886183"/>
              <a:gd name="connsiteY1554" fmla="*/ 2392108 h 2705233"/>
              <a:gd name="connsiteX1555" fmla="*/ 3867120 w 6886183"/>
              <a:gd name="connsiteY1555" fmla="*/ 2383821 h 2705233"/>
              <a:gd name="connsiteX1556" fmla="*/ 3886170 w 6886183"/>
              <a:gd name="connsiteY1556" fmla="*/ 2381440 h 2705233"/>
              <a:gd name="connsiteX1557" fmla="*/ 3736437 w 6886183"/>
              <a:gd name="connsiteY1557" fmla="*/ 2381250 h 2705233"/>
              <a:gd name="connsiteX1558" fmla="*/ 3707862 w 6886183"/>
              <a:gd name="connsiteY1558" fmla="*/ 2393442 h 2705233"/>
              <a:gd name="connsiteX1559" fmla="*/ 3677382 w 6886183"/>
              <a:gd name="connsiteY1559" fmla="*/ 2397157 h 2705233"/>
              <a:gd name="connsiteX1560" fmla="*/ 3705957 w 6886183"/>
              <a:gd name="connsiteY1560" fmla="*/ 2384965 h 2705233"/>
              <a:gd name="connsiteX1561" fmla="*/ 3736437 w 6886183"/>
              <a:gd name="connsiteY1561" fmla="*/ 2381250 h 2705233"/>
              <a:gd name="connsiteX1562" fmla="*/ 590180 w 6886183"/>
              <a:gd name="connsiteY1562" fmla="*/ 2381238 h 2705233"/>
              <a:gd name="connsiteX1563" fmla="*/ 603478 w 6886183"/>
              <a:gd name="connsiteY1563" fmla="*/ 2382964 h 2705233"/>
              <a:gd name="connsiteX1564" fmla="*/ 618053 w 6886183"/>
              <a:gd name="connsiteY1564" fmla="*/ 2386679 h 2705233"/>
              <a:gd name="connsiteX1565" fmla="*/ 633198 w 6886183"/>
              <a:gd name="connsiteY1565" fmla="*/ 2391156 h 2705233"/>
              <a:gd name="connsiteX1566" fmla="*/ 647866 w 6886183"/>
              <a:gd name="connsiteY1566" fmla="*/ 2396204 h 2705233"/>
              <a:gd name="connsiteX1567" fmla="*/ 654533 w 6886183"/>
              <a:gd name="connsiteY1567" fmla="*/ 2398681 h 2705233"/>
              <a:gd name="connsiteX1568" fmla="*/ 660534 w 6886183"/>
              <a:gd name="connsiteY1568" fmla="*/ 2401157 h 2705233"/>
              <a:gd name="connsiteX1569" fmla="*/ 657296 w 6886183"/>
              <a:gd name="connsiteY1569" fmla="*/ 2405634 h 2705233"/>
              <a:gd name="connsiteX1570" fmla="*/ 650439 w 6886183"/>
              <a:gd name="connsiteY1570" fmla="*/ 2404205 h 2705233"/>
              <a:gd name="connsiteX1571" fmla="*/ 643104 w 6886183"/>
              <a:gd name="connsiteY1571" fmla="*/ 2402395 h 2705233"/>
              <a:gd name="connsiteX1572" fmla="*/ 628055 w 6886183"/>
              <a:gd name="connsiteY1572" fmla="*/ 2398014 h 2705233"/>
              <a:gd name="connsiteX1573" fmla="*/ 613385 w 6886183"/>
              <a:gd name="connsiteY1573" fmla="*/ 2392966 h 2705233"/>
              <a:gd name="connsiteX1574" fmla="*/ 600241 w 6886183"/>
              <a:gd name="connsiteY1574" fmla="*/ 2387441 h 2705233"/>
              <a:gd name="connsiteX1575" fmla="*/ 590180 w 6886183"/>
              <a:gd name="connsiteY1575" fmla="*/ 2381238 h 2705233"/>
              <a:gd name="connsiteX1576" fmla="*/ 3535273 w 6886183"/>
              <a:gd name="connsiteY1576" fmla="*/ 2380285 h 2705233"/>
              <a:gd name="connsiteX1577" fmla="*/ 3550035 w 6886183"/>
              <a:gd name="connsiteY1577" fmla="*/ 2381250 h 2705233"/>
              <a:gd name="connsiteX1578" fmla="*/ 3514605 w 6886183"/>
              <a:gd name="connsiteY1578" fmla="*/ 2397156 h 2705233"/>
              <a:gd name="connsiteX1579" fmla="*/ 3469939 w 6886183"/>
              <a:gd name="connsiteY1579" fmla="*/ 2402109 h 2705233"/>
              <a:gd name="connsiteX1580" fmla="*/ 3505366 w 6886183"/>
              <a:gd name="connsiteY1580" fmla="*/ 2386107 h 2705233"/>
              <a:gd name="connsiteX1581" fmla="*/ 3535273 w 6886183"/>
              <a:gd name="connsiteY1581" fmla="*/ 2380285 h 2705233"/>
              <a:gd name="connsiteX1582" fmla="*/ 3296834 w 6886183"/>
              <a:gd name="connsiteY1582" fmla="*/ 2379893 h 2705233"/>
              <a:gd name="connsiteX1583" fmla="*/ 3317763 w 6886183"/>
              <a:gd name="connsiteY1583" fmla="*/ 2381060 h 2705233"/>
              <a:gd name="connsiteX1584" fmla="*/ 3278334 w 6886183"/>
              <a:gd name="connsiteY1584" fmla="*/ 2400110 h 2705233"/>
              <a:gd name="connsiteX1585" fmla="*/ 3218710 w 6886183"/>
              <a:gd name="connsiteY1585" fmla="*/ 2405920 h 2705233"/>
              <a:gd name="connsiteX1586" fmla="*/ 3258046 w 6886183"/>
              <a:gd name="connsiteY1586" fmla="*/ 2386870 h 2705233"/>
              <a:gd name="connsiteX1587" fmla="*/ 3296834 w 6886183"/>
              <a:gd name="connsiteY1587" fmla="*/ 2379893 h 2705233"/>
              <a:gd name="connsiteX1588" fmla="*/ 2994682 w 6886183"/>
              <a:gd name="connsiteY1588" fmla="*/ 2376583 h 2705233"/>
              <a:gd name="connsiteX1589" fmla="*/ 3020969 w 6886183"/>
              <a:gd name="connsiteY1589" fmla="*/ 2378964 h 2705233"/>
              <a:gd name="connsiteX1590" fmla="*/ 2977631 w 6886183"/>
              <a:gd name="connsiteY1590" fmla="*/ 2400300 h 2705233"/>
              <a:gd name="connsiteX1591" fmla="*/ 2933434 w 6886183"/>
              <a:gd name="connsiteY1591" fmla="*/ 2407158 h 2705233"/>
              <a:gd name="connsiteX1592" fmla="*/ 2906476 w 6886183"/>
              <a:gd name="connsiteY1592" fmla="*/ 2404967 h 2705233"/>
              <a:gd name="connsiteX1593" fmla="*/ 2911908 w 6886183"/>
              <a:gd name="connsiteY1593" fmla="*/ 2395442 h 2705233"/>
              <a:gd name="connsiteX1594" fmla="*/ 2949529 w 6886183"/>
              <a:gd name="connsiteY1594" fmla="*/ 2383536 h 2705233"/>
              <a:gd name="connsiteX1595" fmla="*/ 2973536 w 6886183"/>
              <a:gd name="connsiteY1595" fmla="*/ 2378964 h 2705233"/>
              <a:gd name="connsiteX1596" fmla="*/ 2994682 w 6886183"/>
              <a:gd name="connsiteY1596" fmla="*/ 2376583 h 2705233"/>
              <a:gd name="connsiteX1597" fmla="*/ 3817400 w 6886183"/>
              <a:gd name="connsiteY1597" fmla="*/ 2374296 h 2705233"/>
              <a:gd name="connsiteX1598" fmla="*/ 3792159 w 6886183"/>
              <a:gd name="connsiteY1598" fmla="*/ 2384964 h 2705233"/>
              <a:gd name="connsiteX1599" fmla="*/ 3766060 w 6886183"/>
              <a:gd name="connsiteY1599" fmla="*/ 2388393 h 2705233"/>
              <a:gd name="connsiteX1600" fmla="*/ 3790825 w 6886183"/>
              <a:gd name="connsiteY1600" fmla="*/ 2377725 h 2705233"/>
              <a:gd name="connsiteX1601" fmla="*/ 3817400 w 6886183"/>
              <a:gd name="connsiteY1601" fmla="*/ 2374296 h 2705233"/>
              <a:gd name="connsiteX1602" fmla="*/ 3958369 w 6886183"/>
              <a:gd name="connsiteY1602" fmla="*/ 2374011 h 2705233"/>
              <a:gd name="connsiteX1603" fmla="*/ 3943510 w 6886183"/>
              <a:gd name="connsiteY1603" fmla="*/ 2380297 h 2705233"/>
              <a:gd name="connsiteX1604" fmla="*/ 3927794 w 6886183"/>
              <a:gd name="connsiteY1604" fmla="*/ 2382678 h 2705233"/>
              <a:gd name="connsiteX1605" fmla="*/ 3942653 w 6886183"/>
              <a:gd name="connsiteY1605" fmla="*/ 2376297 h 2705233"/>
              <a:gd name="connsiteX1606" fmla="*/ 3958369 w 6886183"/>
              <a:gd name="connsiteY1606" fmla="*/ 2374011 h 2705233"/>
              <a:gd name="connsiteX1607" fmla="*/ 3634889 w 6886183"/>
              <a:gd name="connsiteY1607" fmla="*/ 2372951 h 2705233"/>
              <a:gd name="connsiteX1608" fmla="*/ 3646807 w 6886183"/>
              <a:gd name="connsiteY1608" fmla="*/ 2373916 h 2705233"/>
              <a:gd name="connsiteX1609" fmla="*/ 3614327 w 6886183"/>
              <a:gd name="connsiteY1609" fmla="*/ 2388299 h 2705233"/>
              <a:gd name="connsiteX1610" fmla="*/ 3574609 w 6886183"/>
              <a:gd name="connsiteY1610" fmla="*/ 2392966 h 2705233"/>
              <a:gd name="connsiteX1611" fmla="*/ 3607755 w 6886183"/>
              <a:gd name="connsiteY1611" fmla="*/ 2378202 h 2705233"/>
              <a:gd name="connsiteX1612" fmla="*/ 3634889 w 6886183"/>
              <a:gd name="connsiteY1612" fmla="*/ 2372951 h 2705233"/>
              <a:gd name="connsiteX1613" fmla="*/ 3419233 w 6886183"/>
              <a:gd name="connsiteY1613" fmla="*/ 2371606 h 2705233"/>
              <a:gd name="connsiteX1614" fmla="*/ 3436514 w 6886183"/>
              <a:gd name="connsiteY1614" fmla="*/ 2373249 h 2705233"/>
              <a:gd name="connsiteX1615" fmla="*/ 3396137 w 6886183"/>
              <a:gd name="connsiteY1615" fmla="*/ 2391727 h 2705233"/>
              <a:gd name="connsiteX1616" fmla="*/ 3342523 w 6886183"/>
              <a:gd name="connsiteY1616" fmla="*/ 2397157 h 2705233"/>
              <a:gd name="connsiteX1617" fmla="*/ 3383662 w 6886183"/>
              <a:gd name="connsiteY1617" fmla="*/ 2378107 h 2705233"/>
              <a:gd name="connsiteX1618" fmla="*/ 3419233 w 6886183"/>
              <a:gd name="connsiteY1618" fmla="*/ 2371606 h 2705233"/>
              <a:gd name="connsiteX1619" fmla="*/ 2125992 w 6886183"/>
              <a:gd name="connsiteY1619" fmla="*/ 2371439 h 2705233"/>
              <a:gd name="connsiteX1620" fmla="*/ 2146756 w 6886183"/>
              <a:gd name="connsiteY1620" fmla="*/ 2372487 h 2705233"/>
              <a:gd name="connsiteX1621" fmla="*/ 2162377 w 6886183"/>
              <a:gd name="connsiteY1621" fmla="*/ 2375440 h 2705233"/>
              <a:gd name="connsiteX1622" fmla="*/ 2166663 w 6886183"/>
              <a:gd name="connsiteY1622" fmla="*/ 2384965 h 2705233"/>
              <a:gd name="connsiteX1623" fmla="*/ 2132945 w 6886183"/>
              <a:gd name="connsiteY1623" fmla="*/ 2394490 h 2705233"/>
              <a:gd name="connsiteX1624" fmla="*/ 2108656 w 6886183"/>
              <a:gd name="connsiteY1624" fmla="*/ 2397442 h 2705233"/>
              <a:gd name="connsiteX1625" fmla="*/ 2085034 w 6886183"/>
              <a:gd name="connsiteY1625" fmla="*/ 2398395 h 2705233"/>
              <a:gd name="connsiteX1626" fmla="*/ 2064271 w 6886183"/>
              <a:gd name="connsiteY1626" fmla="*/ 2397347 h 2705233"/>
              <a:gd name="connsiteX1627" fmla="*/ 2048173 w 6886183"/>
              <a:gd name="connsiteY1627" fmla="*/ 2394299 h 2705233"/>
              <a:gd name="connsiteX1628" fmla="*/ 2042554 w 6886183"/>
              <a:gd name="connsiteY1628" fmla="*/ 2384774 h 2705233"/>
              <a:gd name="connsiteX1629" fmla="*/ 2077034 w 6886183"/>
              <a:gd name="connsiteY1629" fmla="*/ 2375249 h 2705233"/>
              <a:gd name="connsiteX1630" fmla="*/ 2102084 w 6886183"/>
              <a:gd name="connsiteY1630" fmla="*/ 2372392 h 2705233"/>
              <a:gd name="connsiteX1631" fmla="*/ 2125992 w 6886183"/>
              <a:gd name="connsiteY1631" fmla="*/ 2371439 h 2705233"/>
              <a:gd name="connsiteX1632" fmla="*/ 2370790 w 6886183"/>
              <a:gd name="connsiteY1632" fmla="*/ 2370772 h 2705233"/>
              <a:gd name="connsiteX1633" fmla="*/ 2406509 w 6886183"/>
              <a:gd name="connsiteY1633" fmla="*/ 2374296 h 2705233"/>
              <a:gd name="connsiteX1634" fmla="*/ 2374028 w 6886183"/>
              <a:gd name="connsiteY1634" fmla="*/ 2394013 h 2705233"/>
              <a:gd name="connsiteX1635" fmla="*/ 2324498 w 6886183"/>
              <a:gd name="connsiteY1635" fmla="*/ 2399442 h 2705233"/>
              <a:gd name="connsiteX1636" fmla="*/ 2288398 w 6886183"/>
              <a:gd name="connsiteY1636" fmla="*/ 2396013 h 2705233"/>
              <a:gd name="connsiteX1637" fmla="*/ 2320118 w 6886183"/>
              <a:gd name="connsiteY1637" fmla="*/ 2376201 h 2705233"/>
              <a:gd name="connsiteX1638" fmla="*/ 2370790 w 6886183"/>
              <a:gd name="connsiteY1638" fmla="*/ 2370772 h 2705233"/>
              <a:gd name="connsiteX1639" fmla="*/ 3142795 w 6886183"/>
              <a:gd name="connsiteY1639" fmla="*/ 2368582 h 2705233"/>
              <a:gd name="connsiteX1640" fmla="*/ 3168510 w 6886183"/>
              <a:gd name="connsiteY1640" fmla="*/ 2370296 h 2705233"/>
              <a:gd name="connsiteX1641" fmla="*/ 3160034 w 6886183"/>
              <a:gd name="connsiteY1641" fmla="*/ 2379821 h 2705233"/>
              <a:gd name="connsiteX1642" fmla="*/ 3124887 w 6886183"/>
              <a:gd name="connsiteY1642" fmla="*/ 2391632 h 2705233"/>
              <a:gd name="connsiteX1643" fmla="*/ 3055449 w 6886183"/>
              <a:gd name="connsiteY1643" fmla="*/ 2397538 h 2705233"/>
              <a:gd name="connsiteX1644" fmla="*/ 3098785 w 6886183"/>
              <a:gd name="connsiteY1644" fmla="*/ 2375821 h 2705233"/>
              <a:gd name="connsiteX1645" fmla="*/ 3142795 w 6886183"/>
              <a:gd name="connsiteY1645" fmla="*/ 2368582 h 2705233"/>
              <a:gd name="connsiteX1646" fmla="*/ 4026569 w 6886183"/>
              <a:gd name="connsiteY1646" fmla="*/ 2367153 h 2705233"/>
              <a:gd name="connsiteX1647" fmla="*/ 4014377 w 6886183"/>
              <a:gd name="connsiteY1647" fmla="*/ 2372010 h 2705233"/>
              <a:gd name="connsiteX1648" fmla="*/ 4003614 w 6886183"/>
              <a:gd name="connsiteY1648" fmla="*/ 2373439 h 2705233"/>
              <a:gd name="connsiteX1649" fmla="*/ 4015710 w 6886183"/>
              <a:gd name="connsiteY1649" fmla="*/ 2368581 h 2705233"/>
              <a:gd name="connsiteX1650" fmla="*/ 4026569 w 6886183"/>
              <a:gd name="connsiteY1650" fmla="*/ 2367153 h 2705233"/>
              <a:gd name="connsiteX1651" fmla="*/ 2590809 w 6886183"/>
              <a:gd name="connsiteY1651" fmla="*/ 2366879 h 2705233"/>
              <a:gd name="connsiteX1652" fmla="*/ 2625491 w 6886183"/>
              <a:gd name="connsiteY1652" fmla="*/ 2369820 h 2705233"/>
              <a:gd name="connsiteX1653" fmla="*/ 2590059 w 6886183"/>
              <a:gd name="connsiteY1653" fmla="*/ 2390870 h 2705233"/>
              <a:gd name="connsiteX1654" fmla="*/ 2507001 w 6886183"/>
              <a:gd name="connsiteY1654" fmla="*/ 2394776 h 2705233"/>
              <a:gd name="connsiteX1655" fmla="*/ 2539766 w 6886183"/>
              <a:gd name="connsiteY1655" fmla="*/ 2373725 h 2705233"/>
              <a:gd name="connsiteX1656" fmla="*/ 2590809 w 6886183"/>
              <a:gd name="connsiteY1656" fmla="*/ 2366879 h 2705233"/>
              <a:gd name="connsiteX1657" fmla="*/ 3897029 w 6886183"/>
              <a:gd name="connsiteY1657" fmla="*/ 2366010 h 2705233"/>
              <a:gd name="connsiteX1658" fmla="*/ 3874931 w 6886183"/>
              <a:gd name="connsiteY1658" fmla="*/ 2375535 h 2705233"/>
              <a:gd name="connsiteX1659" fmla="*/ 3852928 w 6886183"/>
              <a:gd name="connsiteY1659" fmla="*/ 2378297 h 2705233"/>
              <a:gd name="connsiteX1660" fmla="*/ 3875026 w 6886183"/>
              <a:gd name="connsiteY1660" fmla="*/ 2368772 h 2705233"/>
              <a:gd name="connsiteX1661" fmla="*/ 3897029 w 6886183"/>
              <a:gd name="connsiteY1661" fmla="*/ 2366010 h 2705233"/>
              <a:gd name="connsiteX1662" fmla="*/ 3729531 w 6886183"/>
              <a:gd name="connsiteY1662" fmla="*/ 2364927 h 2705233"/>
              <a:gd name="connsiteX1663" fmla="*/ 3740818 w 6886183"/>
              <a:gd name="connsiteY1663" fmla="*/ 2365534 h 2705233"/>
              <a:gd name="connsiteX1664" fmla="*/ 3710719 w 6886183"/>
              <a:gd name="connsiteY1664" fmla="*/ 2378869 h 2705233"/>
              <a:gd name="connsiteX1665" fmla="*/ 3674524 w 6886183"/>
              <a:gd name="connsiteY1665" fmla="*/ 2383536 h 2705233"/>
              <a:gd name="connsiteX1666" fmla="*/ 3705385 w 6886183"/>
              <a:gd name="connsiteY1666" fmla="*/ 2369820 h 2705233"/>
              <a:gd name="connsiteX1667" fmla="*/ 3729531 w 6886183"/>
              <a:gd name="connsiteY1667" fmla="*/ 2364927 h 2705233"/>
              <a:gd name="connsiteX1668" fmla="*/ 1852444 w 6886183"/>
              <a:gd name="connsiteY1668" fmla="*/ 2363426 h 2705233"/>
              <a:gd name="connsiteX1669" fmla="*/ 1891293 w 6886183"/>
              <a:gd name="connsiteY1669" fmla="*/ 2368772 h 2705233"/>
              <a:gd name="connsiteX1670" fmla="*/ 1896723 w 6886183"/>
              <a:gd name="connsiteY1670" fmla="*/ 2377630 h 2705233"/>
              <a:gd name="connsiteX1671" fmla="*/ 1885770 w 6886183"/>
              <a:gd name="connsiteY1671" fmla="*/ 2381917 h 2705233"/>
              <a:gd name="connsiteX1672" fmla="*/ 1866719 w 6886183"/>
              <a:gd name="connsiteY1672" fmla="*/ 2385536 h 2705233"/>
              <a:gd name="connsiteX1673" fmla="*/ 1842145 w 6886183"/>
              <a:gd name="connsiteY1673" fmla="*/ 2387727 h 2705233"/>
              <a:gd name="connsiteX1674" fmla="*/ 1817571 w 6886183"/>
              <a:gd name="connsiteY1674" fmla="*/ 2387727 h 2705233"/>
              <a:gd name="connsiteX1675" fmla="*/ 1778328 w 6886183"/>
              <a:gd name="connsiteY1675" fmla="*/ 2382298 h 2705233"/>
              <a:gd name="connsiteX1676" fmla="*/ 1802235 w 6886183"/>
              <a:gd name="connsiteY1676" fmla="*/ 2365724 h 2705233"/>
              <a:gd name="connsiteX1677" fmla="*/ 1852444 w 6886183"/>
              <a:gd name="connsiteY1677" fmla="*/ 2363426 h 2705233"/>
              <a:gd name="connsiteX1678" fmla="*/ 3531723 w 6886183"/>
              <a:gd name="connsiteY1678" fmla="*/ 2362915 h 2705233"/>
              <a:gd name="connsiteX1679" fmla="*/ 3548892 w 6886183"/>
              <a:gd name="connsiteY1679" fmla="*/ 2363724 h 2705233"/>
              <a:gd name="connsiteX1680" fmla="*/ 3510794 w 6886183"/>
              <a:gd name="connsiteY1680" fmla="*/ 2381441 h 2705233"/>
              <a:gd name="connsiteX1681" fmla="*/ 3460605 w 6886183"/>
              <a:gd name="connsiteY1681" fmla="*/ 2387060 h 2705233"/>
              <a:gd name="connsiteX1682" fmla="*/ 3498698 w 6886183"/>
              <a:gd name="connsiteY1682" fmla="*/ 2369249 h 2705233"/>
              <a:gd name="connsiteX1683" fmla="*/ 3531723 w 6886183"/>
              <a:gd name="connsiteY1683" fmla="*/ 2362915 h 2705233"/>
              <a:gd name="connsiteX1684" fmla="*/ 2788083 w 6886183"/>
              <a:gd name="connsiteY1684" fmla="*/ 2362009 h 2705233"/>
              <a:gd name="connsiteX1685" fmla="*/ 2818370 w 6886183"/>
              <a:gd name="connsiteY1685" fmla="*/ 2364772 h 2705233"/>
              <a:gd name="connsiteX1686" fmla="*/ 2774556 w 6886183"/>
              <a:gd name="connsiteY1686" fmla="*/ 2387346 h 2705233"/>
              <a:gd name="connsiteX1687" fmla="*/ 2696074 w 6886183"/>
              <a:gd name="connsiteY1687" fmla="*/ 2390965 h 2705233"/>
              <a:gd name="connsiteX1688" fmla="*/ 2739506 w 6886183"/>
              <a:gd name="connsiteY1688" fmla="*/ 2368201 h 2705233"/>
              <a:gd name="connsiteX1689" fmla="*/ 2788083 w 6886183"/>
              <a:gd name="connsiteY1689" fmla="*/ 2362009 h 2705233"/>
              <a:gd name="connsiteX1690" fmla="*/ 3284263 w 6886183"/>
              <a:gd name="connsiteY1690" fmla="*/ 2360092 h 2705233"/>
              <a:gd name="connsiteX1691" fmla="*/ 3307856 w 6886183"/>
              <a:gd name="connsiteY1691" fmla="*/ 2361438 h 2705233"/>
              <a:gd name="connsiteX1692" fmla="*/ 3264050 w 6886183"/>
              <a:gd name="connsiteY1692" fmla="*/ 2382869 h 2705233"/>
              <a:gd name="connsiteX1693" fmla="*/ 3199564 w 6886183"/>
              <a:gd name="connsiteY1693" fmla="*/ 2388870 h 2705233"/>
              <a:gd name="connsiteX1694" fmla="*/ 3207468 w 6886183"/>
              <a:gd name="connsiteY1694" fmla="*/ 2379345 h 2705233"/>
              <a:gd name="connsiteX1695" fmla="*/ 3243092 w 6886183"/>
              <a:gd name="connsiteY1695" fmla="*/ 2367248 h 2705233"/>
              <a:gd name="connsiteX1696" fmla="*/ 3284263 w 6886183"/>
              <a:gd name="connsiteY1696" fmla="*/ 2360092 h 2705233"/>
              <a:gd name="connsiteX1697" fmla="*/ 3971229 w 6886183"/>
              <a:gd name="connsiteY1697" fmla="*/ 2359152 h 2705233"/>
              <a:gd name="connsiteX1698" fmla="*/ 3952846 w 6886183"/>
              <a:gd name="connsiteY1698" fmla="*/ 2366677 h 2705233"/>
              <a:gd name="connsiteX1699" fmla="*/ 3934748 w 6886183"/>
              <a:gd name="connsiteY1699" fmla="*/ 2369153 h 2705233"/>
              <a:gd name="connsiteX1700" fmla="*/ 3953798 w 6886183"/>
              <a:gd name="connsiteY1700" fmla="*/ 2361247 h 2705233"/>
              <a:gd name="connsiteX1701" fmla="*/ 3971229 w 6886183"/>
              <a:gd name="connsiteY1701" fmla="*/ 2359152 h 2705233"/>
              <a:gd name="connsiteX1702" fmla="*/ 3818007 w 6886183"/>
              <a:gd name="connsiteY1702" fmla="*/ 2356783 h 2705233"/>
              <a:gd name="connsiteX1703" fmla="*/ 3827782 w 6886183"/>
              <a:gd name="connsiteY1703" fmla="*/ 2357247 h 2705233"/>
              <a:gd name="connsiteX1704" fmla="*/ 3799207 w 6886183"/>
              <a:gd name="connsiteY1704" fmla="*/ 2369629 h 2705233"/>
              <a:gd name="connsiteX1705" fmla="*/ 3769299 w 6886183"/>
              <a:gd name="connsiteY1705" fmla="*/ 2373344 h 2705233"/>
              <a:gd name="connsiteX1706" fmla="*/ 3797016 w 6886183"/>
              <a:gd name="connsiteY1706" fmla="*/ 2361247 h 2705233"/>
              <a:gd name="connsiteX1707" fmla="*/ 3818007 w 6886183"/>
              <a:gd name="connsiteY1707" fmla="*/ 2356783 h 2705233"/>
              <a:gd name="connsiteX1708" fmla="*/ 672833 w 6886183"/>
              <a:gd name="connsiteY1708" fmla="*/ 2354830 h 2705233"/>
              <a:gd name="connsiteX1709" fmla="*/ 693883 w 6886183"/>
              <a:gd name="connsiteY1709" fmla="*/ 2357056 h 2705233"/>
              <a:gd name="connsiteX1710" fmla="*/ 711409 w 6886183"/>
              <a:gd name="connsiteY1710" fmla="*/ 2360866 h 2705233"/>
              <a:gd name="connsiteX1711" fmla="*/ 729030 w 6886183"/>
              <a:gd name="connsiteY1711" fmla="*/ 2365534 h 2705233"/>
              <a:gd name="connsiteX1712" fmla="*/ 737603 w 6886183"/>
              <a:gd name="connsiteY1712" fmla="*/ 2368105 h 2705233"/>
              <a:gd name="connsiteX1713" fmla="*/ 745699 w 6886183"/>
              <a:gd name="connsiteY1713" fmla="*/ 2370677 h 2705233"/>
              <a:gd name="connsiteX1714" fmla="*/ 760558 w 6886183"/>
              <a:gd name="connsiteY1714" fmla="*/ 2376011 h 2705233"/>
              <a:gd name="connsiteX1715" fmla="*/ 773322 w 6886183"/>
              <a:gd name="connsiteY1715" fmla="*/ 2383631 h 2705233"/>
              <a:gd name="connsiteX1716" fmla="*/ 753033 w 6886183"/>
              <a:gd name="connsiteY1716" fmla="*/ 2382393 h 2705233"/>
              <a:gd name="connsiteX1717" fmla="*/ 736079 w 6886183"/>
              <a:gd name="connsiteY1717" fmla="*/ 2379059 h 2705233"/>
              <a:gd name="connsiteX1718" fmla="*/ 718553 w 6886183"/>
              <a:gd name="connsiteY1718" fmla="*/ 2374582 h 2705233"/>
              <a:gd name="connsiteX1719" fmla="*/ 701694 w 6886183"/>
              <a:gd name="connsiteY1719" fmla="*/ 2369248 h 2705233"/>
              <a:gd name="connsiteX1720" fmla="*/ 697788 w 6886183"/>
              <a:gd name="connsiteY1720" fmla="*/ 2367820 h 2705233"/>
              <a:gd name="connsiteX1721" fmla="*/ 693788 w 6886183"/>
              <a:gd name="connsiteY1721" fmla="*/ 2366296 h 2705233"/>
              <a:gd name="connsiteX1722" fmla="*/ 686358 w 6886183"/>
              <a:gd name="connsiteY1722" fmla="*/ 2363248 h 2705233"/>
              <a:gd name="connsiteX1723" fmla="*/ 672833 w 6886183"/>
              <a:gd name="connsiteY1723" fmla="*/ 2354830 h 2705233"/>
              <a:gd name="connsiteX1724" fmla="*/ 3638770 w 6886183"/>
              <a:gd name="connsiteY1724" fmla="*/ 2354699 h 2705233"/>
              <a:gd name="connsiteX1725" fmla="*/ 3652331 w 6886183"/>
              <a:gd name="connsiteY1725" fmla="*/ 2356104 h 2705233"/>
              <a:gd name="connsiteX1726" fmla="*/ 3614803 w 6886183"/>
              <a:gd name="connsiteY1726" fmla="*/ 2372487 h 2705233"/>
              <a:gd name="connsiteX1727" fmla="*/ 3572322 w 6886183"/>
              <a:gd name="connsiteY1727" fmla="*/ 2377059 h 2705233"/>
              <a:gd name="connsiteX1728" fmla="*/ 3608993 w 6886183"/>
              <a:gd name="connsiteY1728" fmla="*/ 2360581 h 2705233"/>
              <a:gd name="connsiteX1729" fmla="*/ 3638770 w 6886183"/>
              <a:gd name="connsiteY1729" fmla="*/ 2354699 h 2705233"/>
              <a:gd name="connsiteX1730" fmla="*/ 2964007 w 6886183"/>
              <a:gd name="connsiteY1730" fmla="*/ 2353913 h 2705233"/>
              <a:gd name="connsiteX1731" fmla="*/ 2993251 w 6886183"/>
              <a:gd name="connsiteY1731" fmla="*/ 2356199 h 2705233"/>
              <a:gd name="connsiteX1732" fmla="*/ 2948863 w 6886183"/>
              <a:gd name="connsiteY1732" fmla="*/ 2379345 h 2705233"/>
              <a:gd name="connsiteX1733" fmla="*/ 2902191 w 6886183"/>
              <a:gd name="connsiteY1733" fmla="*/ 2386298 h 2705233"/>
              <a:gd name="connsiteX1734" fmla="*/ 2872853 w 6886183"/>
              <a:gd name="connsiteY1734" fmla="*/ 2384298 h 2705233"/>
              <a:gd name="connsiteX1735" fmla="*/ 2878282 w 6886183"/>
              <a:gd name="connsiteY1735" fmla="*/ 2373725 h 2705233"/>
              <a:gd name="connsiteX1736" fmla="*/ 2916383 w 6886183"/>
              <a:gd name="connsiteY1736" fmla="*/ 2360962 h 2705233"/>
              <a:gd name="connsiteX1737" fmla="*/ 2964007 w 6886183"/>
              <a:gd name="connsiteY1737" fmla="*/ 2353913 h 2705233"/>
              <a:gd name="connsiteX1738" fmla="*/ 4038284 w 6886183"/>
              <a:gd name="connsiteY1738" fmla="*/ 2352961 h 2705233"/>
              <a:gd name="connsiteX1739" fmla="*/ 4023711 w 6886183"/>
              <a:gd name="connsiteY1739" fmla="*/ 2359057 h 2705233"/>
              <a:gd name="connsiteX1740" fmla="*/ 4009042 w 6886183"/>
              <a:gd name="connsiteY1740" fmla="*/ 2361057 h 2705233"/>
              <a:gd name="connsiteX1741" fmla="*/ 4024282 w 6886183"/>
              <a:gd name="connsiteY1741" fmla="*/ 2354866 h 2705233"/>
              <a:gd name="connsiteX1742" fmla="*/ 4038284 w 6886183"/>
              <a:gd name="connsiteY1742" fmla="*/ 2352961 h 2705233"/>
              <a:gd name="connsiteX1743" fmla="*/ 1262543 w 6886183"/>
              <a:gd name="connsiteY1743" fmla="*/ 2351722 h 2705233"/>
              <a:gd name="connsiteX1744" fmla="*/ 1285402 w 6886183"/>
              <a:gd name="connsiteY1744" fmla="*/ 2352293 h 2705233"/>
              <a:gd name="connsiteX1745" fmla="*/ 1309976 w 6886183"/>
              <a:gd name="connsiteY1745" fmla="*/ 2354484 h 2705233"/>
              <a:gd name="connsiteX1746" fmla="*/ 1350458 w 6886183"/>
              <a:gd name="connsiteY1746" fmla="*/ 2362199 h 2705233"/>
              <a:gd name="connsiteX1747" fmla="*/ 1359983 w 6886183"/>
              <a:gd name="connsiteY1747" fmla="*/ 2370581 h 2705233"/>
              <a:gd name="connsiteX1748" fmla="*/ 1351982 w 6886183"/>
              <a:gd name="connsiteY1748" fmla="*/ 2373820 h 2705233"/>
              <a:gd name="connsiteX1749" fmla="*/ 1336266 w 6886183"/>
              <a:gd name="connsiteY1749" fmla="*/ 2375154 h 2705233"/>
              <a:gd name="connsiteX1750" fmla="*/ 1314644 w 6886183"/>
              <a:gd name="connsiteY1750" fmla="*/ 2375154 h 2705233"/>
              <a:gd name="connsiteX1751" fmla="*/ 1290450 w 6886183"/>
              <a:gd name="connsiteY1751" fmla="*/ 2373249 h 2705233"/>
              <a:gd name="connsiteX1752" fmla="*/ 1267209 w 6886183"/>
              <a:gd name="connsiteY1752" fmla="*/ 2370010 h 2705233"/>
              <a:gd name="connsiteX1753" fmla="*/ 1248159 w 6886183"/>
              <a:gd name="connsiteY1753" fmla="*/ 2365629 h 2705233"/>
              <a:gd name="connsiteX1754" fmla="*/ 1262543 w 6886183"/>
              <a:gd name="connsiteY1754" fmla="*/ 2351722 h 2705233"/>
              <a:gd name="connsiteX1755" fmla="*/ 3414078 w 6886183"/>
              <a:gd name="connsiteY1755" fmla="*/ 2351115 h 2705233"/>
              <a:gd name="connsiteX1756" fmla="*/ 3434797 w 6886183"/>
              <a:gd name="connsiteY1756" fmla="*/ 2352580 h 2705233"/>
              <a:gd name="connsiteX1757" fmla="*/ 3390709 w 6886183"/>
              <a:gd name="connsiteY1757" fmla="*/ 2373249 h 2705233"/>
              <a:gd name="connsiteX1758" fmla="*/ 3352621 w 6886183"/>
              <a:gd name="connsiteY1758" fmla="*/ 2380202 h 2705233"/>
              <a:gd name="connsiteX1759" fmla="*/ 3331383 w 6886183"/>
              <a:gd name="connsiteY1759" fmla="*/ 2378869 h 2705233"/>
              <a:gd name="connsiteX1760" fmla="*/ 3375287 w 6886183"/>
              <a:gd name="connsiteY1760" fmla="*/ 2358009 h 2705233"/>
              <a:gd name="connsiteX1761" fmla="*/ 3414078 w 6886183"/>
              <a:gd name="connsiteY1761" fmla="*/ 2351115 h 2705233"/>
              <a:gd name="connsiteX1762" fmla="*/ 3905792 w 6886183"/>
              <a:gd name="connsiteY1762" fmla="*/ 2350865 h 2705233"/>
              <a:gd name="connsiteX1763" fmla="*/ 3880169 w 6886183"/>
              <a:gd name="connsiteY1763" fmla="*/ 2361818 h 2705233"/>
              <a:gd name="connsiteX1764" fmla="*/ 3855214 w 6886183"/>
              <a:gd name="connsiteY1764" fmla="*/ 2364771 h 2705233"/>
              <a:gd name="connsiteX1765" fmla="*/ 3880836 w 6886183"/>
              <a:gd name="connsiteY1765" fmla="*/ 2354008 h 2705233"/>
              <a:gd name="connsiteX1766" fmla="*/ 3905792 w 6886183"/>
              <a:gd name="connsiteY1766" fmla="*/ 2350865 h 2705233"/>
              <a:gd name="connsiteX1767" fmla="*/ 3733151 w 6886183"/>
              <a:gd name="connsiteY1767" fmla="*/ 2348019 h 2705233"/>
              <a:gd name="connsiteX1768" fmla="*/ 3744629 w 6886183"/>
              <a:gd name="connsiteY1768" fmla="*/ 2349150 h 2705233"/>
              <a:gd name="connsiteX1769" fmla="*/ 3710339 w 6886183"/>
              <a:gd name="connsiteY1769" fmla="*/ 2364200 h 2705233"/>
              <a:gd name="connsiteX1770" fmla="*/ 3673001 w 6886183"/>
              <a:gd name="connsiteY1770" fmla="*/ 2368581 h 2705233"/>
              <a:gd name="connsiteX1771" fmla="*/ 3706529 w 6886183"/>
              <a:gd name="connsiteY1771" fmla="*/ 2353532 h 2705233"/>
              <a:gd name="connsiteX1772" fmla="*/ 3733151 w 6886183"/>
              <a:gd name="connsiteY1772" fmla="*/ 2348019 h 2705233"/>
              <a:gd name="connsiteX1773" fmla="*/ 1035650 w 6886183"/>
              <a:gd name="connsiteY1773" fmla="*/ 2348008 h 2705233"/>
              <a:gd name="connsiteX1774" fmla="*/ 1057271 w 6886183"/>
              <a:gd name="connsiteY1774" fmla="*/ 2350199 h 2705233"/>
              <a:gd name="connsiteX1775" fmla="*/ 1080131 w 6886183"/>
              <a:gd name="connsiteY1775" fmla="*/ 2353628 h 2705233"/>
              <a:gd name="connsiteX1776" fmla="*/ 1117088 w 6886183"/>
              <a:gd name="connsiteY1776" fmla="*/ 2362391 h 2705233"/>
              <a:gd name="connsiteX1777" fmla="*/ 1125280 w 6886183"/>
              <a:gd name="connsiteY1777" fmla="*/ 2370296 h 2705233"/>
              <a:gd name="connsiteX1778" fmla="*/ 1116707 w 6886183"/>
              <a:gd name="connsiteY1778" fmla="*/ 2372487 h 2705233"/>
              <a:gd name="connsiteX1779" fmla="*/ 1100515 w 6886183"/>
              <a:gd name="connsiteY1779" fmla="*/ 2372487 h 2705233"/>
              <a:gd name="connsiteX1780" fmla="*/ 1079560 w 6886183"/>
              <a:gd name="connsiteY1780" fmla="*/ 2370773 h 2705233"/>
              <a:gd name="connsiteX1781" fmla="*/ 1056795 w 6886183"/>
              <a:gd name="connsiteY1781" fmla="*/ 2367344 h 2705233"/>
              <a:gd name="connsiteX1782" fmla="*/ 1019171 w 6886183"/>
              <a:gd name="connsiteY1782" fmla="*/ 2358295 h 2705233"/>
              <a:gd name="connsiteX1783" fmla="*/ 1035650 w 6886183"/>
              <a:gd name="connsiteY1783" fmla="*/ 2348008 h 2705233"/>
              <a:gd name="connsiteX1784" fmla="*/ 3127079 w 6886183"/>
              <a:gd name="connsiteY1784" fmla="*/ 2346376 h 2705233"/>
              <a:gd name="connsiteX1785" fmla="*/ 3154510 w 6886183"/>
              <a:gd name="connsiteY1785" fmla="*/ 2348579 h 2705233"/>
              <a:gd name="connsiteX1786" fmla="*/ 3109361 w 6886183"/>
              <a:gd name="connsiteY1786" fmla="*/ 2371725 h 2705233"/>
              <a:gd name="connsiteX1787" fmla="*/ 3063545 w 6886183"/>
              <a:gd name="connsiteY1787" fmla="*/ 2379249 h 2705233"/>
              <a:gd name="connsiteX1788" fmla="*/ 3035444 w 6886183"/>
              <a:gd name="connsiteY1788" fmla="*/ 2377440 h 2705233"/>
              <a:gd name="connsiteX1789" fmla="*/ 3080215 w 6886183"/>
              <a:gd name="connsiteY1789" fmla="*/ 2354103 h 2705233"/>
              <a:gd name="connsiteX1790" fmla="*/ 3127079 w 6886183"/>
              <a:gd name="connsiteY1790" fmla="*/ 2346376 h 2705233"/>
              <a:gd name="connsiteX1791" fmla="*/ 4104293 w 6886183"/>
              <a:gd name="connsiteY1791" fmla="*/ 2346007 h 2705233"/>
              <a:gd name="connsiteX1792" fmla="*/ 4092863 w 6886183"/>
              <a:gd name="connsiteY1792" fmla="*/ 2350674 h 2705233"/>
              <a:gd name="connsiteX1793" fmla="*/ 4082290 w 6886183"/>
              <a:gd name="connsiteY1793" fmla="*/ 2352103 h 2705233"/>
              <a:gd name="connsiteX1794" fmla="*/ 4093625 w 6886183"/>
              <a:gd name="connsiteY1794" fmla="*/ 2347436 h 2705233"/>
              <a:gd name="connsiteX1795" fmla="*/ 4104293 w 6886183"/>
              <a:gd name="connsiteY1795" fmla="*/ 2346007 h 2705233"/>
              <a:gd name="connsiteX1796" fmla="*/ 3981896 w 6886183"/>
              <a:gd name="connsiteY1796" fmla="*/ 2343817 h 2705233"/>
              <a:gd name="connsiteX1797" fmla="*/ 3959322 w 6886183"/>
              <a:gd name="connsiteY1797" fmla="*/ 2353342 h 2705233"/>
              <a:gd name="connsiteX1798" fmla="*/ 3939034 w 6886183"/>
              <a:gd name="connsiteY1798" fmla="*/ 2355913 h 2705233"/>
              <a:gd name="connsiteX1799" fmla="*/ 3961608 w 6886183"/>
              <a:gd name="connsiteY1799" fmla="*/ 2346388 h 2705233"/>
              <a:gd name="connsiteX1800" fmla="*/ 3981896 w 6886183"/>
              <a:gd name="connsiteY1800" fmla="*/ 2343817 h 2705233"/>
              <a:gd name="connsiteX1801" fmla="*/ 3533009 w 6886183"/>
              <a:gd name="connsiteY1801" fmla="*/ 2343496 h 2705233"/>
              <a:gd name="connsiteX1802" fmla="*/ 3550035 w 6886183"/>
              <a:gd name="connsiteY1802" fmla="*/ 2345055 h 2705233"/>
              <a:gd name="connsiteX1803" fmla="*/ 3508126 w 6886183"/>
              <a:gd name="connsiteY1803" fmla="*/ 2364105 h 2705233"/>
              <a:gd name="connsiteX1804" fmla="*/ 3455462 w 6886183"/>
              <a:gd name="connsiteY1804" fmla="*/ 2369344 h 2705233"/>
              <a:gd name="connsiteX1805" fmla="*/ 3497269 w 6886183"/>
              <a:gd name="connsiteY1805" fmla="*/ 2350294 h 2705233"/>
              <a:gd name="connsiteX1806" fmla="*/ 3533009 w 6886183"/>
              <a:gd name="connsiteY1806" fmla="*/ 2343496 h 2705233"/>
              <a:gd name="connsiteX1807" fmla="*/ 1506385 w 6886183"/>
              <a:gd name="connsiteY1807" fmla="*/ 2342102 h 2705233"/>
              <a:gd name="connsiteX1808" fmla="*/ 1531150 w 6886183"/>
              <a:gd name="connsiteY1808" fmla="*/ 2343150 h 2705233"/>
              <a:gd name="connsiteX1809" fmla="*/ 1571727 w 6886183"/>
              <a:gd name="connsiteY1809" fmla="*/ 2350198 h 2705233"/>
              <a:gd name="connsiteX1810" fmla="*/ 1550581 w 6886183"/>
              <a:gd name="connsiteY1810" fmla="*/ 2365057 h 2705233"/>
              <a:gd name="connsiteX1811" fmla="*/ 1527054 w 6886183"/>
              <a:gd name="connsiteY1811" fmla="*/ 2366010 h 2705233"/>
              <a:gd name="connsiteX1812" fmla="*/ 1503528 w 6886183"/>
              <a:gd name="connsiteY1812" fmla="*/ 2365057 h 2705233"/>
              <a:gd name="connsiteX1813" fmla="*/ 1463713 w 6886183"/>
              <a:gd name="connsiteY1813" fmla="*/ 2358390 h 2705233"/>
              <a:gd name="connsiteX1814" fmla="*/ 1452664 w 6886183"/>
              <a:gd name="connsiteY1814" fmla="*/ 2348865 h 2705233"/>
              <a:gd name="connsiteX1815" fmla="*/ 1481239 w 6886183"/>
              <a:gd name="connsiteY1815" fmla="*/ 2342959 h 2705233"/>
              <a:gd name="connsiteX1816" fmla="*/ 1506385 w 6886183"/>
              <a:gd name="connsiteY1816" fmla="*/ 2342102 h 2705233"/>
              <a:gd name="connsiteX1817" fmla="*/ 2311686 w 6886183"/>
              <a:gd name="connsiteY1817" fmla="*/ 2340805 h 2705233"/>
              <a:gd name="connsiteX1818" fmla="*/ 2348786 w 6886183"/>
              <a:gd name="connsiteY1818" fmla="*/ 2345055 h 2705233"/>
              <a:gd name="connsiteX1819" fmla="*/ 2313163 w 6886183"/>
              <a:gd name="connsiteY1819" fmla="*/ 2366201 h 2705233"/>
              <a:gd name="connsiteX1820" fmla="*/ 2226770 w 6886183"/>
              <a:gd name="connsiteY1820" fmla="*/ 2366963 h 2705233"/>
              <a:gd name="connsiteX1821" fmla="*/ 2259441 w 6886183"/>
              <a:gd name="connsiteY1821" fmla="*/ 2345627 h 2705233"/>
              <a:gd name="connsiteX1822" fmla="*/ 2311686 w 6886183"/>
              <a:gd name="connsiteY1822" fmla="*/ 2340805 h 2705233"/>
              <a:gd name="connsiteX1823" fmla="*/ 2542434 w 6886183"/>
              <a:gd name="connsiteY1823" fmla="*/ 2340388 h 2705233"/>
              <a:gd name="connsiteX1824" fmla="*/ 2577009 w 6886183"/>
              <a:gd name="connsiteY1824" fmla="*/ 2344198 h 2705233"/>
              <a:gd name="connsiteX1825" fmla="*/ 2535671 w 6886183"/>
              <a:gd name="connsiteY1825" fmla="*/ 2366772 h 2705233"/>
              <a:gd name="connsiteX1826" fmla="*/ 2510239 w 6886183"/>
              <a:gd name="connsiteY1826" fmla="*/ 2370582 h 2705233"/>
              <a:gd name="connsiteX1827" fmla="*/ 2485950 w 6886183"/>
              <a:gd name="connsiteY1827" fmla="*/ 2372201 h 2705233"/>
              <a:gd name="connsiteX1828" fmla="*/ 2451278 w 6886183"/>
              <a:gd name="connsiteY1828" fmla="*/ 2368772 h 2705233"/>
              <a:gd name="connsiteX1829" fmla="*/ 2490141 w 6886183"/>
              <a:gd name="connsiteY1829" fmla="*/ 2346007 h 2705233"/>
              <a:gd name="connsiteX1830" fmla="*/ 2542434 w 6886183"/>
              <a:gd name="connsiteY1830" fmla="*/ 2340388 h 2705233"/>
              <a:gd name="connsiteX1831" fmla="*/ 3825853 w 6886183"/>
              <a:gd name="connsiteY1831" fmla="*/ 2340055 h 2705233"/>
              <a:gd name="connsiteX1832" fmla="*/ 3835593 w 6886183"/>
              <a:gd name="connsiteY1832" fmla="*/ 2341150 h 2705233"/>
              <a:gd name="connsiteX1833" fmla="*/ 3803684 w 6886183"/>
              <a:gd name="connsiteY1833" fmla="*/ 2354771 h 2705233"/>
              <a:gd name="connsiteX1834" fmla="*/ 3769775 w 6886183"/>
              <a:gd name="connsiteY1834" fmla="*/ 2358866 h 2705233"/>
              <a:gd name="connsiteX1835" fmla="*/ 3802541 w 6886183"/>
              <a:gd name="connsiteY1835" fmla="*/ 2344674 h 2705233"/>
              <a:gd name="connsiteX1836" fmla="*/ 3825853 w 6886183"/>
              <a:gd name="connsiteY1836" fmla="*/ 2340055 h 2705233"/>
              <a:gd name="connsiteX1837" fmla="*/ 2048648 w 6886183"/>
              <a:gd name="connsiteY1837" fmla="*/ 2338102 h 2705233"/>
              <a:gd name="connsiteX1838" fmla="*/ 2087319 w 6886183"/>
              <a:gd name="connsiteY1838" fmla="*/ 2342578 h 2705233"/>
              <a:gd name="connsiteX1839" fmla="*/ 2060458 w 6886183"/>
              <a:gd name="connsiteY1839" fmla="*/ 2362200 h 2705233"/>
              <a:gd name="connsiteX1840" fmla="*/ 2009691 w 6886183"/>
              <a:gd name="connsiteY1840" fmla="*/ 2365819 h 2705233"/>
              <a:gd name="connsiteX1841" fmla="*/ 1969781 w 6886183"/>
              <a:gd name="connsiteY1841" fmla="*/ 2361057 h 2705233"/>
              <a:gd name="connsiteX1842" fmla="*/ 1998356 w 6886183"/>
              <a:gd name="connsiteY1842" fmla="*/ 2341340 h 2705233"/>
              <a:gd name="connsiteX1843" fmla="*/ 2023597 w 6886183"/>
              <a:gd name="connsiteY1843" fmla="*/ 2338768 h 2705233"/>
              <a:gd name="connsiteX1844" fmla="*/ 2048648 w 6886183"/>
              <a:gd name="connsiteY1844" fmla="*/ 2338102 h 2705233"/>
              <a:gd name="connsiteX1845" fmla="*/ 3276618 w 6886183"/>
              <a:gd name="connsiteY1845" fmla="*/ 2338042 h 2705233"/>
              <a:gd name="connsiteX1846" fmla="*/ 3299952 w 6886183"/>
              <a:gd name="connsiteY1846" fmla="*/ 2340292 h 2705233"/>
              <a:gd name="connsiteX1847" fmla="*/ 3252428 w 6886183"/>
              <a:gd name="connsiteY1847" fmla="*/ 2363247 h 2705233"/>
              <a:gd name="connsiteX1848" fmla="*/ 3208802 w 6886183"/>
              <a:gd name="connsiteY1848" fmla="*/ 2370772 h 2705233"/>
              <a:gd name="connsiteX1849" fmla="*/ 3184609 w 6886183"/>
              <a:gd name="connsiteY1849" fmla="*/ 2368486 h 2705233"/>
              <a:gd name="connsiteX1850" fmla="*/ 3233282 w 6886183"/>
              <a:gd name="connsiteY1850" fmla="*/ 2345150 h 2705233"/>
              <a:gd name="connsiteX1851" fmla="*/ 3276618 w 6886183"/>
              <a:gd name="connsiteY1851" fmla="*/ 2338042 h 2705233"/>
              <a:gd name="connsiteX1852" fmla="*/ 4053239 w 6886183"/>
              <a:gd name="connsiteY1852" fmla="*/ 2336863 h 2705233"/>
              <a:gd name="connsiteX1853" fmla="*/ 4034951 w 6886183"/>
              <a:gd name="connsiteY1853" fmla="*/ 2344579 h 2705233"/>
              <a:gd name="connsiteX1854" fmla="*/ 4017996 w 6886183"/>
              <a:gd name="connsiteY1854" fmla="*/ 2346865 h 2705233"/>
              <a:gd name="connsiteX1855" fmla="*/ 4037046 w 6886183"/>
              <a:gd name="connsiteY1855" fmla="*/ 2338864 h 2705233"/>
              <a:gd name="connsiteX1856" fmla="*/ 4053239 w 6886183"/>
              <a:gd name="connsiteY1856" fmla="*/ 2336863 h 2705233"/>
              <a:gd name="connsiteX1857" fmla="*/ 2749658 w 6886183"/>
              <a:gd name="connsiteY1857" fmla="*/ 2336267 h 2705233"/>
              <a:gd name="connsiteX1858" fmla="*/ 2784270 w 6886183"/>
              <a:gd name="connsiteY1858" fmla="*/ 2338958 h 2705233"/>
              <a:gd name="connsiteX1859" fmla="*/ 2780747 w 6886183"/>
              <a:gd name="connsiteY1859" fmla="*/ 2350103 h 2705233"/>
              <a:gd name="connsiteX1860" fmla="*/ 2742646 w 6886183"/>
              <a:gd name="connsiteY1860" fmla="*/ 2362866 h 2705233"/>
              <a:gd name="connsiteX1861" fmla="*/ 2692645 w 6886183"/>
              <a:gd name="connsiteY1861" fmla="*/ 2369438 h 2705233"/>
              <a:gd name="connsiteX1862" fmla="*/ 2658260 w 6886183"/>
              <a:gd name="connsiteY1862" fmla="*/ 2366771 h 2705233"/>
              <a:gd name="connsiteX1863" fmla="*/ 2698549 w 6886183"/>
              <a:gd name="connsiteY1863" fmla="*/ 2343149 h 2705233"/>
              <a:gd name="connsiteX1864" fmla="*/ 2749658 w 6886183"/>
              <a:gd name="connsiteY1864" fmla="*/ 2336267 h 2705233"/>
              <a:gd name="connsiteX1865" fmla="*/ 3639807 w 6886183"/>
              <a:gd name="connsiteY1865" fmla="*/ 2335970 h 2705233"/>
              <a:gd name="connsiteX1866" fmla="*/ 3654427 w 6886183"/>
              <a:gd name="connsiteY1866" fmla="*/ 2337625 h 2705233"/>
              <a:gd name="connsiteX1867" fmla="*/ 3613660 w 6886183"/>
              <a:gd name="connsiteY1867" fmla="*/ 2356199 h 2705233"/>
              <a:gd name="connsiteX1868" fmla="*/ 3566036 w 6886183"/>
              <a:gd name="connsiteY1868" fmla="*/ 2361152 h 2705233"/>
              <a:gd name="connsiteX1869" fmla="*/ 3607755 w 6886183"/>
              <a:gd name="connsiteY1869" fmla="*/ 2342102 h 2705233"/>
              <a:gd name="connsiteX1870" fmla="*/ 3639807 w 6886183"/>
              <a:gd name="connsiteY1870" fmla="*/ 2335970 h 2705233"/>
              <a:gd name="connsiteX1871" fmla="*/ 3910067 w 6886183"/>
              <a:gd name="connsiteY1871" fmla="*/ 2333041 h 2705233"/>
              <a:gd name="connsiteX1872" fmla="*/ 3918461 w 6886183"/>
              <a:gd name="connsiteY1872" fmla="*/ 2333910 h 2705233"/>
              <a:gd name="connsiteX1873" fmla="*/ 3889219 w 6886183"/>
              <a:gd name="connsiteY1873" fmla="*/ 2346388 h 2705233"/>
              <a:gd name="connsiteX1874" fmla="*/ 3860644 w 6886183"/>
              <a:gd name="connsiteY1874" fmla="*/ 2349722 h 2705233"/>
              <a:gd name="connsiteX1875" fmla="*/ 3889886 w 6886183"/>
              <a:gd name="connsiteY1875" fmla="*/ 2337244 h 2705233"/>
              <a:gd name="connsiteX1876" fmla="*/ 3910067 w 6886183"/>
              <a:gd name="connsiteY1876" fmla="*/ 2333041 h 2705233"/>
              <a:gd name="connsiteX1877" fmla="*/ 4120676 w 6886183"/>
              <a:gd name="connsiteY1877" fmla="*/ 2330576 h 2705233"/>
              <a:gd name="connsiteX1878" fmla="*/ 4106294 w 6886183"/>
              <a:gd name="connsiteY1878" fmla="*/ 2336482 h 2705233"/>
              <a:gd name="connsiteX1879" fmla="*/ 4092578 w 6886183"/>
              <a:gd name="connsiteY1879" fmla="*/ 2338387 h 2705233"/>
              <a:gd name="connsiteX1880" fmla="*/ 4106960 w 6886183"/>
              <a:gd name="connsiteY1880" fmla="*/ 2332386 h 2705233"/>
              <a:gd name="connsiteX1881" fmla="*/ 4120676 w 6886183"/>
              <a:gd name="connsiteY1881" fmla="*/ 2330576 h 2705233"/>
              <a:gd name="connsiteX1882" fmla="*/ 3406804 w 6886183"/>
              <a:gd name="connsiteY1882" fmla="*/ 2330339 h 2705233"/>
              <a:gd name="connsiteX1883" fmla="*/ 3427372 w 6886183"/>
              <a:gd name="connsiteY1883" fmla="*/ 2332958 h 2705233"/>
              <a:gd name="connsiteX1884" fmla="*/ 3379759 w 6886183"/>
              <a:gd name="connsiteY1884" fmla="*/ 2355056 h 2705233"/>
              <a:gd name="connsiteX1885" fmla="*/ 3317478 w 6886183"/>
              <a:gd name="connsiteY1885" fmla="*/ 2360485 h 2705233"/>
              <a:gd name="connsiteX1886" fmla="*/ 3365097 w 6886183"/>
              <a:gd name="connsiteY1886" fmla="*/ 2337721 h 2705233"/>
              <a:gd name="connsiteX1887" fmla="*/ 3406804 w 6886183"/>
              <a:gd name="connsiteY1887" fmla="*/ 2330339 h 2705233"/>
              <a:gd name="connsiteX1888" fmla="*/ 2939338 w 6886183"/>
              <a:gd name="connsiteY1888" fmla="*/ 2328767 h 2705233"/>
              <a:gd name="connsiteX1889" fmla="*/ 2970676 w 6886183"/>
              <a:gd name="connsiteY1889" fmla="*/ 2331720 h 2705233"/>
              <a:gd name="connsiteX1890" fmla="*/ 2963626 w 6886183"/>
              <a:gd name="connsiteY1890" fmla="*/ 2342960 h 2705233"/>
              <a:gd name="connsiteX1891" fmla="*/ 2925527 w 6886183"/>
              <a:gd name="connsiteY1891" fmla="*/ 2355818 h 2705233"/>
              <a:gd name="connsiteX1892" fmla="*/ 2875236 w 6886183"/>
              <a:gd name="connsiteY1892" fmla="*/ 2363248 h 2705233"/>
              <a:gd name="connsiteX1893" fmla="*/ 2843137 w 6886183"/>
              <a:gd name="connsiteY1893" fmla="*/ 2360581 h 2705233"/>
              <a:gd name="connsiteX1894" fmla="*/ 2887807 w 6886183"/>
              <a:gd name="connsiteY1894" fmla="*/ 2336197 h 2705233"/>
              <a:gd name="connsiteX1895" fmla="*/ 2914479 w 6886183"/>
              <a:gd name="connsiteY1895" fmla="*/ 2331244 h 2705233"/>
              <a:gd name="connsiteX1896" fmla="*/ 2939338 w 6886183"/>
              <a:gd name="connsiteY1896" fmla="*/ 2328767 h 2705233"/>
              <a:gd name="connsiteX1897" fmla="*/ 3741164 w 6886183"/>
              <a:gd name="connsiteY1897" fmla="*/ 2328528 h 2705233"/>
              <a:gd name="connsiteX1898" fmla="*/ 3753582 w 6886183"/>
              <a:gd name="connsiteY1898" fmla="*/ 2330100 h 2705233"/>
              <a:gd name="connsiteX1899" fmla="*/ 3715006 w 6886183"/>
              <a:gd name="connsiteY1899" fmla="*/ 2346959 h 2705233"/>
              <a:gd name="connsiteX1900" fmla="*/ 3673572 w 6886183"/>
              <a:gd name="connsiteY1900" fmla="*/ 2351246 h 2705233"/>
              <a:gd name="connsiteX1901" fmla="*/ 3711672 w 6886183"/>
              <a:gd name="connsiteY1901" fmla="*/ 2334386 h 2705233"/>
              <a:gd name="connsiteX1902" fmla="*/ 3741164 w 6886183"/>
              <a:gd name="connsiteY1902" fmla="*/ 2328528 h 2705233"/>
              <a:gd name="connsiteX1903" fmla="*/ 3996279 w 6886183"/>
              <a:gd name="connsiteY1903" fmla="*/ 2327148 h 2705233"/>
              <a:gd name="connsiteX1904" fmla="*/ 3971323 w 6886183"/>
              <a:gd name="connsiteY1904" fmla="*/ 2337816 h 2705233"/>
              <a:gd name="connsiteX1905" fmla="*/ 3946558 w 6886183"/>
              <a:gd name="connsiteY1905" fmla="*/ 2341150 h 2705233"/>
              <a:gd name="connsiteX1906" fmla="*/ 3971514 w 6886183"/>
              <a:gd name="connsiteY1906" fmla="*/ 2330291 h 2705233"/>
              <a:gd name="connsiteX1907" fmla="*/ 3996279 w 6886183"/>
              <a:gd name="connsiteY1907" fmla="*/ 2327148 h 2705233"/>
              <a:gd name="connsiteX1908" fmla="*/ 4180588 w 6886183"/>
              <a:gd name="connsiteY1908" fmla="*/ 2325434 h 2705233"/>
              <a:gd name="connsiteX1909" fmla="*/ 4168586 w 6886183"/>
              <a:gd name="connsiteY1909" fmla="*/ 2330196 h 2705233"/>
              <a:gd name="connsiteX1910" fmla="*/ 4160871 w 6886183"/>
              <a:gd name="connsiteY1910" fmla="*/ 2330863 h 2705233"/>
              <a:gd name="connsiteX1911" fmla="*/ 4172206 w 6886183"/>
              <a:gd name="connsiteY1911" fmla="*/ 2326481 h 2705233"/>
              <a:gd name="connsiteX1912" fmla="*/ 4180588 w 6886183"/>
              <a:gd name="connsiteY1912" fmla="*/ 2325434 h 2705233"/>
              <a:gd name="connsiteX1913" fmla="*/ 1721366 w 6886183"/>
              <a:gd name="connsiteY1913" fmla="*/ 2325338 h 2705233"/>
              <a:gd name="connsiteX1914" fmla="*/ 1746512 w 6886183"/>
              <a:gd name="connsiteY1914" fmla="*/ 2325338 h 2705233"/>
              <a:gd name="connsiteX1915" fmla="*/ 1787184 w 6886183"/>
              <a:gd name="connsiteY1915" fmla="*/ 2331148 h 2705233"/>
              <a:gd name="connsiteX1916" fmla="*/ 1764990 w 6886183"/>
              <a:gd name="connsiteY1916" fmla="*/ 2349151 h 2705233"/>
              <a:gd name="connsiteX1917" fmla="*/ 1740702 w 6886183"/>
              <a:gd name="connsiteY1917" fmla="*/ 2350865 h 2705233"/>
              <a:gd name="connsiteX1918" fmla="*/ 1716032 w 6886183"/>
              <a:gd name="connsiteY1918" fmla="*/ 2350865 h 2705233"/>
              <a:gd name="connsiteX1919" fmla="*/ 1674980 w 6886183"/>
              <a:gd name="connsiteY1919" fmla="*/ 2345150 h 2705233"/>
              <a:gd name="connsiteX1920" fmla="*/ 1696410 w 6886183"/>
              <a:gd name="connsiteY1920" fmla="*/ 2326957 h 2705233"/>
              <a:gd name="connsiteX1921" fmla="*/ 1708698 w 6886183"/>
              <a:gd name="connsiteY1921" fmla="*/ 2325910 h 2705233"/>
              <a:gd name="connsiteX1922" fmla="*/ 1721366 w 6886183"/>
              <a:gd name="connsiteY1922" fmla="*/ 2325338 h 2705233"/>
              <a:gd name="connsiteX1923" fmla="*/ 3529283 w 6886183"/>
              <a:gd name="connsiteY1923" fmla="*/ 2322993 h 2705233"/>
              <a:gd name="connsiteX1924" fmla="*/ 3549082 w 6886183"/>
              <a:gd name="connsiteY1924" fmla="*/ 2324671 h 2705233"/>
              <a:gd name="connsiteX1925" fmla="*/ 3504031 w 6886183"/>
              <a:gd name="connsiteY1925" fmla="*/ 2346198 h 2705233"/>
              <a:gd name="connsiteX1926" fmla="*/ 3445272 w 6886183"/>
              <a:gd name="connsiteY1926" fmla="*/ 2352008 h 2705233"/>
              <a:gd name="connsiteX1927" fmla="*/ 3490126 w 6886183"/>
              <a:gd name="connsiteY1927" fmla="*/ 2330386 h 2705233"/>
              <a:gd name="connsiteX1928" fmla="*/ 3529283 w 6886183"/>
              <a:gd name="connsiteY1928" fmla="*/ 2322993 h 2705233"/>
              <a:gd name="connsiteX1929" fmla="*/ 3105646 w 6886183"/>
              <a:gd name="connsiteY1929" fmla="*/ 2322862 h 2705233"/>
              <a:gd name="connsiteX1930" fmla="*/ 3134221 w 6886183"/>
              <a:gd name="connsiteY1930" fmla="*/ 2325433 h 2705233"/>
              <a:gd name="connsiteX1931" fmla="*/ 3086596 w 6886183"/>
              <a:gd name="connsiteY1931" fmla="*/ 2350294 h 2705233"/>
              <a:gd name="connsiteX1932" fmla="*/ 3061638 w 6886183"/>
              <a:gd name="connsiteY1932" fmla="*/ 2355247 h 2705233"/>
              <a:gd name="connsiteX1933" fmla="*/ 3038969 w 6886183"/>
              <a:gd name="connsiteY1933" fmla="*/ 2357914 h 2705233"/>
              <a:gd name="connsiteX1934" fmla="*/ 3009347 w 6886183"/>
              <a:gd name="connsiteY1934" fmla="*/ 2355628 h 2705233"/>
              <a:gd name="connsiteX1935" fmla="*/ 3056972 w 6886183"/>
              <a:gd name="connsiteY1935" fmla="*/ 2330577 h 2705233"/>
              <a:gd name="connsiteX1936" fmla="*/ 3105646 w 6886183"/>
              <a:gd name="connsiteY1936" fmla="*/ 2322862 h 2705233"/>
              <a:gd name="connsiteX1937" fmla="*/ 4066288 w 6886183"/>
              <a:gd name="connsiteY1937" fmla="*/ 2321433 h 2705233"/>
              <a:gd name="connsiteX1938" fmla="*/ 4045333 w 6886183"/>
              <a:gd name="connsiteY1938" fmla="*/ 2330386 h 2705233"/>
              <a:gd name="connsiteX1939" fmla="*/ 4024378 w 6886183"/>
              <a:gd name="connsiteY1939" fmla="*/ 2333053 h 2705233"/>
              <a:gd name="connsiteX1940" fmla="*/ 4046000 w 6886183"/>
              <a:gd name="connsiteY1940" fmla="*/ 2324100 h 2705233"/>
              <a:gd name="connsiteX1941" fmla="*/ 4066288 w 6886183"/>
              <a:gd name="connsiteY1941" fmla="*/ 2321433 h 2705233"/>
              <a:gd name="connsiteX1942" fmla="*/ 3834414 w 6886183"/>
              <a:gd name="connsiteY1942" fmla="*/ 2321409 h 2705233"/>
              <a:gd name="connsiteX1943" fmla="*/ 3844927 w 6886183"/>
              <a:gd name="connsiteY1943" fmla="*/ 2322671 h 2705233"/>
              <a:gd name="connsiteX1944" fmla="*/ 3811018 w 6886183"/>
              <a:gd name="connsiteY1944" fmla="*/ 2337911 h 2705233"/>
              <a:gd name="connsiteX1945" fmla="*/ 3774061 w 6886183"/>
              <a:gd name="connsiteY1945" fmla="*/ 2342293 h 2705233"/>
              <a:gd name="connsiteX1946" fmla="*/ 3808828 w 6886183"/>
              <a:gd name="connsiteY1946" fmla="*/ 2326862 h 2705233"/>
              <a:gd name="connsiteX1947" fmla="*/ 3834414 w 6886183"/>
              <a:gd name="connsiteY1947" fmla="*/ 2321409 h 2705233"/>
              <a:gd name="connsiteX1948" fmla="*/ 744978 w 6886183"/>
              <a:gd name="connsiteY1948" fmla="*/ 2317206 h 2705233"/>
              <a:gd name="connsiteX1949" fmla="*/ 767707 w 6886183"/>
              <a:gd name="connsiteY1949" fmla="*/ 2318099 h 2705233"/>
              <a:gd name="connsiteX1950" fmla="*/ 811617 w 6886183"/>
              <a:gd name="connsiteY1950" fmla="*/ 2327624 h 2705233"/>
              <a:gd name="connsiteX1951" fmla="*/ 832572 w 6886183"/>
              <a:gd name="connsiteY1951" fmla="*/ 2333625 h 2705233"/>
              <a:gd name="connsiteX1952" fmla="*/ 848955 w 6886183"/>
              <a:gd name="connsiteY1952" fmla="*/ 2339530 h 2705233"/>
              <a:gd name="connsiteX1953" fmla="*/ 854003 w 6886183"/>
              <a:gd name="connsiteY1953" fmla="*/ 2341912 h 2705233"/>
              <a:gd name="connsiteX1954" fmla="*/ 857051 w 6886183"/>
              <a:gd name="connsiteY1954" fmla="*/ 2343912 h 2705233"/>
              <a:gd name="connsiteX1955" fmla="*/ 857813 w 6886183"/>
              <a:gd name="connsiteY1955" fmla="*/ 2346865 h 2705233"/>
              <a:gd name="connsiteX1956" fmla="*/ 838001 w 6886183"/>
              <a:gd name="connsiteY1956" fmla="*/ 2346865 h 2705233"/>
              <a:gd name="connsiteX1957" fmla="*/ 818094 w 6886183"/>
              <a:gd name="connsiteY1957" fmla="*/ 2343531 h 2705233"/>
              <a:gd name="connsiteX1958" fmla="*/ 795710 w 6886183"/>
              <a:gd name="connsiteY1958" fmla="*/ 2338292 h 2705233"/>
              <a:gd name="connsiteX1959" fmla="*/ 784756 w 6886183"/>
              <a:gd name="connsiteY1959" fmla="*/ 2335244 h 2705233"/>
              <a:gd name="connsiteX1960" fmla="*/ 779422 w 6886183"/>
              <a:gd name="connsiteY1960" fmla="*/ 2333720 h 2705233"/>
              <a:gd name="connsiteX1961" fmla="*/ 774184 w 6886183"/>
              <a:gd name="connsiteY1961" fmla="*/ 2332006 h 2705233"/>
              <a:gd name="connsiteX1962" fmla="*/ 756467 w 6886183"/>
              <a:gd name="connsiteY1962" fmla="*/ 2326100 h 2705233"/>
              <a:gd name="connsiteX1963" fmla="*/ 744978 w 6886183"/>
              <a:gd name="connsiteY1963" fmla="*/ 2317206 h 2705233"/>
              <a:gd name="connsiteX1964" fmla="*/ 3643116 w 6886183"/>
              <a:gd name="connsiteY1964" fmla="*/ 2316277 h 2705233"/>
              <a:gd name="connsiteX1965" fmla="*/ 3659571 w 6886183"/>
              <a:gd name="connsiteY1965" fmla="*/ 2318099 h 2705233"/>
              <a:gd name="connsiteX1966" fmla="*/ 3615946 w 6886183"/>
              <a:gd name="connsiteY1966" fmla="*/ 2338006 h 2705233"/>
              <a:gd name="connsiteX1967" fmla="*/ 3564798 w 6886183"/>
              <a:gd name="connsiteY1967" fmla="*/ 2343150 h 2705233"/>
              <a:gd name="connsiteX1968" fmla="*/ 3607374 w 6886183"/>
              <a:gd name="connsiteY1968" fmla="*/ 2323242 h 2705233"/>
              <a:gd name="connsiteX1969" fmla="*/ 3643116 w 6886183"/>
              <a:gd name="connsiteY1969" fmla="*/ 2316277 h 2705233"/>
              <a:gd name="connsiteX1970" fmla="*/ 3918496 w 6886183"/>
              <a:gd name="connsiteY1970" fmla="*/ 2316075 h 2705233"/>
              <a:gd name="connsiteX1971" fmla="*/ 3927890 w 6886183"/>
              <a:gd name="connsiteY1971" fmla="*/ 2317051 h 2705233"/>
              <a:gd name="connsiteX1972" fmla="*/ 3895314 w 6886183"/>
              <a:gd name="connsiteY1972" fmla="*/ 2330957 h 2705233"/>
              <a:gd name="connsiteX1973" fmla="*/ 3863882 w 6886183"/>
              <a:gd name="connsiteY1973" fmla="*/ 2334577 h 2705233"/>
              <a:gd name="connsiteX1974" fmla="*/ 3895600 w 6886183"/>
              <a:gd name="connsiteY1974" fmla="*/ 2320670 h 2705233"/>
              <a:gd name="connsiteX1975" fmla="*/ 3918496 w 6886183"/>
              <a:gd name="connsiteY1975" fmla="*/ 2316075 h 2705233"/>
              <a:gd name="connsiteX1976" fmla="*/ 4135058 w 6886183"/>
              <a:gd name="connsiteY1976" fmla="*/ 2314575 h 2705233"/>
              <a:gd name="connsiteX1977" fmla="*/ 4116008 w 6886183"/>
              <a:gd name="connsiteY1977" fmla="*/ 2322386 h 2705233"/>
              <a:gd name="connsiteX1978" fmla="*/ 4100197 w 6886183"/>
              <a:gd name="connsiteY1978" fmla="*/ 2324481 h 2705233"/>
              <a:gd name="connsiteX1979" fmla="*/ 4119247 w 6886183"/>
              <a:gd name="connsiteY1979" fmla="*/ 2316671 h 2705233"/>
              <a:gd name="connsiteX1980" fmla="*/ 4135058 w 6886183"/>
              <a:gd name="connsiteY1980" fmla="*/ 2314575 h 2705233"/>
              <a:gd name="connsiteX1981" fmla="*/ 2487246 w 6886183"/>
              <a:gd name="connsiteY1981" fmla="*/ 2309872 h 2705233"/>
              <a:gd name="connsiteX1982" fmla="*/ 2526335 w 6886183"/>
              <a:gd name="connsiteY1982" fmla="*/ 2313432 h 2705233"/>
              <a:gd name="connsiteX1983" fmla="*/ 2490808 w 6886183"/>
              <a:gd name="connsiteY1983" fmla="*/ 2337054 h 2705233"/>
              <a:gd name="connsiteX1984" fmla="*/ 2398892 w 6886183"/>
              <a:gd name="connsiteY1984" fmla="*/ 2339530 h 2705233"/>
              <a:gd name="connsiteX1985" fmla="*/ 2433657 w 6886183"/>
              <a:gd name="connsiteY1985" fmla="*/ 2315813 h 2705233"/>
              <a:gd name="connsiteX1986" fmla="*/ 2487246 w 6886183"/>
              <a:gd name="connsiteY1986" fmla="*/ 2309872 h 2705233"/>
              <a:gd name="connsiteX1987" fmla="*/ 3744664 w 6886183"/>
              <a:gd name="connsiteY1987" fmla="*/ 2309587 h 2705233"/>
              <a:gd name="connsiteX1988" fmla="*/ 3758630 w 6886183"/>
              <a:gd name="connsiteY1988" fmla="*/ 2311051 h 2705233"/>
              <a:gd name="connsiteX1989" fmla="*/ 3716149 w 6886183"/>
              <a:gd name="connsiteY1989" fmla="*/ 2330101 h 2705233"/>
              <a:gd name="connsiteX1990" fmla="*/ 3670619 w 6886183"/>
              <a:gd name="connsiteY1990" fmla="*/ 2334673 h 2705233"/>
              <a:gd name="connsiteX1991" fmla="*/ 3713196 w 6886183"/>
              <a:gd name="connsiteY1991" fmla="*/ 2315623 h 2705233"/>
              <a:gd name="connsiteX1992" fmla="*/ 3744664 w 6886183"/>
              <a:gd name="connsiteY1992" fmla="*/ 2309587 h 2705233"/>
              <a:gd name="connsiteX1993" fmla="*/ 4199161 w 6886183"/>
              <a:gd name="connsiteY1993" fmla="*/ 2309146 h 2705233"/>
              <a:gd name="connsiteX1994" fmla="*/ 4184398 w 6886183"/>
              <a:gd name="connsiteY1994" fmla="*/ 2314956 h 2705233"/>
              <a:gd name="connsiteX1995" fmla="*/ 4173253 w 6886183"/>
              <a:gd name="connsiteY1995" fmla="*/ 2316289 h 2705233"/>
              <a:gd name="connsiteX1996" fmla="*/ 4187350 w 6886183"/>
              <a:gd name="connsiteY1996" fmla="*/ 2310574 h 2705233"/>
              <a:gd name="connsiteX1997" fmla="*/ 4199161 w 6886183"/>
              <a:gd name="connsiteY1997" fmla="*/ 2309146 h 2705233"/>
              <a:gd name="connsiteX1998" fmla="*/ 4000136 w 6886183"/>
              <a:gd name="connsiteY1998" fmla="*/ 2309122 h 2705233"/>
              <a:gd name="connsiteX1999" fmla="*/ 4008566 w 6886183"/>
              <a:gd name="connsiteY1999" fmla="*/ 2309812 h 2705233"/>
              <a:gd name="connsiteX2000" fmla="*/ 3979991 w 6886183"/>
              <a:gd name="connsiteY2000" fmla="*/ 2322099 h 2705233"/>
              <a:gd name="connsiteX2001" fmla="*/ 3951416 w 6886183"/>
              <a:gd name="connsiteY2001" fmla="*/ 2325909 h 2705233"/>
              <a:gd name="connsiteX2002" fmla="*/ 3979991 w 6886183"/>
              <a:gd name="connsiteY2002" fmla="*/ 2313432 h 2705233"/>
              <a:gd name="connsiteX2003" fmla="*/ 4000136 w 6886183"/>
              <a:gd name="connsiteY2003" fmla="*/ 2309122 h 2705233"/>
              <a:gd name="connsiteX2004" fmla="*/ 2237890 w 6886183"/>
              <a:gd name="connsiteY2004" fmla="*/ 2308598 h 2705233"/>
              <a:gd name="connsiteX2005" fmla="*/ 2278014 w 6886183"/>
              <a:gd name="connsiteY2005" fmla="*/ 2312956 h 2705233"/>
              <a:gd name="connsiteX2006" fmla="*/ 2245060 w 6886183"/>
              <a:gd name="connsiteY2006" fmla="*/ 2335149 h 2705233"/>
              <a:gd name="connsiteX2007" fmla="*/ 2192286 w 6886183"/>
              <a:gd name="connsiteY2007" fmla="*/ 2339530 h 2705233"/>
              <a:gd name="connsiteX2008" fmla="*/ 2151711 w 6886183"/>
              <a:gd name="connsiteY2008" fmla="*/ 2335244 h 2705233"/>
              <a:gd name="connsiteX2009" fmla="*/ 2183904 w 6886183"/>
              <a:gd name="connsiteY2009" fmla="*/ 2312956 h 2705233"/>
              <a:gd name="connsiteX2010" fmla="*/ 2237890 w 6886183"/>
              <a:gd name="connsiteY2010" fmla="*/ 2308598 h 2705233"/>
              <a:gd name="connsiteX2011" fmla="*/ 2704170 w 6886183"/>
              <a:gd name="connsiteY2011" fmla="*/ 2307526 h 2705233"/>
              <a:gd name="connsiteX2012" fmla="*/ 2740361 w 6886183"/>
              <a:gd name="connsiteY2012" fmla="*/ 2310955 h 2705233"/>
              <a:gd name="connsiteX2013" fmla="*/ 2700454 w 6886183"/>
              <a:gd name="connsiteY2013" fmla="*/ 2335339 h 2705233"/>
              <a:gd name="connsiteX2014" fmla="*/ 2610349 w 6886183"/>
              <a:gd name="connsiteY2014" fmla="*/ 2339340 h 2705233"/>
              <a:gd name="connsiteX2015" fmla="*/ 2650353 w 6886183"/>
              <a:gd name="connsiteY2015" fmla="*/ 2314289 h 2705233"/>
              <a:gd name="connsiteX2016" fmla="*/ 2677689 w 6886183"/>
              <a:gd name="connsiteY2016" fmla="*/ 2309717 h 2705233"/>
              <a:gd name="connsiteX2017" fmla="*/ 2704170 w 6886183"/>
              <a:gd name="connsiteY2017" fmla="*/ 2307526 h 2705233"/>
              <a:gd name="connsiteX2018" fmla="*/ 4255931 w 6886183"/>
              <a:gd name="connsiteY2018" fmla="*/ 2304478 h 2705233"/>
              <a:gd name="connsiteX2019" fmla="*/ 4246406 w 6886183"/>
              <a:gd name="connsiteY2019" fmla="*/ 2308288 h 2705233"/>
              <a:gd name="connsiteX2020" fmla="*/ 4239548 w 6886183"/>
              <a:gd name="connsiteY2020" fmla="*/ 2309336 h 2705233"/>
              <a:gd name="connsiteX2021" fmla="*/ 4249073 w 6886183"/>
              <a:gd name="connsiteY2021" fmla="*/ 2305431 h 2705233"/>
              <a:gd name="connsiteX2022" fmla="*/ 4255931 w 6886183"/>
              <a:gd name="connsiteY2022" fmla="*/ 2304478 h 2705233"/>
              <a:gd name="connsiteX2023" fmla="*/ 4082671 w 6886183"/>
              <a:gd name="connsiteY2023" fmla="*/ 2303907 h 2705233"/>
              <a:gd name="connsiteX2024" fmla="*/ 4056858 w 6886183"/>
              <a:gd name="connsiteY2024" fmla="*/ 2314575 h 2705233"/>
              <a:gd name="connsiteX2025" fmla="*/ 4034474 w 6886183"/>
              <a:gd name="connsiteY2025" fmla="*/ 2317242 h 2705233"/>
              <a:gd name="connsiteX2026" fmla="*/ 4061144 w 6886183"/>
              <a:gd name="connsiteY2026" fmla="*/ 2306193 h 2705233"/>
              <a:gd name="connsiteX2027" fmla="*/ 4082671 w 6886183"/>
              <a:gd name="connsiteY2027" fmla="*/ 2303907 h 2705233"/>
              <a:gd name="connsiteX2028" fmla="*/ 3841176 w 6886183"/>
              <a:gd name="connsiteY2028" fmla="*/ 2302847 h 2705233"/>
              <a:gd name="connsiteX2029" fmla="*/ 3853309 w 6886183"/>
              <a:gd name="connsiteY2029" fmla="*/ 2304288 h 2705233"/>
              <a:gd name="connsiteX2030" fmla="*/ 3815209 w 6886183"/>
              <a:gd name="connsiteY2030" fmla="*/ 2321242 h 2705233"/>
              <a:gd name="connsiteX2031" fmla="*/ 3774442 w 6886183"/>
              <a:gd name="connsiteY2031" fmla="*/ 2325909 h 2705233"/>
              <a:gd name="connsiteX2032" fmla="*/ 3812542 w 6886183"/>
              <a:gd name="connsiteY2032" fmla="*/ 2308764 h 2705233"/>
              <a:gd name="connsiteX2033" fmla="*/ 3841176 w 6886183"/>
              <a:gd name="connsiteY2033" fmla="*/ 2302847 h 2705233"/>
              <a:gd name="connsiteX2034" fmla="*/ 2903858 w 6886183"/>
              <a:gd name="connsiteY2034" fmla="*/ 2302668 h 2705233"/>
              <a:gd name="connsiteX2035" fmla="*/ 2936863 w 6886183"/>
              <a:gd name="connsiteY2035" fmla="*/ 2305907 h 2705233"/>
              <a:gd name="connsiteX2036" fmla="*/ 2932957 w 6886183"/>
              <a:gd name="connsiteY2036" fmla="*/ 2317623 h 2705233"/>
              <a:gd name="connsiteX2037" fmla="*/ 2893523 w 6886183"/>
              <a:gd name="connsiteY2037" fmla="*/ 2331148 h 2705233"/>
              <a:gd name="connsiteX2038" fmla="*/ 2842089 w 6886183"/>
              <a:gd name="connsiteY2038" fmla="*/ 2338864 h 2705233"/>
              <a:gd name="connsiteX2039" fmla="*/ 2808466 w 6886183"/>
              <a:gd name="connsiteY2039" fmla="*/ 2336006 h 2705233"/>
              <a:gd name="connsiteX2040" fmla="*/ 2851133 w 6886183"/>
              <a:gd name="connsiteY2040" fmla="*/ 2310574 h 2705233"/>
              <a:gd name="connsiteX2041" fmla="*/ 2903858 w 6886183"/>
              <a:gd name="connsiteY2041" fmla="*/ 2302668 h 2705233"/>
              <a:gd name="connsiteX2042" fmla="*/ 1954064 w 6886183"/>
              <a:gd name="connsiteY2042" fmla="*/ 2300669 h 2705233"/>
              <a:gd name="connsiteX2043" fmla="*/ 1995308 w 6886183"/>
              <a:gd name="connsiteY2043" fmla="*/ 2306384 h 2705233"/>
              <a:gd name="connsiteX2044" fmla="*/ 1965019 w 6886183"/>
              <a:gd name="connsiteY2044" fmla="*/ 2326863 h 2705233"/>
              <a:gd name="connsiteX2045" fmla="*/ 1913584 w 6886183"/>
              <a:gd name="connsiteY2045" fmla="*/ 2329244 h 2705233"/>
              <a:gd name="connsiteX2046" fmla="*/ 1872817 w 6886183"/>
              <a:gd name="connsiteY2046" fmla="*/ 2323719 h 2705233"/>
              <a:gd name="connsiteX2047" fmla="*/ 1866436 w 6886183"/>
              <a:gd name="connsiteY2047" fmla="*/ 2312670 h 2705233"/>
              <a:gd name="connsiteX2048" fmla="*/ 1899678 w 6886183"/>
              <a:gd name="connsiteY2048" fmla="*/ 2303050 h 2705233"/>
              <a:gd name="connsiteX2049" fmla="*/ 1954064 w 6886183"/>
              <a:gd name="connsiteY2049" fmla="*/ 2300669 h 2705233"/>
              <a:gd name="connsiteX2050" fmla="*/ 4149631 w 6886183"/>
              <a:gd name="connsiteY2050" fmla="*/ 2298858 h 2705233"/>
              <a:gd name="connsiteX2051" fmla="*/ 4128486 w 6886183"/>
              <a:gd name="connsiteY2051" fmla="*/ 2307812 h 2705233"/>
              <a:gd name="connsiteX2052" fmla="*/ 4109436 w 6886183"/>
              <a:gd name="connsiteY2052" fmla="*/ 2310384 h 2705233"/>
              <a:gd name="connsiteX2053" fmla="*/ 4130581 w 6886183"/>
              <a:gd name="connsiteY2053" fmla="*/ 2301335 h 2705233"/>
              <a:gd name="connsiteX2054" fmla="*/ 4149631 w 6886183"/>
              <a:gd name="connsiteY2054" fmla="*/ 2298858 h 2705233"/>
              <a:gd name="connsiteX2055" fmla="*/ 3930449 w 6886183"/>
              <a:gd name="connsiteY2055" fmla="*/ 2296763 h 2705233"/>
              <a:gd name="connsiteX2056" fmla="*/ 3941224 w 6886183"/>
              <a:gd name="connsiteY2056" fmla="*/ 2298097 h 2705233"/>
              <a:gd name="connsiteX2057" fmla="*/ 3906744 w 6886183"/>
              <a:gd name="connsiteY2057" fmla="*/ 2313241 h 2705233"/>
              <a:gd name="connsiteX2058" fmla="*/ 3871120 w 6886183"/>
              <a:gd name="connsiteY2058" fmla="*/ 2317432 h 2705233"/>
              <a:gd name="connsiteX2059" fmla="*/ 3904744 w 6886183"/>
              <a:gd name="connsiteY2059" fmla="*/ 2302288 h 2705233"/>
              <a:gd name="connsiteX2060" fmla="*/ 3930449 w 6886183"/>
              <a:gd name="connsiteY2060" fmla="*/ 2296763 h 2705233"/>
              <a:gd name="connsiteX2061" fmla="*/ 3085299 w 6886183"/>
              <a:gd name="connsiteY2061" fmla="*/ 2296549 h 2705233"/>
              <a:gd name="connsiteX2062" fmla="*/ 3116123 w 6886183"/>
              <a:gd name="connsiteY2062" fmla="*/ 2299906 h 2705233"/>
              <a:gd name="connsiteX2063" fmla="*/ 3068498 w 6886183"/>
              <a:gd name="connsiteY2063" fmla="*/ 2325719 h 2705233"/>
              <a:gd name="connsiteX2064" fmla="*/ 2985725 w 6886183"/>
              <a:gd name="connsiteY2064" fmla="*/ 2331148 h 2705233"/>
              <a:gd name="connsiteX2065" fmla="*/ 3032681 w 6886183"/>
              <a:gd name="connsiteY2065" fmla="*/ 2305050 h 2705233"/>
              <a:gd name="connsiteX2066" fmla="*/ 3085299 w 6886183"/>
              <a:gd name="connsiteY2066" fmla="*/ 2296549 h 2705233"/>
              <a:gd name="connsiteX2067" fmla="*/ 3331480 w 6886183"/>
              <a:gd name="connsiteY2067" fmla="*/ 2294953 h 2705233"/>
              <a:gd name="connsiteX2068" fmla="*/ 3300049 w 6886183"/>
              <a:gd name="connsiteY2068" fmla="*/ 2297811 h 2705233"/>
              <a:gd name="connsiteX2069" fmla="*/ 3278144 w 6886183"/>
              <a:gd name="connsiteY2069" fmla="*/ 2296287 h 2705233"/>
              <a:gd name="connsiteX2070" fmla="*/ 3224804 w 6886183"/>
              <a:gd name="connsiteY2070" fmla="*/ 2319147 h 2705233"/>
              <a:gd name="connsiteX2071" fmla="*/ 3262904 w 6886183"/>
              <a:gd name="connsiteY2071" fmla="*/ 2314575 h 2705233"/>
              <a:gd name="connsiteX2072" fmla="*/ 3289381 w 6886183"/>
              <a:gd name="connsiteY2072" fmla="*/ 2315337 h 2705233"/>
              <a:gd name="connsiteX2073" fmla="*/ 3331480 w 6886183"/>
              <a:gd name="connsiteY2073" fmla="*/ 2294953 h 2705233"/>
              <a:gd name="connsiteX2074" fmla="*/ 1114808 w 6886183"/>
              <a:gd name="connsiteY2074" fmla="*/ 2294763 h 2705233"/>
              <a:gd name="connsiteX2075" fmla="*/ 1137572 w 6886183"/>
              <a:gd name="connsiteY2075" fmla="*/ 2296192 h 2705233"/>
              <a:gd name="connsiteX2076" fmla="*/ 1149288 w 6886183"/>
              <a:gd name="connsiteY2076" fmla="*/ 2297525 h 2705233"/>
              <a:gd name="connsiteX2077" fmla="*/ 1160909 w 6886183"/>
              <a:gd name="connsiteY2077" fmla="*/ 2299145 h 2705233"/>
              <a:gd name="connsiteX2078" fmla="*/ 1182721 w 6886183"/>
              <a:gd name="connsiteY2078" fmla="*/ 2303336 h 2705233"/>
              <a:gd name="connsiteX2079" fmla="*/ 1192245 w 6886183"/>
              <a:gd name="connsiteY2079" fmla="*/ 2305812 h 2705233"/>
              <a:gd name="connsiteX2080" fmla="*/ 1200817 w 6886183"/>
              <a:gd name="connsiteY2080" fmla="*/ 2308384 h 2705233"/>
              <a:gd name="connsiteX2081" fmla="*/ 1188531 w 6886183"/>
              <a:gd name="connsiteY2081" fmla="*/ 2321909 h 2705233"/>
              <a:gd name="connsiteX2082" fmla="*/ 1165384 w 6886183"/>
              <a:gd name="connsiteY2082" fmla="*/ 2320957 h 2705233"/>
              <a:gd name="connsiteX2083" fmla="*/ 1153288 w 6886183"/>
              <a:gd name="connsiteY2083" fmla="*/ 2319719 h 2705233"/>
              <a:gd name="connsiteX2084" fmla="*/ 1141287 w 6886183"/>
              <a:gd name="connsiteY2084" fmla="*/ 2318004 h 2705233"/>
              <a:gd name="connsiteX2085" fmla="*/ 1118521 w 6886183"/>
              <a:gd name="connsiteY2085" fmla="*/ 2313527 h 2705233"/>
              <a:gd name="connsiteX2086" fmla="*/ 1099471 w 6886183"/>
              <a:gd name="connsiteY2086" fmla="*/ 2307717 h 2705233"/>
              <a:gd name="connsiteX2087" fmla="*/ 1114808 w 6886183"/>
              <a:gd name="connsiteY2087" fmla="*/ 2294763 h 2705233"/>
              <a:gd name="connsiteX2088" fmla="*/ 3643366 w 6886183"/>
              <a:gd name="connsiteY2088" fmla="*/ 2294132 h 2705233"/>
              <a:gd name="connsiteX2089" fmla="*/ 3661571 w 6886183"/>
              <a:gd name="connsiteY2089" fmla="*/ 2296097 h 2705233"/>
              <a:gd name="connsiteX2090" fmla="*/ 3613946 w 6886183"/>
              <a:gd name="connsiteY2090" fmla="*/ 2318576 h 2705233"/>
              <a:gd name="connsiteX2091" fmla="*/ 3557370 w 6886183"/>
              <a:gd name="connsiteY2091" fmla="*/ 2323814 h 2705233"/>
              <a:gd name="connsiteX2092" fmla="*/ 3605088 w 6886183"/>
              <a:gd name="connsiteY2092" fmla="*/ 2301526 h 2705233"/>
              <a:gd name="connsiteX2093" fmla="*/ 3643366 w 6886183"/>
              <a:gd name="connsiteY2093" fmla="*/ 2294132 h 2705233"/>
              <a:gd name="connsiteX2094" fmla="*/ 4215259 w 6886183"/>
              <a:gd name="connsiteY2094" fmla="*/ 2293143 h 2705233"/>
              <a:gd name="connsiteX2095" fmla="*/ 4198400 w 6886183"/>
              <a:gd name="connsiteY2095" fmla="*/ 2300192 h 2705233"/>
              <a:gd name="connsiteX2096" fmla="*/ 4184398 w 6886183"/>
              <a:gd name="connsiteY2096" fmla="*/ 2302002 h 2705233"/>
              <a:gd name="connsiteX2097" fmla="*/ 4201258 w 6886183"/>
              <a:gd name="connsiteY2097" fmla="*/ 2294953 h 2705233"/>
              <a:gd name="connsiteX2098" fmla="*/ 4215259 w 6886183"/>
              <a:gd name="connsiteY2098" fmla="*/ 2293143 h 2705233"/>
              <a:gd name="connsiteX2099" fmla="*/ 1348461 w 6886183"/>
              <a:gd name="connsiteY2099" fmla="*/ 2292953 h 2705233"/>
              <a:gd name="connsiteX2100" fmla="*/ 1440852 w 6886183"/>
              <a:gd name="connsiteY2100" fmla="*/ 2302478 h 2705233"/>
              <a:gd name="connsiteX2101" fmla="*/ 1425327 w 6886183"/>
              <a:gd name="connsiteY2101" fmla="*/ 2319242 h 2705233"/>
              <a:gd name="connsiteX2102" fmla="*/ 1401800 w 6886183"/>
              <a:gd name="connsiteY2102" fmla="*/ 2319242 h 2705233"/>
              <a:gd name="connsiteX2103" fmla="*/ 1376654 w 6886183"/>
              <a:gd name="connsiteY2103" fmla="*/ 2317623 h 2705233"/>
              <a:gd name="connsiteX2104" fmla="*/ 1352651 w 6886183"/>
              <a:gd name="connsiteY2104" fmla="*/ 2314194 h 2705233"/>
              <a:gd name="connsiteX2105" fmla="*/ 1332934 w 6886183"/>
              <a:gd name="connsiteY2105" fmla="*/ 2309431 h 2705233"/>
              <a:gd name="connsiteX2106" fmla="*/ 1348461 w 6886183"/>
              <a:gd name="connsiteY2106" fmla="*/ 2292953 h 2705233"/>
              <a:gd name="connsiteX2107" fmla="*/ 4022569 w 6886183"/>
              <a:gd name="connsiteY2107" fmla="*/ 2291619 h 2705233"/>
              <a:gd name="connsiteX2108" fmla="*/ 3989612 w 6886183"/>
              <a:gd name="connsiteY2108" fmla="*/ 2305526 h 2705233"/>
              <a:gd name="connsiteX2109" fmla="*/ 3961513 w 6886183"/>
              <a:gd name="connsiteY2109" fmla="*/ 2308478 h 2705233"/>
              <a:gd name="connsiteX2110" fmla="*/ 3994470 w 6886183"/>
              <a:gd name="connsiteY2110" fmla="*/ 2294477 h 2705233"/>
              <a:gd name="connsiteX2111" fmla="*/ 4022569 w 6886183"/>
              <a:gd name="connsiteY2111" fmla="*/ 2291619 h 2705233"/>
              <a:gd name="connsiteX2112" fmla="*/ 4276124 w 6886183"/>
              <a:gd name="connsiteY2112" fmla="*/ 2288096 h 2705233"/>
              <a:gd name="connsiteX2113" fmla="*/ 4263074 w 6886183"/>
              <a:gd name="connsiteY2113" fmla="*/ 2293429 h 2705233"/>
              <a:gd name="connsiteX2114" fmla="*/ 4253549 w 6886183"/>
              <a:gd name="connsiteY2114" fmla="*/ 2294382 h 2705233"/>
              <a:gd name="connsiteX2115" fmla="*/ 4266027 w 6886183"/>
              <a:gd name="connsiteY2115" fmla="*/ 2289334 h 2705233"/>
              <a:gd name="connsiteX2116" fmla="*/ 4276124 w 6886183"/>
              <a:gd name="connsiteY2116" fmla="*/ 2288096 h 2705233"/>
              <a:gd name="connsiteX2117" fmla="*/ 3752213 w 6886183"/>
              <a:gd name="connsiteY2117" fmla="*/ 2287893 h 2705233"/>
              <a:gd name="connsiteX2118" fmla="*/ 3767584 w 6886183"/>
              <a:gd name="connsiteY2118" fmla="*/ 2289905 h 2705233"/>
              <a:gd name="connsiteX2119" fmla="*/ 3722149 w 6886183"/>
              <a:gd name="connsiteY2119" fmla="*/ 2310574 h 2705233"/>
              <a:gd name="connsiteX2120" fmla="*/ 3671667 w 6886183"/>
              <a:gd name="connsiteY2120" fmla="*/ 2315432 h 2705233"/>
              <a:gd name="connsiteX2121" fmla="*/ 3717197 w 6886183"/>
              <a:gd name="connsiteY2121" fmla="*/ 2294667 h 2705233"/>
              <a:gd name="connsiteX2122" fmla="*/ 3752213 w 6886183"/>
              <a:gd name="connsiteY2122" fmla="*/ 2287893 h 2705233"/>
              <a:gd name="connsiteX2123" fmla="*/ 4095720 w 6886183"/>
              <a:gd name="connsiteY2123" fmla="*/ 2286952 h 2705233"/>
              <a:gd name="connsiteX2124" fmla="*/ 4067145 w 6886183"/>
              <a:gd name="connsiteY2124" fmla="*/ 2298859 h 2705233"/>
              <a:gd name="connsiteX2125" fmla="*/ 4043332 w 6886183"/>
              <a:gd name="connsiteY2125" fmla="*/ 2301145 h 2705233"/>
              <a:gd name="connsiteX2126" fmla="*/ 4072765 w 6886183"/>
              <a:gd name="connsiteY2126" fmla="*/ 2289143 h 2705233"/>
              <a:gd name="connsiteX2127" fmla="*/ 4095720 w 6886183"/>
              <a:gd name="connsiteY2127" fmla="*/ 2286952 h 2705233"/>
              <a:gd name="connsiteX2128" fmla="*/ 3474700 w 6886183"/>
              <a:gd name="connsiteY2128" fmla="*/ 2286667 h 2705233"/>
              <a:gd name="connsiteX2129" fmla="*/ 3418233 w 6886183"/>
              <a:gd name="connsiteY2129" fmla="*/ 2290953 h 2705233"/>
              <a:gd name="connsiteX2130" fmla="*/ 3372240 w 6886183"/>
              <a:gd name="connsiteY2130" fmla="*/ 2311146 h 2705233"/>
              <a:gd name="connsiteX2131" fmla="*/ 3404422 w 6886183"/>
              <a:gd name="connsiteY2131" fmla="*/ 2307241 h 2705233"/>
              <a:gd name="connsiteX2132" fmla="*/ 3427656 w 6886183"/>
              <a:gd name="connsiteY2132" fmla="*/ 2307812 h 2705233"/>
              <a:gd name="connsiteX2133" fmla="*/ 3474700 w 6886183"/>
              <a:gd name="connsiteY2133" fmla="*/ 2286667 h 2705233"/>
              <a:gd name="connsiteX2134" fmla="*/ 3852738 w 6886183"/>
              <a:gd name="connsiteY2134" fmla="*/ 2282297 h 2705233"/>
              <a:gd name="connsiteX2135" fmla="*/ 3865310 w 6886183"/>
              <a:gd name="connsiteY2135" fmla="*/ 2284285 h 2705233"/>
              <a:gd name="connsiteX2136" fmla="*/ 3821019 w 6886183"/>
              <a:gd name="connsiteY2136" fmla="*/ 2303335 h 2705233"/>
              <a:gd name="connsiteX2137" fmla="*/ 3778347 w 6886183"/>
              <a:gd name="connsiteY2137" fmla="*/ 2307145 h 2705233"/>
              <a:gd name="connsiteX2138" fmla="*/ 3821876 w 6886183"/>
              <a:gd name="connsiteY2138" fmla="*/ 2288095 h 2705233"/>
              <a:gd name="connsiteX2139" fmla="*/ 3852738 w 6886183"/>
              <a:gd name="connsiteY2139" fmla="*/ 2282297 h 2705233"/>
              <a:gd name="connsiteX2140" fmla="*/ 1585921 w 6886183"/>
              <a:gd name="connsiteY2140" fmla="*/ 2280761 h 2705233"/>
              <a:gd name="connsiteX2141" fmla="*/ 1638308 w 6886183"/>
              <a:gd name="connsiteY2141" fmla="*/ 2280761 h 2705233"/>
              <a:gd name="connsiteX2142" fmla="*/ 1662882 w 6886183"/>
              <a:gd name="connsiteY2142" fmla="*/ 2283524 h 2705233"/>
              <a:gd name="connsiteX2143" fmla="*/ 1681456 w 6886183"/>
              <a:gd name="connsiteY2143" fmla="*/ 2287715 h 2705233"/>
              <a:gd name="connsiteX2144" fmla="*/ 1659072 w 6886183"/>
              <a:gd name="connsiteY2144" fmla="*/ 2306765 h 2705233"/>
              <a:gd name="connsiteX2145" fmla="*/ 1607734 w 6886183"/>
              <a:gd name="connsiteY2145" fmla="*/ 2306765 h 2705233"/>
              <a:gd name="connsiteX2146" fmla="*/ 1583158 w 6886183"/>
              <a:gd name="connsiteY2146" fmla="*/ 2304002 h 2705233"/>
              <a:gd name="connsiteX2147" fmla="*/ 1564109 w 6886183"/>
              <a:gd name="connsiteY2147" fmla="*/ 2299811 h 2705233"/>
              <a:gd name="connsiteX2148" fmla="*/ 1585921 w 6886183"/>
              <a:gd name="connsiteY2148" fmla="*/ 2280761 h 2705233"/>
              <a:gd name="connsiteX2149" fmla="*/ 4167634 w 6886183"/>
              <a:gd name="connsiteY2149" fmla="*/ 2280666 h 2705233"/>
              <a:gd name="connsiteX2150" fmla="*/ 4143726 w 6886183"/>
              <a:gd name="connsiteY2150" fmla="*/ 2290858 h 2705233"/>
              <a:gd name="connsiteX2151" fmla="*/ 4122676 w 6886183"/>
              <a:gd name="connsiteY2151" fmla="*/ 2293525 h 2705233"/>
              <a:gd name="connsiteX2152" fmla="*/ 4147441 w 6886183"/>
              <a:gd name="connsiteY2152" fmla="*/ 2283047 h 2705233"/>
              <a:gd name="connsiteX2153" fmla="*/ 4167634 w 6886183"/>
              <a:gd name="connsiteY2153" fmla="*/ 2280666 h 2705233"/>
              <a:gd name="connsiteX2154" fmla="*/ 2426988 w 6886183"/>
              <a:gd name="connsiteY2154" fmla="*/ 2277142 h 2705233"/>
              <a:gd name="connsiteX2155" fmla="*/ 2465088 w 6886183"/>
              <a:gd name="connsiteY2155" fmla="*/ 2282285 h 2705233"/>
              <a:gd name="connsiteX2156" fmla="*/ 2465565 w 6886183"/>
              <a:gd name="connsiteY2156" fmla="*/ 2293906 h 2705233"/>
              <a:gd name="connsiteX2157" fmla="*/ 2428893 w 6886183"/>
              <a:gd name="connsiteY2157" fmla="*/ 2305907 h 2705233"/>
              <a:gd name="connsiteX2158" fmla="*/ 2401365 w 6886183"/>
              <a:gd name="connsiteY2158" fmla="*/ 2310098 h 2705233"/>
              <a:gd name="connsiteX2159" fmla="*/ 2375172 w 6886183"/>
              <a:gd name="connsiteY2159" fmla="*/ 2311717 h 2705233"/>
              <a:gd name="connsiteX2160" fmla="*/ 2335547 w 6886183"/>
              <a:gd name="connsiteY2160" fmla="*/ 2306955 h 2705233"/>
              <a:gd name="connsiteX2161" fmla="*/ 2332690 w 6886183"/>
              <a:gd name="connsiteY2161" fmla="*/ 2294953 h 2705233"/>
              <a:gd name="connsiteX2162" fmla="*/ 2371838 w 6886183"/>
              <a:gd name="connsiteY2162" fmla="*/ 2282666 h 2705233"/>
              <a:gd name="connsiteX2163" fmla="*/ 2400413 w 6886183"/>
              <a:gd name="connsiteY2163" fmla="*/ 2278570 h 2705233"/>
              <a:gd name="connsiteX2164" fmla="*/ 2426988 w 6886183"/>
              <a:gd name="connsiteY2164" fmla="*/ 2277142 h 2705233"/>
              <a:gd name="connsiteX2165" fmla="*/ 3940725 w 6886183"/>
              <a:gd name="connsiteY2165" fmla="*/ 2276486 h 2705233"/>
              <a:gd name="connsiteX2166" fmla="*/ 3952179 w 6886183"/>
              <a:gd name="connsiteY2166" fmla="*/ 2277998 h 2705233"/>
              <a:gd name="connsiteX2167" fmla="*/ 3912650 w 6886183"/>
              <a:gd name="connsiteY2167" fmla="*/ 2295524 h 2705233"/>
              <a:gd name="connsiteX2168" fmla="*/ 3874550 w 6886183"/>
              <a:gd name="connsiteY2168" fmla="*/ 2299430 h 2705233"/>
              <a:gd name="connsiteX2169" fmla="*/ 3913126 w 6886183"/>
              <a:gd name="connsiteY2169" fmla="*/ 2282189 h 2705233"/>
              <a:gd name="connsiteX2170" fmla="*/ 3940725 w 6886183"/>
              <a:gd name="connsiteY2170" fmla="*/ 2276486 h 2705233"/>
              <a:gd name="connsiteX2171" fmla="*/ 2664151 w 6886183"/>
              <a:gd name="connsiteY2171" fmla="*/ 2275831 h 2705233"/>
              <a:gd name="connsiteX2172" fmla="*/ 2698834 w 6886183"/>
              <a:gd name="connsiteY2172" fmla="*/ 2280951 h 2705233"/>
              <a:gd name="connsiteX2173" fmla="*/ 2694835 w 6886183"/>
              <a:gd name="connsiteY2173" fmla="*/ 2293143 h 2705233"/>
              <a:gd name="connsiteX2174" fmla="*/ 2654829 w 6886183"/>
              <a:gd name="connsiteY2174" fmla="*/ 2306002 h 2705233"/>
              <a:gd name="connsiteX2175" fmla="*/ 2601489 w 6886183"/>
              <a:gd name="connsiteY2175" fmla="*/ 2312479 h 2705233"/>
              <a:gd name="connsiteX2176" fmla="*/ 2565484 w 6886183"/>
              <a:gd name="connsiteY2176" fmla="*/ 2307907 h 2705233"/>
              <a:gd name="connsiteX2177" fmla="*/ 2567485 w 6886183"/>
              <a:gd name="connsiteY2177" fmla="*/ 2295429 h 2705233"/>
              <a:gd name="connsiteX2178" fmla="*/ 2609965 w 6886183"/>
              <a:gd name="connsiteY2178" fmla="*/ 2281999 h 2705233"/>
              <a:gd name="connsiteX2179" fmla="*/ 2664151 w 6886183"/>
              <a:gd name="connsiteY2179" fmla="*/ 2275831 h 2705233"/>
              <a:gd name="connsiteX2180" fmla="*/ 4234594 w 6886183"/>
              <a:gd name="connsiteY2180" fmla="*/ 2275237 h 2705233"/>
              <a:gd name="connsiteX2181" fmla="*/ 4214211 w 6886183"/>
              <a:gd name="connsiteY2181" fmla="*/ 2283809 h 2705233"/>
              <a:gd name="connsiteX2182" fmla="*/ 4197828 w 6886183"/>
              <a:gd name="connsiteY2182" fmla="*/ 2286000 h 2705233"/>
              <a:gd name="connsiteX2183" fmla="*/ 4218211 w 6886183"/>
              <a:gd name="connsiteY2183" fmla="*/ 2277332 h 2705233"/>
              <a:gd name="connsiteX2184" fmla="*/ 4234594 w 6886183"/>
              <a:gd name="connsiteY2184" fmla="*/ 2275237 h 2705233"/>
              <a:gd name="connsiteX2185" fmla="*/ 854196 w 6886183"/>
              <a:gd name="connsiteY2185" fmla="*/ 2273427 h 2705233"/>
              <a:gd name="connsiteX2186" fmla="*/ 876485 w 6886183"/>
              <a:gd name="connsiteY2186" fmla="*/ 2276761 h 2705233"/>
              <a:gd name="connsiteX2187" fmla="*/ 899345 w 6886183"/>
              <a:gd name="connsiteY2187" fmla="*/ 2281523 h 2705233"/>
              <a:gd name="connsiteX2188" fmla="*/ 920776 w 6886183"/>
              <a:gd name="connsiteY2188" fmla="*/ 2287238 h 2705233"/>
              <a:gd name="connsiteX2189" fmla="*/ 939350 w 6886183"/>
              <a:gd name="connsiteY2189" fmla="*/ 2293620 h 2705233"/>
              <a:gd name="connsiteX2190" fmla="*/ 952875 w 6886183"/>
              <a:gd name="connsiteY2190" fmla="*/ 2303145 h 2705233"/>
              <a:gd name="connsiteX2191" fmla="*/ 929825 w 6886183"/>
              <a:gd name="connsiteY2191" fmla="*/ 2304573 h 2705233"/>
              <a:gd name="connsiteX2192" fmla="*/ 908203 w 6886183"/>
              <a:gd name="connsiteY2192" fmla="*/ 2301811 h 2705233"/>
              <a:gd name="connsiteX2193" fmla="*/ 896963 w 6886183"/>
              <a:gd name="connsiteY2193" fmla="*/ 2299811 h 2705233"/>
              <a:gd name="connsiteX2194" fmla="*/ 885629 w 6886183"/>
              <a:gd name="connsiteY2194" fmla="*/ 2297239 h 2705233"/>
              <a:gd name="connsiteX2195" fmla="*/ 864007 w 6886183"/>
              <a:gd name="connsiteY2195" fmla="*/ 2291334 h 2705233"/>
              <a:gd name="connsiteX2196" fmla="*/ 854006 w 6886183"/>
              <a:gd name="connsiteY2196" fmla="*/ 2287905 h 2705233"/>
              <a:gd name="connsiteX2197" fmla="*/ 844671 w 6886183"/>
              <a:gd name="connsiteY2197" fmla="*/ 2284095 h 2705233"/>
              <a:gd name="connsiteX2198" fmla="*/ 854196 w 6886183"/>
              <a:gd name="connsiteY2198" fmla="*/ 2273427 h 2705233"/>
              <a:gd name="connsiteX2199" fmla="*/ 2874019 w 6886183"/>
              <a:gd name="connsiteY2199" fmla="*/ 2272974 h 2705233"/>
              <a:gd name="connsiteX2200" fmla="*/ 2907715 w 6886183"/>
              <a:gd name="connsiteY2200" fmla="*/ 2276760 h 2705233"/>
              <a:gd name="connsiteX2201" fmla="*/ 2903144 w 6886183"/>
              <a:gd name="connsiteY2201" fmla="*/ 2289524 h 2705233"/>
              <a:gd name="connsiteX2202" fmla="*/ 2861327 w 6886183"/>
              <a:gd name="connsiteY2202" fmla="*/ 2303716 h 2705233"/>
              <a:gd name="connsiteX2203" fmla="*/ 2809037 w 6886183"/>
              <a:gd name="connsiteY2203" fmla="*/ 2310955 h 2705233"/>
              <a:gd name="connsiteX2204" fmla="*/ 2774747 w 6886183"/>
              <a:gd name="connsiteY2204" fmla="*/ 2307335 h 2705233"/>
              <a:gd name="connsiteX2205" fmla="*/ 2820465 w 6886183"/>
              <a:gd name="connsiteY2205" fmla="*/ 2280189 h 2705233"/>
              <a:gd name="connsiteX2206" fmla="*/ 2874019 w 6886183"/>
              <a:gd name="connsiteY2206" fmla="*/ 2272974 h 2705233"/>
              <a:gd name="connsiteX2207" fmla="*/ 4294317 w 6886183"/>
              <a:gd name="connsiteY2207" fmla="*/ 2271713 h 2705233"/>
              <a:gd name="connsiteX2208" fmla="*/ 4278315 w 6886183"/>
              <a:gd name="connsiteY2208" fmla="*/ 2278190 h 2705233"/>
              <a:gd name="connsiteX2209" fmla="*/ 4265647 w 6886183"/>
              <a:gd name="connsiteY2209" fmla="*/ 2279714 h 2705233"/>
              <a:gd name="connsiteX2210" fmla="*/ 4282506 w 6886183"/>
              <a:gd name="connsiteY2210" fmla="*/ 2272951 h 2705233"/>
              <a:gd name="connsiteX2211" fmla="*/ 4294317 w 6886183"/>
              <a:gd name="connsiteY2211" fmla="*/ 2271713 h 2705233"/>
              <a:gd name="connsiteX2212" fmla="*/ 4027605 w 6886183"/>
              <a:gd name="connsiteY2212" fmla="*/ 2271021 h 2705233"/>
              <a:gd name="connsiteX2213" fmla="*/ 4035618 w 6886183"/>
              <a:gd name="connsiteY2213" fmla="*/ 2272855 h 2705233"/>
              <a:gd name="connsiteX2214" fmla="*/ 4000089 w 6886183"/>
              <a:gd name="connsiteY2214" fmla="*/ 2288095 h 2705233"/>
              <a:gd name="connsiteX2215" fmla="*/ 3967323 w 6886183"/>
              <a:gd name="connsiteY2215" fmla="*/ 2291619 h 2705233"/>
              <a:gd name="connsiteX2216" fmla="*/ 4003804 w 6886183"/>
              <a:gd name="connsiteY2216" fmla="*/ 2275903 h 2705233"/>
              <a:gd name="connsiteX2217" fmla="*/ 4027605 w 6886183"/>
              <a:gd name="connsiteY2217" fmla="*/ 2271021 h 2705233"/>
              <a:gd name="connsiteX2218" fmla="*/ 2164222 w 6886183"/>
              <a:gd name="connsiteY2218" fmla="*/ 2270962 h 2705233"/>
              <a:gd name="connsiteX2219" fmla="*/ 2204384 w 6886183"/>
              <a:gd name="connsiteY2219" fmla="*/ 2276856 h 2705233"/>
              <a:gd name="connsiteX2220" fmla="*/ 2173902 w 6886183"/>
              <a:gd name="connsiteY2220" fmla="*/ 2299049 h 2705233"/>
              <a:gd name="connsiteX2221" fmla="*/ 2078652 w 6886183"/>
              <a:gd name="connsiteY2221" fmla="*/ 2298002 h 2705233"/>
              <a:gd name="connsiteX2222" fmla="*/ 2072271 w 6886183"/>
              <a:gd name="connsiteY2222" fmla="*/ 2286191 h 2705233"/>
              <a:gd name="connsiteX2223" fmla="*/ 2085606 w 6886183"/>
              <a:gd name="connsiteY2223" fmla="*/ 2280380 h 2705233"/>
              <a:gd name="connsiteX2224" fmla="*/ 2109132 w 6886183"/>
              <a:gd name="connsiteY2224" fmla="*/ 2275142 h 2705233"/>
              <a:gd name="connsiteX2225" fmla="*/ 2164222 w 6886183"/>
              <a:gd name="connsiteY2225" fmla="*/ 2270962 h 2705233"/>
              <a:gd name="connsiteX2226" fmla="*/ 3317953 w 6886183"/>
              <a:gd name="connsiteY2226" fmla="*/ 2269426 h 2705233"/>
              <a:gd name="connsiteX2227" fmla="*/ 3261859 w 6886183"/>
              <a:gd name="connsiteY2227" fmla="*/ 2270093 h 2705233"/>
              <a:gd name="connsiteX2228" fmla="*/ 3212707 w 6886183"/>
              <a:gd name="connsiteY2228" fmla="*/ 2293715 h 2705233"/>
              <a:gd name="connsiteX2229" fmla="*/ 3276522 w 6886183"/>
              <a:gd name="connsiteY2229" fmla="*/ 2290096 h 2705233"/>
              <a:gd name="connsiteX2230" fmla="*/ 3317953 w 6886183"/>
              <a:gd name="connsiteY2230" fmla="*/ 2269426 h 2705233"/>
              <a:gd name="connsiteX2231" fmla="*/ 3058367 w 6886183"/>
              <a:gd name="connsiteY2231" fmla="*/ 2268319 h 2705233"/>
              <a:gd name="connsiteX2232" fmla="*/ 3089931 w 6886183"/>
              <a:gd name="connsiteY2232" fmla="*/ 2272379 h 2705233"/>
              <a:gd name="connsiteX2233" fmla="*/ 3037636 w 6886183"/>
              <a:gd name="connsiteY2233" fmla="*/ 2300954 h 2705233"/>
              <a:gd name="connsiteX2234" fmla="*/ 2953911 w 6886183"/>
              <a:gd name="connsiteY2234" fmla="*/ 2304764 h 2705233"/>
              <a:gd name="connsiteX2235" fmla="*/ 3004871 w 6886183"/>
              <a:gd name="connsiteY2235" fmla="*/ 2276475 h 2705233"/>
              <a:gd name="connsiteX2236" fmla="*/ 3058367 w 6886183"/>
              <a:gd name="connsiteY2236" fmla="*/ 2268319 h 2705233"/>
              <a:gd name="connsiteX2237" fmla="*/ 4353467 w 6886183"/>
              <a:gd name="connsiteY2237" fmla="*/ 2266474 h 2705233"/>
              <a:gd name="connsiteX2238" fmla="*/ 4342609 w 6886183"/>
              <a:gd name="connsiteY2238" fmla="*/ 2271141 h 2705233"/>
              <a:gd name="connsiteX2239" fmla="*/ 4333084 w 6886183"/>
              <a:gd name="connsiteY2239" fmla="*/ 2272570 h 2705233"/>
              <a:gd name="connsiteX2240" fmla="*/ 4343466 w 6886183"/>
              <a:gd name="connsiteY2240" fmla="*/ 2267998 h 2705233"/>
              <a:gd name="connsiteX2241" fmla="*/ 4353467 w 6886183"/>
              <a:gd name="connsiteY2241" fmla="*/ 2266474 h 2705233"/>
              <a:gd name="connsiteX2242" fmla="*/ 3448511 w 6886183"/>
              <a:gd name="connsiteY2242" fmla="*/ 2266378 h 2705233"/>
              <a:gd name="connsiteX2243" fmla="*/ 3410425 w 6886183"/>
              <a:gd name="connsiteY2243" fmla="*/ 2267998 h 2705233"/>
              <a:gd name="connsiteX2244" fmla="*/ 3370047 w 6886183"/>
              <a:gd name="connsiteY2244" fmla="*/ 2285428 h 2705233"/>
              <a:gd name="connsiteX2245" fmla="*/ 3414422 w 6886183"/>
              <a:gd name="connsiteY2245" fmla="*/ 2282761 h 2705233"/>
              <a:gd name="connsiteX2246" fmla="*/ 4107044 w 6886183"/>
              <a:gd name="connsiteY2246" fmla="*/ 2266009 h 2705233"/>
              <a:gd name="connsiteX2247" fmla="*/ 4113723 w 6886183"/>
              <a:gd name="connsiteY2247" fmla="*/ 2267331 h 2705233"/>
              <a:gd name="connsiteX2248" fmla="*/ 4081528 w 6886183"/>
              <a:gd name="connsiteY2248" fmla="*/ 2281142 h 2705233"/>
              <a:gd name="connsiteX2249" fmla="*/ 4054287 w 6886183"/>
              <a:gd name="connsiteY2249" fmla="*/ 2284095 h 2705233"/>
              <a:gd name="connsiteX2250" fmla="*/ 4086577 w 6886183"/>
              <a:gd name="connsiteY2250" fmla="*/ 2270189 h 2705233"/>
              <a:gd name="connsiteX2251" fmla="*/ 4107044 w 6886183"/>
              <a:gd name="connsiteY2251" fmla="*/ 2266009 h 2705233"/>
              <a:gd name="connsiteX2252" fmla="*/ 3757023 w 6886183"/>
              <a:gd name="connsiteY2252" fmla="*/ 2265842 h 2705233"/>
              <a:gd name="connsiteX2253" fmla="*/ 3772918 w 6886183"/>
              <a:gd name="connsiteY2253" fmla="*/ 2268283 h 2705233"/>
              <a:gd name="connsiteX2254" fmla="*/ 3723388 w 6886183"/>
              <a:gd name="connsiteY2254" fmla="*/ 2291334 h 2705233"/>
              <a:gd name="connsiteX2255" fmla="*/ 3669857 w 6886183"/>
              <a:gd name="connsiteY2255" fmla="*/ 2296287 h 2705233"/>
              <a:gd name="connsiteX2256" fmla="*/ 3719483 w 6886183"/>
              <a:gd name="connsiteY2256" fmla="*/ 2273046 h 2705233"/>
              <a:gd name="connsiteX2257" fmla="*/ 3757023 w 6886183"/>
              <a:gd name="connsiteY2257" fmla="*/ 2265842 h 2705233"/>
              <a:gd name="connsiteX2258" fmla="*/ 4183922 w 6886183"/>
              <a:gd name="connsiteY2258" fmla="*/ 2262473 h 2705233"/>
              <a:gd name="connsiteX2259" fmla="*/ 4156204 w 6886183"/>
              <a:gd name="connsiteY2259" fmla="*/ 2274474 h 2705233"/>
              <a:gd name="connsiteX2260" fmla="*/ 4132677 w 6886183"/>
              <a:gd name="connsiteY2260" fmla="*/ 2277332 h 2705233"/>
              <a:gd name="connsiteX2261" fmla="*/ 4160490 w 6886183"/>
              <a:gd name="connsiteY2261" fmla="*/ 2265330 h 2705233"/>
              <a:gd name="connsiteX2262" fmla="*/ 4183922 w 6886183"/>
              <a:gd name="connsiteY2262" fmla="*/ 2262473 h 2705233"/>
              <a:gd name="connsiteX2263" fmla="*/ 3859798 w 6886183"/>
              <a:gd name="connsiteY2263" fmla="*/ 2259853 h 2705233"/>
              <a:gd name="connsiteX2264" fmla="*/ 3873502 w 6886183"/>
              <a:gd name="connsiteY2264" fmla="*/ 2262473 h 2705233"/>
              <a:gd name="connsiteX2265" fmla="*/ 3827687 w 6886183"/>
              <a:gd name="connsiteY2265" fmla="*/ 2283618 h 2705233"/>
              <a:gd name="connsiteX2266" fmla="*/ 3780062 w 6886183"/>
              <a:gd name="connsiteY2266" fmla="*/ 2288285 h 2705233"/>
              <a:gd name="connsiteX2267" fmla="*/ 3825877 w 6886183"/>
              <a:gd name="connsiteY2267" fmla="*/ 2266949 h 2705233"/>
              <a:gd name="connsiteX2268" fmla="*/ 3859798 w 6886183"/>
              <a:gd name="connsiteY2268" fmla="*/ 2259853 h 2705233"/>
              <a:gd name="connsiteX2269" fmla="*/ 377928 w 6886183"/>
              <a:gd name="connsiteY2269" fmla="*/ 2259425 h 2705233"/>
              <a:gd name="connsiteX2270" fmla="*/ 396978 w 6886183"/>
              <a:gd name="connsiteY2270" fmla="*/ 2266378 h 2705233"/>
              <a:gd name="connsiteX2271" fmla="*/ 430030 w 6886183"/>
              <a:gd name="connsiteY2271" fmla="*/ 2281428 h 2705233"/>
              <a:gd name="connsiteX2272" fmla="*/ 438031 w 6886183"/>
              <a:gd name="connsiteY2272" fmla="*/ 2285333 h 2705233"/>
              <a:gd name="connsiteX2273" fmla="*/ 445460 w 6886183"/>
              <a:gd name="connsiteY2273" fmla="*/ 2289143 h 2705233"/>
              <a:gd name="connsiteX2274" fmla="*/ 458795 w 6886183"/>
              <a:gd name="connsiteY2274" fmla="*/ 2296477 h 2705233"/>
              <a:gd name="connsiteX2275" fmla="*/ 468320 w 6886183"/>
              <a:gd name="connsiteY2275" fmla="*/ 2303907 h 2705233"/>
              <a:gd name="connsiteX2276" fmla="*/ 449842 w 6886183"/>
              <a:gd name="connsiteY2276" fmla="*/ 2298573 h 2705233"/>
              <a:gd name="connsiteX2277" fmla="*/ 433935 w 6886183"/>
              <a:gd name="connsiteY2277" fmla="*/ 2292191 h 2705233"/>
              <a:gd name="connsiteX2278" fmla="*/ 431840 w 6886183"/>
              <a:gd name="connsiteY2278" fmla="*/ 2291334 h 2705233"/>
              <a:gd name="connsiteX2279" fmla="*/ 429744 w 6886183"/>
              <a:gd name="connsiteY2279" fmla="*/ 2290381 h 2705233"/>
              <a:gd name="connsiteX2280" fmla="*/ 425553 w 6886183"/>
              <a:gd name="connsiteY2280" fmla="*/ 2288381 h 2705233"/>
              <a:gd name="connsiteX2281" fmla="*/ 417266 w 6886183"/>
              <a:gd name="connsiteY2281" fmla="*/ 2284381 h 2705233"/>
              <a:gd name="connsiteX2282" fmla="*/ 401550 w 6886183"/>
              <a:gd name="connsiteY2282" fmla="*/ 2276189 h 2705233"/>
              <a:gd name="connsiteX2283" fmla="*/ 394406 w 6886183"/>
              <a:gd name="connsiteY2283" fmla="*/ 2272093 h 2705233"/>
              <a:gd name="connsiteX2284" fmla="*/ 387453 w 6886183"/>
              <a:gd name="connsiteY2284" fmla="*/ 2267902 h 2705233"/>
              <a:gd name="connsiteX2285" fmla="*/ 377928 w 6886183"/>
              <a:gd name="connsiteY2285" fmla="*/ 2259425 h 2705233"/>
              <a:gd name="connsiteX2286" fmla="*/ 3587943 w 6886183"/>
              <a:gd name="connsiteY2286" fmla="*/ 2258282 h 2705233"/>
              <a:gd name="connsiteX2287" fmla="*/ 3544417 w 6886183"/>
              <a:gd name="connsiteY2287" fmla="*/ 2259711 h 2705233"/>
              <a:gd name="connsiteX2288" fmla="*/ 3496033 w 6886183"/>
              <a:gd name="connsiteY2288" fmla="*/ 2281237 h 2705233"/>
              <a:gd name="connsiteX2289" fmla="*/ 3549084 w 6886183"/>
              <a:gd name="connsiteY2289" fmla="*/ 2277046 h 2705233"/>
              <a:gd name="connsiteX2290" fmla="*/ 3549084 w 6886183"/>
              <a:gd name="connsiteY2290" fmla="*/ 2277523 h 2705233"/>
              <a:gd name="connsiteX2291" fmla="*/ 3587943 w 6886183"/>
              <a:gd name="connsiteY2291" fmla="*/ 2258282 h 2705233"/>
              <a:gd name="connsiteX2292" fmla="*/ 4252311 w 6886183"/>
              <a:gd name="connsiteY2292" fmla="*/ 2257901 h 2705233"/>
              <a:gd name="connsiteX2293" fmla="*/ 4228117 w 6886183"/>
              <a:gd name="connsiteY2293" fmla="*/ 2267997 h 2705233"/>
              <a:gd name="connsiteX2294" fmla="*/ 4209067 w 6886183"/>
              <a:gd name="connsiteY2294" fmla="*/ 2270093 h 2705233"/>
              <a:gd name="connsiteX2295" fmla="*/ 4233261 w 6886183"/>
              <a:gd name="connsiteY2295" fmla="*/ 2259996 h 2705233"/>
              <a:gd name="connsiteX2296" fmla="*/ 4252311 w 6886183"/>
              <a:gd name="connsiteY2296" fmla="*/ 2257901 h 2705233"/>
              <a:gd name="connsiteX2297" fmla="*/ 1828713 w 6886183"/>
              <a:gd name="connsiteY2297" fmla="*/ 2257139 h 2705233"/>
              <a:gd name="connsiteX2298" fmla="*/ 1856146 w 6886183"/>
              <a:gd name="connsiteY2298" fmla="*/ 2257139 h 2705233"/>
              <a:gd name="connsiteX2299" fmla="*/ 1868909 w 6886183"/>
              <a:gd name="connsiteY2299" fmla="*/ 2258092 h 2705233"/>
              <a:gd name="connsiteX2300" fmla="*/ 1880625 w 6886183"/>
              <a:gd name="connsiteY2300" fmla="*/ 2259521 h 2705233"/>
              <a:gd name="connsiteX2301" fmla="*/ 1899674 w 6886183"/>
              <a:gd name="connsiteY2301" fmla="*/ 2264188 h 2705233"/>
              <a:gd name="connsiteX2302" fmla="*/ 1874243 w 6886183"/>
              <a:gd name="connsiteY2302" fmla="*/ 2284762 h 2705233"/>
              <a:gd name="connsiteX2303" fmla="*/ 1848049 w 6886183"/>
              <a:gd name="connsiteY2303" fmla="*/ 2287048 h 2705233"/>
              <a:gd name="connsiteX2304" fmla="*/ 1822046 w 6886183"/>
              <a:gd name="connsiteY2304" fmla="*/ 2287048 h 2705233"/>
              <a:gd name="connsiteX2305" fmla="*/ 1779088 w 6886183"/>
              <a:gd name="connsiteY2305" fmla="*/ 2280476 h 2705233"/>
              <a:gd name="connsiteX2306" fmla="*/ 1768801 w 6886183"/>
              <a:gd name="connsiteY2306" fmla="*/ 2269046 h 2705233"/>
              <a:gd name="connsiteX2307" fmla="*/ 1800805 w 6886183"/>
              <a:gd name="connsiteY2307" fmla="*/ 2259521 h 2705233"/>
              <a:gd name="connsiteX2308" fmla="*/ 1828713 w 6886183"/>
              <a:gd name="connsiteY2308" fmla="*/ 2257139 h 2705233"/>
              <a:gd name="connsiteX2309" fmla="*/ 3955679 w 6886183"/>
              <a:gd name="connsiteY2309" fmla="*/ 2254602 h 2705233"/>
              <a:gd name="connsiteX2310" fmla="*/ 3966943 w 6886183"/>
              <a:gd name="connsiteY2310" fmla="*/ 2256948 h 2705233"/>
              <a:gd name="connsiteX2311" fmla="*/ 3923699 w 6886183"/>
              <a:gd name="connsiteY2311" fmla="*/ 2275998 h 2705233"/>
              <a:gd name="connsiteX2312" fmla="*/ 3881694 w 6886183"/>
              <a:gd name="connsiteY2312" fmla="*/ 2280189 h 2705233"/>
              <a:gd name="connsiteX2313" fmla="*/ 3925985 w 6886183"/>
              <a:gd name="connsiteY2313" fmla="*/ 2260472 h 2705233"/>
              <a:gd name="connsiteX2314" fmla="*/ 3955679 w 6886183"/>
              <a:gd name="connsiteY2314" fmla="*/ 2254602 h 2705233"/>
              <a:gd name="connsiteX2315" fmla="*/ 4316510 w 6886183"/>
              <a:gd name="connsiteY2315" fmla="*/ 2253043 h 2705233"/>
              <a:gd name="connsiteX2316" fmla="*/ 4297460 w 6886183"/>
              <a:gd name="connsiteY2316" fmla="*/ 2261330 h 2705233"/>
              <a:gd name="connsiteX2317" fmla="*/ 4281458 w 6886183"/>
              <a:gd name="connsiteY2317" fmla="*/ 2263426 h 2705233"/>
              <a:gd name="connsiteX2318" fmla="*/ 4300412 w 6886183"/>
              <a:gd name="connsiteY2318" fmla="*/ 2255329 h 2705233"/>
              <a:gd name="connsiteX2319" fmla="*/ 4316510 w 6886183"/>
              <a:gd name="connsiteY2319" fmla="*/ 2253043 h 2705233"/>
              <a:gd name="connsiteX2320" fmla="*/ 3715006 w 6886183"/>
              <a:gd name="connsiteY2320" fmla="*/ 2251138 h 2705233"/>
              <a:gd name="connsiteX2321" fmla="*/ 3668715 w 6886183"/>
              <a:gd name="connsiteY2321" fmla="*/ 2253901 h 2705233"/>
              <a:gd name="connsiteX2322" fmla="*/ 3621090 w 6886183"/>
              <a:gd name="connsiteY2322" fmla="*/ 2274570 h 2705233"/>
              <a:gd name="connsiteX2323" fmla="*/ 3669953 w 6886183"/>
              <a:gd name="connsiteY2323" fmla="*/ 2272665 h 2705233"/>
              <a:gd name="connsiteX2324" fmla="*/ 3715006 w 6886183"/>
              <a:gd name="connsiteY2324" fmla="*/ 2251138 h 2705233"/>
              <a:gd name="connsiteX2325" fmla="*/ 4039880 w 6886183"/>
              <a:gd name="connsiteY2325" fmla="*/ 2250852 h 2705233"/>
              <a:gd name="connsiteX2326" fmla="*/ 4049429 w 6886183"/>
              <a:gd name="connsiteY2326" fmla="*/ 2252662 h 2705233"/>
              <a:gd name="connsiteX2327" fmla="*/ 4010757 w 6886183"/>
              <a:gd name="connsiteY2327" fmla="*/ 2269807 h 2705233"/>
              <a:gd name="connsiteX2328" fmla="*/ 3973610 w 6886183"/>
              <a:gd name="connsiteY2328" fmla="*/ 2273807 h 2705233"/>
              <a:gd name="connsiteX2329" fmla="*/ 4013329 w 6886183"/>
              <a:gd name="connsiteY2329" fmla="*/ 2256186 h 2705233"/>
              <a:gd name="connsiteX2330" fmla="*/ 4039880 w 6886183"/>
              <a:gd name="connsiteY2330" fmla="*/ 2250852 h 2705233"/>
              <a:gd name="connsiteX2331" fmla="*/ 4375565 w 6886183"/>
              <a:gd name="connsiteY2331" fmla="*/ 2248852 h 2705233"/>
              <a:gd name="connsiteX2332" fmla="*/ 4362420 w 6886183"/>
              <a:gd name="connsiteY2332" fmla="*/ 2254472 h 2705233"/>
              <a:gd name="connsiteX2333" fmla="*/ 4350800 w 6886183"/>
              <a:gd name="connsiteY2333" fmla="*/ 2256186 h 2705233"/>
              <a:gd name="connsiteX2334" fmla="*/ 4364706 w 6886183"/>
              <a:gd name="connsiteY2334" fmla="*/ 2250281 h 2705233"/>
              <a:gd name="connsiteX2335" fmla="*/ 4375565 w 6886183"/>
              <a:gd name="connsiteY2335" fmla="*/ 2248852 h 2705233"/>
              <a:gd name="connsiteX2336" fmla="*/ 4429286 w 6886183"/>
              <a:gd name="connsiteY2336" fmla="*/ 2245709 h 2705233"/>
              <a:gd name="connsiteX2337" fmla="*/ 4418999 w 6886183"/>
              <a:gd name="connsiteY2337" fmla="*/ 2249900 h 2705233"/>
              <a:gd name="connsiteX2338" fmla="*/ 4412808 w 6886183"/>
              <a:gd name="connsiteY2338" fmla="*/ 2250472 h 2705233"/>
              <a:gd name="connsiteX2339" fmla="*/ 4422333 w 6886183"/>
              <a:gd name="connsiteY2339" fmla="*/ 2246662 h 2705233"/>
              <a:gd name="connsiteX2340" fmla="*/ 4429286 w 6886183"/>
              <a:gd name="connsiteY2340" fmla="*/ 2245709 h 2705233"/>
              <a:gd name="connsiteX2341" fmla="*/ 4121938 w 6886183"/>
              <a:gd name="connsiteY2341" fmla="*/ 2245578 h 2705233"/>
              <a:gd name="connsiteX2342" fmla="*/ 4129630 w 6886183"/>
              <a:gd name="connsiteY2342" fmla="*/ 2247329 h 2705233"/>
              <a:gd name="connsiteX2343" fmla="*/ 4094387 w 6886183"/>
              <a:gd name="connsiteY2343" fmla="*/ 2262569 h 2705233"/>
              <a:gd name="connsiteX2344" fmla="*/ 4063050 w 6886183"/>
              <a:gd name="connsiteY2344" fmla="*/ 2265902 h 2705233"/>
              <a:gd name="connsiteX2345" fmla="*/ 4099245 w 6886183"/>
              <a:gd name="connsiteY2345" fmla="*/ 2250186 h 2705233"/>
              <a:gd name="connsiteX2346" fmla="*/ 4121938 w 6886183"/>
              <a:gd name="connsiteY2346" fmla="*/ 2245578 h 2705233"/>
              <a:gd name="connsiteX2347" fmla="*/ 4204400 w 6886183"/>
              <a:gd name="connsiteY2347" fmla="*/ 2242375 h 2705233"/>
              <a:gd name="connsiteX2348" fmla="*/ 4173634 w 6886183"/>
              <a:gd name="connsiteY2348" fmla="*/ 2255901 h 2705233"/>
              <a:gd name="connsiteX2349" fmla="*/ 4146583 w 6886183"/>
              <a:gd name="connsiteY2349" fmla="*/ 2259044 h 2705233"/>
              <a:gd name="connsiteX2350" fmla="*/ 4178206 w 6886183"/>
              <a:gd name="connsiteY2350" fmla="*/ 2245423 h 2705233"/>
              <a:gd name="connsiteX2351" fmla="*/ 4204400 w 6886183"/>
              <a:gd name="connsiteY2351" fmla="*/ 2242375 h 2705233"/>
              <a:gd name="connsiteX2352" fmla="*/ 2606476 w 6886183"/>
              <a:gd name="connsiteY2352" fmla="*/ 2242245 h 2705233"/>
              <a:gd name="connsiteX2353" fmla="*/ 2645874 w 6886183"/>
              <a:gd name="connsiteY2353" fmla="*/ 2247043 h 2705233"/>
              <a:gd name="connsiteX2354" fmla="*/ 2644636 w 6886183"/>
              <a:gd name="connsiteY2354" fmla="*/ 2260187 h 2705233"/>
              <a:gd name="connsiteX2355" fmla="*/ 2604822 w 6886183"/>
              <a:gd name="connsiteY2355" fmla="*/ 2273999 h 2705233"/>
              <a:gd name="connsiteX2356" fmla="*/ 2576248 w 6886183"/>
              <a:gd name="connsiteY2356" fmla="*/ 2278571 h 2705233"/>
              <a:gd name="connsiteX2357" fmla="*/ 2549196 w 6886183"/>
              <a:gd name="connsiteY2357" fmla="*/ 2280285 h 2705233"/>
              <a:gd name="connsiteX2358" fmla="*/ 2510144 w 6886183"/>
              <a:gd name="connsiteY2358" fmla="*/ 2275523 h 2705233"/>
              <a:gd name="connsiteX2359" fmla="*/ 2510144 w 6886183"/>
              <a:gd name="connsiteY2359" fmla="*/ 2262569 h 2705233"/>
              <a:gd name="connsiteX2360" fmla="*/ 2549290 w 6886183"/>
              <a:gd name="connsiteY2360" fmla="*/ 2248948 h 2705233"/>
              <a:gd name="connsiteX2361" fmla="*/ 2606476 w 6886183"/>
              <a:gd name="connsiteY2361" fmla="*/ 2242245 h 2705233"/>
              <a:gd name="connsiteX2362" fmla="*/ 460801 w 6886183"/>
              <a:gd name="connsiteY2362" fmla="*/ 2241041 h 2705233"/>
              <a:gd name="connsiteX2363" fmla="*/ 477754 w 6886183"/>
              <a:gd name="connsiteY2363" fmla="*/ 2244566 h 2705233"/>
              <a:gd name="connsiteX2364" fmla="*/ 487279 w 6886183"/>
              <a:gd name="connsiteY2364" fmla="*/ 2247995 h 2705233"/>
              <a:gd name="connsiteX2365" fmla="*/ 497377 w 6886183"/>
              <a:gd name="connsiteY2365" fmla="*/ 2251900 h 2705233"/>
              <a:gd name="connsiteX2366" fmla="*/ 519094 w 6886183"/>
              <a:gd name="connsiteY2366" fmla="*/ 2260853 h 2705233"/>
              <a:gd name="connsiteX2367" fmla="*/ 529856 w 6886183"/>
              <a:gd name="connsiteY2367" fmla="*/ 2265521 h 2705233"/>
              <a:gd name="connsiteX2368" fmla="*/ 539952 w 6886183"/>
              <a:gd name="connsiteY2368" fmla="*/ 2269997 h 2705233"/>
              <a:gd name="connsiteX2369" fmla="*/ 557097 w 6886183"/>
              <a:gd name="connsiteY2369" fmla="*/ 2278379 h 2705233"/>
              <a:gd name="connsiteX2370" fmla="*/ 560050 w 6886183"/>
              <a:gd name="connsiteY2370" fmla="*/ 2280094 h 2705233"/>
              <a:gd name="connsiteX2371" fmla="*/ 562622 w 6886183"/>
              <a:gd name="connsiteY2371" fmla="*/ 2281523 h 2705233"/>
              <a:gd name="connsiteX2372" fmla="*/ 566241 w 6886183"/>
              <a:gd name="connsiteY2372" fmla="*/ 2283999 h 2705233"/>
              <a:gd name="connsiteX2373" fmla="*/ 568433 w 6886183"/>
              <a:gd name="connsiteY2373" fmla="*/ 2287047 h 2705233"/>
              <a:gd name="connsiteX2374" fmla="*/ 563765 w 6886183"/>
              <a:gd name="connsiteY2374" fmla="*/ 2287047 h 2705233"/>
              <a:gd name="connsiteX2375" fmla="*/ 558907 w 6886183"/>
              <a:gd name="connsiteY2375" fmla="*/ 2286285 h 2705233"/>
              <a:gd name="connsiteX2376" fmla="*/ 552430 w 6886183"/>
              <a:gd name="connsiteY2376" fmla="*/ 2284856 h 2705233"/>
              <a:gd name="connsiteX2377" fmla="*/ 533380 w 6886183"/>
              <a:gd name="connsiteY2377" fmla="*/ 2278665 h 2705233"/>
              <a:gd name="connsiteX2378" fmla="*/ 522998 w 6886183"/>
              <a:gd name="connsiteY2378" fmla="*/ 2274760 h 2705233"/>
              <a:gd name="connsiteX2379" fmla="*/ 512044 w 6886183"/>
              <a:gd name="connsiteY2379" fmla="*/ 2270283 h 2705233"/>
              <a:gd name="connsiteX2380" fmla="*/ 490900 w 6886183"/>
              <a:gd name="connsiteY2380" fmla="*/ 2260758 h 2705233"/>
              <a:gd name="connsiteX2381" fmla="*/ 486041 w 6886183"/>
              <a:gd name="connsiteY2381" fmla="*/ 2258377 h 2705233"/>
              <a:gd name="connsiteX2382" fmla="*/ 481375 w 6886183"/>
              <a:gd name="connsiteY2382" fmla="*/ 2255900 h 2705233"/>
              <a:gd name="connsiteX2383" fmla="*/ 473087 w 6886183"/>
              <a:gd name="connsiteY2383" fmla="*/ 2251233 h 2705233"/>
              <a:gd name="connsiteX2384" fmla="*/ 460801 w 6886183"/>
              <a:gd name="connsiteY2384" fmla="*/ 2241041 h 2705233"/>
              <a:gd name="connsiteX2385" fmla="*/ 2835454 w 6886183"/>
              <a:gd name="connsiteY2385" fmla="*/ 2240959 h 2705233"/>
              <a:gd name="connsiteX2386" fmla="*/ 2870185 w 6886183"/>
              <a:gd name="connsiteY2386" fmla="*/ 2246090 h 2705233"/>
              <a:gd name="connsiteX2387" fmla="*/ 2819610 w 6886183"/>
              <a:gd name="connsiteY2387" fmla="*/ 2274665 h 2705233"/>
              <a:gd name="connsiteX2388" fmla="*/ 2766173 w 6886183"/>
              <a:gd name="connsiteY2388" fmla="*/ 2281142 h 2705233"/>
              <a:gd name="connsiteX2389" fmla="*/ 2731598 w 6886183"/>
              <a:gd name="connsiteY2389" fmla="*/ 2276475 h 2705233"/>
              <a:gd name="connsiteX2390" fmla="*/ 2736265 w 6886183"/>
              <a:gd name="connsiteY2390" fmla="*/ 2262759 h 2705233"/>
              <a:gd name="connsiteX2391" fmla="*/ 2779221 w 6886183"/>
              <a:gd name="connsiteY2391" fmla="*/ 2247900 h 2705233"/>
              <a:gd name="connsiteX2392" fmla="*/ 2835454 w 6886183"/>
              <a:gd name="connsiteY2392" fmla="*/ 2240959 h 2705233"/>
              <a:gd name="connsiteX2393" fmla="*/ 3438228 w 6886183"/>
              <a:gd name="connsiteY2393" fmla="*/ 2240566 h 2705233"/>
              <a:gd name="connsiteX2394" fmla="*/ 3401756 w 6886183"/>
              <a:gd name="connsiteY2394" fmla="*/ 2241613 h 2705233"/>
              <a:gd name="connsiteX2395" fmla="*/ 3364239 w 6886183"/>
              <a:gd name="connsiteY2395" fmla="*/ 2258568 h 2705233"/>
              <a:gd name="connsiteX2396" fmla="*/ 3407852 w 6886183"/>
              <a:gd name="connsiteY2396" fmla="*/ 2255806 h 2705233"/>
              <a:gd name="connsiteX2397" fmla="*/ 4274219 w 6886183"/>
              <a:gd name="connsiteY2397" fmla="*/ 2238280 h 2705233"/>
              <a:gd name="connsiteX2398" fmla="*/ 4245644 w 6886183"/>
              <a:gd name="connsiteY2398" fmla="*/ 2250186 h 2705233"/>
              <a:gd name="connsiteX2399" fmla="*/ 4224784 w 6886183"/>
              <a:gd name="connsiteY2399" fmla="*/ 2252377 h 2705233"/>
              <a:gd name="connsiteX2400" fmla="*/ 4253359 w 6886183"/>
              <a:gd name="connsiteY2400" fmla="*/ 2240375 h 2705233"/>
              <a:gd name="connsiteX2401" fmla="*/ 4274219 w 6886183"/>
              <a:gd name="connsiteY2401" fmla="*/ 2238280 h 2705233"/>
              <a:gd name="connsiteX2402" fmla="*/ 2358573 w 6886183"/>
              <a:gd name="connsiteY2402" fmla="*/ 2237839 h 2705233"/>
              <a:gd name="connsiteX2403" fmla="*/ 2398888 w 6886183"/>
              <a:gd name="connsiteY2403" fmla="*/ 2242947 h 2705233"/>
              <a:gd name="connsiteX2404" fmla="*/ 2365359 w 6886183"/>
              <a:gd name="connsiteY2404" fmla="*/ 2268474 h 2705233"/>
              <a:gd name="connsiteX2405" fmla="*/ 2309830 w 6886183"/>
              <a:gd name="connsiteY2405" fmla="*/ 2273998 h 2705233"/>
              <a:gd name="connsiteX2406" fmla="*/ 2267823 w 6886183"/>
              <a:gd name="connsiteY2406" fmla="*/ 2268760 h 2705233"/>
              <a:gd name="connsiteX2407" fmla="*/ 2302685 w 6886183"/>
              <a:gd name="connsiteY2407" fmla="*/ 2242947 h 2705233"/>
              <a:gd name="connsiteX2408" fmla="*/ 2358573 w 6886183"/>
              <a:gd name="connsiteY2408" fmla="*/ 2237839 h 2705233"/>
              <a:gd name="connsiteX2409" fmla="*/ 3035543 w 6886183"/>
              <a:gd name="connsiteY2409" fmla="*/ 2237327 h 2705233"/>
              <a:gd name="connsiteX2410" fmla="*/ 3068498 w 6886183"/>
              <a:gd name="connsiteY2410" fmla="*/ 2241994 h 2705233"/>
              <a:gd name="connsiteX2411" fmla="*/ 3058975 w 6886183"/>
              <a:gd name="connsiteY2411" fmla="*/ 2256091 h 2705233"/>
              <a:gd name="connsiteX2412" fmla="*/ 3040684 w 6886183"/>
              <a:gd name="connsiteY2412" fmla="*/ 2263997 h 2705233"/>
              <a:gd name="connsiteX2413" fmla="*/ 3016015 w 6886183"/>
              <a:gd name="connsiteY2413" fmla="*/ 2271140 h 2705233"/>
              <a:gd name="connsiteX2414" fmla="*/ 2927243 w 6886183"/>
              <a:gd name="connsiteY2414" fmla="*/ 2274474 h 2705233"/>
              <a:gd name="connsiteX2415" fmla="*/ 2979250 w 6886183"/>
              <a:gd name="connsiteY2415" fmla="*/ 2245042 h 2705233"/>
              <a:gd name="connsiteX2416" fmla="*/ 3035543 w 6886183"/>
              <a:gd name="connsiteY2416" fmla="*/ 2237327 h 2705233"/>
              <a:gd name="connsiteX2417" fmla="*/ 3572036 w 6886183"/>
              <a:gd name="connsiteY2417" fmla="*/ 2237232 h 2705233"/>
              <a:gd name="connsiteX2418" fmla="*/ 3540511 w 6886183"/>
              <a:gd name="connsiteY2418" fmla="*/ 2238375 h 2705233"/>
              <a:gd name="connsiteX2419" fmla="*/ 3510414 w 6886183"/>
              <a:gd name="connsiteY2419" fmla="*/ 2251234 h 2705233"/>
              <a:gd name="connsiteX2420" fmla="*/ 3545083 w 6886183"/>
              <a:gd name="connsiteY2420" fmla="*/ 2251234 h 2705233"/>
              <a:gd name="connsiteX2421" fmla="*/ 3871585 w 6886183"/>
              <a:gd name="connsiteY2421" fmla="*/ 2236422 h 2705233"/>
              <a:gd name="connsiteX2422" fmla="*/ 3886742 w 6886183"/>
              <a:gd name="connsiteY2422" fmla="*/ 2239042 h 2705233"/>
              <a:gd name="connsiteX2423" fmla="*/ 3836450 w 6886183"/>
              <a:gd name="connsiteY2423" fmla="*/ 2261711 h 2705233"/>
              <a:gd name="connsiteX2424" fmla="*/ 3784824 w 6886183"/>
              <a:gd name="connsiteY2424" fmla="*/ 2266950 h 2705233"/>
              <a:gd name="connsiteX2425" fmla="*/ 3834926 w 6886183"/>
              <a:gd name="connsiteY2425" fmla="*/ 2243518 h 2705233"/>
              <a:gd name="connsiteX2426" fmla="*/ 3871585 w 6886183"/>
              <a:gd name="connsiteY2426" fmla="*/ 2236422 h 2705233"/>
              <a:gd name="connsiteX2427" fmla="*/ 4336607 w 6886183"/>
              <a:gd name="connsiteY2427" fmla="*/ 2234565 h 2705233"/>
              <a:gd name="connsiteX2428" fmla="*/ 4313842 w 6886183"/>
              <a:gd name="connsiteY2428" fmla="*/ 2244090 h 2705233"/>
              <a:gd name="connsiteX2429" fmla="*/ 4295650 w 6886183"/>
              <a:gd name="connsiteY2429" fmla="*/ 2246376 h 2705233"/>
              <a:gd name="connsiteX2430" fmla="*/ 4318414 w 6886183"/>
              <a:gd name="connsiteY2430" fmla="*/ 2236851 h 2705233"/>
              <a:gd name="connsiteX2431" fmla="*/ 4336607 w 6886183"/>
              <a:gd name="connsiteY2431" fmla="*/ 2234565 h 2705233"/>
              <a:gd name="connsiteX2432" fmla="*/ 3966716 w 6886183"/>
              <a:gd name="connsiteY2432" fmla="*/ 2232303 h 2705233"/>
              <a:gd name="connsiteX2433" fmla="*/ 3978086 w 6886183"/>
              <a:gd name="connsiteY2433" fmla="*/ 2235137 h 2705233"/>
              <a:gd name="connsiteX2434" fmla="*/ 3930461 w 6886183"/>
              <a:gd name="connsiteY2434" fmla="*/ 2256377 h 2705233"/>
              <a:gd name="connsiteX2435" fmla="*/ 3886932 w 6886183"/>
              <a:gd name="connsiteY2435" fmla="*/ 2260283 h 2705233"/>
              <a:gd name="connsiteX2436" fmla="*/ 3934557 w 6886183"/>
              <a:gd name="connsiteY2436" fmla="*/ 2238756 h 2705233"/>
              <a:gd name="connsiteX2437" fmla="*/ 3966716 w 6886183"/>
              <a:gd name="connsiteY2437" fmla="*/ 2232303 h 2705233"/>
              <a:gd name="connsiteX2438" fmla="*/ 1204820 w 6886183"/>
              <a:gd name="connsiteY2438" fmla="*/ 2232183 h 2705233"/>
              <a:gd name="connsiteX2439" fmla="*/ 1302261 w 6886183"/>
              <a:gd name="connsiteY2439" fmla="*/ 2246090 h 2705233"/>
              <a:gd name="connsiteX2440" fmla="*/ 1314452 w 6886183"/>
              <a:gd name="connsiteY2440" fmla="*/ 2256853 h 2705233"/>
              <a:gd name="connsiteX2441" fmla="*/ 1306166 w 6886183"/>
              <a:gd name="connsiteY2441" fmla="*/ 2260758 h 2705233"/>
              <a:gd name="connsiteX2442" fmla="*/ 1288926 w 6886183"/>
              <a:gd name="connsiteY2442" fmla="*/ 2262758 h 2705233"/>
              <a:gd name="connsiteX2443" fmla="*/ 1265018 w 6886183"/>
              <a:gd name="connsiteY2443" fmla="*/ 2262758 h 2705233"/>
              <a:gd name="connsiteX2444" fmla="*/ 1238538 w 6886183"/>
              <a:gd name="connsiteY2444" fmla="*/ 2259996 h 2705233"/>
              <a:gd name="connsiteX2445" fmla="*/ 1213012 w 6886183"/>
              <a:gd name="connsiteY2445" fmla="*/ 2255329 h 2705233"/>
              <a:gd name="connsiteX2446" fmla="*/ 1192247 w 6886183"/>
              <a:gd name="connsiteY2446" fmla="*/ 2249519 h 2705233"/>
              <a:gd name="connsiteX2447" fmla="*/ 1178626 w 6886183"/>
              <a:gd name="connsiteY2447" fmla="*/ 2237898 h 2705233"/>
              <a:gd name="connsiteX2448" fmla="*/ 1204820 w 6886183"/>
              <a:gd name="connsiteY2448" fmla="*/ 2232183 h 2705233"/>
              <a:gd name="connsiteX2449" fmla="*/ 4396996 w 6886183"/>
              <a:gd name="connsiteY2449" fmla="*/ 2231135 h 2705233"/>
              <a:gd name="connsiteX2450" fmla="*/ 4379375 w 6886183"/>
              <a:gd name="connsiteY2450" fmla="*/ 2238374 h 2705233"/>
              <a:gd name="connsiteX2451" fmla="*/ 4366040 w 6886183"/>
              <a:gd name="connsiteY2451" fmla="*/ 2239708 h 2705233"/>
              <a:gd name="connsiteX2452" fmla="*/ 4385090 w 6886183"/>
              <a:gd name="connsiteY2452" fmla="*/ 2232183 h 2705233"/>
              <a:gd name="connsiteX2453" fmla="*/ 4396996 w 6886183"/>
              <a:gd name="connsiteY2453" fmla="*/ 2231135 h 2705233"/>
              <a:gd name="connsiteX2454" fmla="*/ 2073603 w 6886183"/>
              <a:gd name="connsiteY2454" fmla="*/ 2229326 h 2705233"/>
              <a:gd name="connsiteX2455" fmla="*/ 2116941 w 6886183"/>
              <a:gd name="connsiteY2455" fmla="*/ 2235994 h 2705233"/>
              <a:gd name="connsiteX2456" fmla="*/ 2086461 w 6886183"/>
              <a:gd name="connsiteY2456" fmla="*/ 2259711 h 2705233"/>
              <a:gd name="connsiteX2457" fmla="*/ 2058744 w 6886183"/>
              <a:gd name="connsiteY2457" fmla="*/ 2262759 h 2705233"/>
              <a:gd name="connsiteX2458" fmla="*/ 2030741 w 6886183"/>
              <a:gd name="connsiteY2458" fmla="*/ 2262759 h 2705233"/>
              <a:gd name="connsiteX2459" fmla="*/ 1987021 w 6886183"/>
              <a:gd name="connsiteY2459" fmla="*/ 2256187 h 2705233"/>
              <a:gd name="connsiteX2460" fmla="*/ 1981592 w 6886183"/>
              <a:gd name="connsiteY2460" fmla="*/ 2243804 h 2705233"/>
              <a:gd name="connsiteX2461" fmla="*/ 1994450 w 6886183"/>
              <a:gd name="connsiteY2461" fmla="*/ 2237708 h 2705233"/>
              <a:gd name="connsiteX2462" fmla="*/ 2016454 w 6886183"/>
              <a:gd name="connsiteY2462" fmla="*/ 2232660 h 2705233"/>
              <a:gd name="connsiteX2463" fmla="*/ 2073603 w 6886183"/>
              <a:gd name="connsiteY2463" fmla="*/ 2229326 h 2705233"/>
              <a:gd name="connsiteX2464" fmla="*/ 4056406 w 6886183"/>
              <a:gd name="connsiteY2464" fmla="*/ 2228303 h 2705233"/>
              <a:gd name="connsiteX2465" fmla="*/ 4066384 w 6886183"/>
              <a:gd name="connsiteY2465" fmla="*/ 2230660 h 2705233"/>
              <a:gd name="connsiteX2466" fmla="*/ 4025236 w 6886183"/>
              <a:gd name="connsiteY2466" fmla="*/ 2249138 h 2705233"/>
              <a:gd name="connsiteX2467" fmla="*/ 3985231 w 6886183"/>
              <a:gd name="connsiteY2467" fmla="*/ 2253425 h 2705233"/>
              <a:gd name="connsiteX2468" fmla="*/ 4027426 w 6886183"/>
              <a:gd name="connsiteY2468" fmla="*/ 2234375 h 2705233"/>
              <a:gd name="connsiteX2469" fmla="*/ 4056406 w 6886183"/>
              <a:gd name="connsiteY2469" fmla="*/ 2228303 h 2705233"/>
              <a:gd name="connsiteX2470" fmla="*/ 3712339 w 6886183"/>
              <a:gd name="connsiteY2470" fmla="*/ 2227802 h 2705233"/>
              <a:gd name="connsiteX2471" fmla="*/ 3673382 w 6886183"/>
              <a:gd name="connsiteY2471" fmla="*/ 2230945 h 2705233"/>
              <a:gd name="connsiteX2472" fmla="*/ 3635854 w 6886183"/>
              <a:gd name="connsiteY2472" fmla="*/ 2247328 h 2705233"/>
              <a:gd name="connsiteX2473" fmla="*/ 3670334 w 6886183"/>
              <a:gd name="connsiteY2473" fmla="*/ 2247328 h 2705233"/>
              <a:gd name="connsiteX2474" fmla="*/ 3712339 w 6886183"/>
              <a:gd name="connsiteY2474" fmla="*/ 2227802 h 2705233"/>
              <a:gd name="connsiteX2475" fmla="*/ 4454432 w 6886183"/>
              <a:gd name="connsiteY2475" fmla="*/ 2227707 h 2705233"/>
              <a:gd name="connsiteX2476" fmla="*/ 4441954 w 6886183"/>
              <a:gd name="connsiteY2476" fmla="*/ 2232945 h 2705233"/>
              <a:gd name="connsiteX2477" fmla="*/ 4432429 w 6886183"/>
              <a:gd name="connsiteY2477" fmla="*/ 2234184 h 2705233"/>
              <a:gd name="connsiteX2478" fmla="*/ 4444907 w 6886183"/>
              <a:gd name="connsiteY2478" fmla="*/ 2228850 h 2705233"/>
              <a:gd name="connsiteX2479" fmla="*/ 4454432 w 6886183"/>
              <a:gd name="connsiteY2479" fmla="*/ 2227707 h 2705233"/>
              <a:gd name="connsiteX2480" fmla="*/ 1457044 w 6886183"/>
              <a:gd name="connsiteY2480" fmla="*/ 2227707 h 2705233"/>
              <a:gd name="connsiteX2481" fmla="*/ 1553152 w 6886183"/>
              <a:gd name="connsiteY2481" fmla="*/ 2238375 h 2705233"/>
              <a:gd name="connsiteX2482" fmla="*/ 1561534 w 6886183"/>
              <a:gd name="connsiteY2482" fmla="*/ 2249519 h 2705233"/>
              <a:gd name="connsiteX2483" fmla="*/ 1550103 w 6886183"/>
              <a:gd name="connsiteY2483" fmla="*/ 2253805 h 2705233"/>
              <a:gd name="connsiteX2484" fmla="*/ 1540578 w 6886183"/>
              <a:gd name="connsiteY2484" fmla="*/ 2255424 h 2705233"/>
              <a:gd name="connsiteX2485" fmla="*/ 1528768 w 6886183"/>
              <a:gd name="connsiteY2485" fmla="*/ 2256567 h 2705233"/>
              <a:gd name="connsiteX2486" fmla="*/ 1502860 w 6886183"/>
              <a:gd name="connsiteY2486" fmla="*/ 2257234 h 2705233"/>
              <a:gd name="connsiteX2487" fmla="*/ 1476762 w 6886183"/>
              <a:gd name="connsiteY2487" fmla="*/ 2255424 h 2705233"/>
              <a:gd name="connsiteX2488" fmla="*/ 1433422 w 6886183"/>
              <a:gd name="connsiteY2488" fmla="*/ 2245899 h 2705233"/>
              <a:gd name="connsiteX2489" fmla="*/ 1457044 w 6886183"/>
              <a:gd name="connsiteY2489" fmla="*/ 2227707 h 2705233"/>
              <a:gd name="connsiteX2490" fmla="*/ 4140309 w 6886183"/>
              <a:gd name="connsiteY2490" fmla="*/ 2223385 h 2705233"/>
              <a:gd name="connsiteX2491" fmla="*/ 4148679 w 6886183"/>
              <a:gd name="connsiteY2491" fmla="*/ 2225421 h 2705233"/>
              <a:gd name="connsiteX2492" fmla="*/ 4109912 w 6886183"/>
              <a:gd name="connsiteY2492" fmla="*/ 2242470 h 2705233"/>
              <a:gd name="connsiteX2493" fmla="*/ 4076860 w 6886183"/>
              <a:gd name="connsiteY2493" fmla="*/ 2245899 h 2705233"/>
              <a:gd name="connsiteX2494" fmla="*/ 4114865 w 6886183"/>
              <a:gd name="connsiteY2494" fmla="*/ 2228850 h 2705233"/>
              <a:gd name="connsiteX2495" fmla="*/ 4140309 w 6886183"/>
              <a:gd name="connsiteY2495" fmla="*/ 2223385 h 2705233"/>
              <a:gd name="connsiteX2496" fmla="*/ 952974 w 6886183"/>
              <a:gd name="connsiteY2496" fmla="*/ 2221420 h 2705233"/>
              <a:gd name="connsiteX2497" fmla="*/ 977643 w 6886183"/>
              <a:gd name="connsiteY2497" fmla="*/ 2224754 h 2705233"/>
              <a:gd name="connsiteX2498" fmla="*/ 1004218 w 6886183"/>
              <a:gd name="connsiteY2498" fmla="*/ 2229897 h 2705233"/>
              <a:gd name="connsiteX2499" fmla="*/ 1010790 w 6886183"/>
              <a:gd name="connsiteY2499" fmla="*/ 2231421 h 2705233"/>
              <a:gd name="connsiteX2500" fmla="*/ 1017077 w 6886183"/>
              <a:gd name="connsiteY2500" fmla="*/ 2232945 h 2705233"/>
              <a:gd name="connsiteX2501" fmla="*/ 1028888 w 6886183"/>
              <a:gd name="connsiteY2501" fmla="*/ 2236089 h 2705233"/>
              <a:gd name="connsiteX2502" fmla="*/ 1047938 w 6886183"/>
              <a:gd name="connsiteY2502" fmla="*/ 2242566 h 2705233"/>
              <a:gd name="connsiteX2503" fmla="*/ 1056987 w 6886183"/>
              <a:gd name="connsiteY2503" fmla="*/ 2252853 h 2705233"/>
              <a:gd name="connsiteX2504" fmla="*/ 1047462 w 6886183"/>
              <a:gd name="connsiteY2504" fmla="*/ 2255329 h 2705233"/>
              <a:gd name="connsiteX2505" fmla="*/ 1029459 w 6886183"/>
              <a:gd name="connsiteY2505" fmla="*/ 2255329 h 2705233"/>
              <a:gd name="connsiteX2506" fmla="*/ 1006314 w 6886183"/>
              <a:gd name="connsiteY2506" fmla="*/ 2252662 h 2705233"/>
              <a:gd name="connsiteX2507" fmla="*/ 981358 w 6886183"/>
              <a:gd name="connsiteY2507" fmla="*/ 2247900 h 2705233"/>
              <a:gd name="connsiteX2508" fmla="*/ 957832 w 6886183"/>
              <a:gd name="connsiteY2508" fmla="*/ 2241708 h 2705233"/>
              <a:gd name="connsiteX2509" fmla="*/ 938782 w 6886183"/>
              <a:gd name="connsiteY2509" fmla="*/ 2235041 h 2705233"/>
              <a:gd name="connsiteX2510" fmla="*/ 926209 w 6886183"/>
              <a:gd name="connsiteY2510" fmla="*/ 2223516 h 2705233"/>
              <a:gd name="connsiteX2511" fmla="*/ 952974 w 6886183"/>
              <a:gd name="connsiteY2511" fmla="*/ 2221420 h 2705233"/>
              <a:gd name="connsiteX2512" fmla="*/ 3833783 w 6886183"/>
              <a:gd name="connsiteY2512" fmla="*/ 2220754 h 2705233"/>
              <a:gd name="connsiteX2513" fmla="*/ 3787301 w 6886183"/>
              <a:gd name="connsiteY2513" fmla="*/ 2224468 h 2705233"/>
              <a:gd name="connsiteX2514" fmla="*/ 3739676 w 6886183"/>
              <a:gd name="connsiteY2514" fmla="*/ 2245138 h 2705233"/>
              <a:gd name="connsiteX2515" fmla="*/ 3785682 w 6886183"/>
              <a:gd name="connsiteY2515" fmla="*/ 2243042 h 2705233"/>
              <a:gd name="connsiteX2516" fmla="*/ 3833783 w 6886183"/>
              <a:gd name="connsiteY2516" fmla="*/ 2220754 h 2705233"/>
              <a:gd name="connsiteX2517" fmla="*/ 4215450 w 6886183"/>
              <a:gd name="connsiteY2517" fmla="*/ 2220469 h 2705233"/>
              <a:gd name="connsiteX2518" fmla="*/ 4221450 w 6886183"/>
              <a:gd name="connsiteY2518" fmla="*/ 2222564 h 2705233"/>
              <a:gd name="connsiteX2519" fmla="*/ 4186589 w 6886183"/>
              <a:gd name="connsiteY2519" fmla="*/ 2237613 h 2705233"/>
              <a:gd name="connsiteX2520" fmla="*/ 4158966 w 6886183"/>
              <a:gd name="connsiteY2520" fmla="*/ 2240471 h 2705233"/>
              <a:gd name="connsiteX2521" fmla="*/ 4194018 w 6886183"/>
              <a:gd name="connsiteY2521" fmla="*/ 2225231 h 2705233"/>
              <a:gd name="connsiteX2522" fmla="*/ 4215450 w 6886183"/>
              <a:gd name="connsiteY2522" fmla="*/ 2220469 h 2705233"/>
              <a:gd name="connsiteX2523" fmla="*/ 4292411 w 6886183"/>
              <a:gd name="connsiteY2523" fmla="*/ 2218944 h 2705233"/>
              <a:gd name="connsiteX2524" fmla="*/ 4262407 w 6886183"/>
              <a:gd name="connsiteY2524" fmla="*/ 2231707 h 2705233"/>
              <a:gd name="connsiteX2525" fmla="*/ 4239166 w 6886183"/>
              <a:gd name="connsiteY2525" fmla="*/ 2234184 h 2705233"/>
              <a:gd name="connsiteX2526" fmla="*/ 4268599 w 6886183"/>
              <a:gd name="connsiteY2526" fmla="*/ 2221420 h 2705233"/>
              <a:gd name="connsiteX2527" fmla="*/ 4292411 w 6886183"/>
              <a:gd name="connsiteY2527" fmla="*/ 2218944 h 2705233"/>
              <a:gd name="connsiteX2528" fmla="*/ 4359753 w 6886183"/>
              <a:gd name="connsiteY2528" fmla="*/ 2214467 h 2705233"/>
              <a:gd name="connsiteX2529" fmla="*/ 4333845 w 6886183"/>
              <a:gd name="connsiteY2529" fmla="*/ 2225421 h 2705233"/>
              <a:gd name="connsiteX2530" fmla="*/ 4314795 w 6886183"/>
              <a:gd name="connsiteY2530" fmla="*/ 2227421 h 2705233"/>
              <a:gd name="connsiteX2531" fmla="*/ 4341275 w 6886183"/>
              <a:gd name="connsiteY2531" fmla="*/ 2216372 h 2705233"/>
              <a:gd name="connsiteX2532" fmla="*/ 4359753 w 6886183"/>
              <a:gd name="connsiteY2532" fmla="*/ 2214467 h 2705233"/>
              <a:gd name="connsiteX2533" fmla="*/ 4418522 w 6886183"/>
              <a:gd name="connsiteY2533" fmla="*/ 2212181 h 2705233"/>
              <a:gd name="connsiteX2534" fmla="*/ 4397186 w 6886183"/>
              <a:gd name="connsiteY2534" fmla="*/ 2221039 h 2705233"/>
              <a:gd name="connsiteX2535" fmla="*/ 4382042 w 6886183"/>
              <a:gd name="connsiteY2535" fmla="*/ 2222658 h 2705233"/>
              <a:gd name="connsiteX2536" fmla="*/ 4402806 w 6886183"/>
              <a:gd name="connsiteY2536" fmla="*/ 2213895 h 2705233"/>
              <a:gd name="connsiteX2537" fmla="*/ 4418522 w 6886183"/>
              <a:gd name="connsiteY2537" fmla="*/ 2212181 h 2705233"/>
              <a:gd name="connsiteX2538" fmla="*/ 550626 w 6886183"/>
              <a:gd name="connsiteY2538" fmla="*/ 2210942 h 2705233"/>
              <a:gd name="connsiteX2539" fmla="*/ 575011 w 6886183"/>
              <a:gd name="connsiteY2539" fmla="*/ 2215229 h 2705233"/>
              <a:gd name="connsiteX2540" fmla="*/ 585391 w 6886183"/>
              <a:gd name="connsiteY2540" fmla="*/ 2218562 h 2705233"/>
              <a:gd name="connsiteX2541" fmla="*/ 596632 w 6886183"/>
              <a:gd name="connsiteY2541" fmla="*/ 2222468 h 2705233"/>
              <a:gd name="connsiteX2542" fmla="*/ 608346 w 6886183"/>
              <a:gd name="connsiteY2542" fmla="*/ 2226754 h 2705233"/>
              <a:gd name="connsiteX2543" fmla="*/ 620063 w 6886183"/>
              <a:gd name="connsiteY2543" fmla="*/ 2231231 h 2705233"/>
              <a:gd name="connsiteX2544" fmla="*/ 641877 w 6886183"/>
              <a:gd name="connsiteY2544" fmla="*/ 2240089 h 2705233"/>
              <a:gd name="connsiteX2545" fmla="*/ 646735 w 6886183"/>
              <a:gd name="connsiteY2545" fmla="*/ 2242184 h 2705233"/>
              <a:gd name="connsiteX2546" fmla="*/ 651117 w 6886183"/>
              <a:gd name="connsiteY2546" fmla="*/ 2244185 h 2705233"/>
              <a:gd name="connsiteX2547" fmla="*/ 658736 w 6886183"/>
              <a:gd name="connsiteY2547" fmla="*/ 2247804 h 2705233"/>
              <a:gd name="connsiteX2548" fmla="*/ 647784 w 6886183"/>
              <a:gd name="connsiteY2548" fmla="*/ 2255614 h 2705233"/>
              <a:gd name="connsiteX2549" fmla="*/ 638258 w 6886183"/>
              <a:gd name="connsiteY2549" fmla="*/ 2253043 h 2705233"/>
              <a:gd name="connsiteX2550" fmla="*/ 627492 w 6886183"/>
              <a:gd name="connsiteY2550" fmla="*/ 2249804 h 2705233"/>
              <a:gd name="connsiteX2551" fmla="*/ 616157 w 6886183"/>
              <a:gd name="connsiteY2551" fmla="*/ 2245994 h 2705233"/>
              <a:gd name="connsiteX2552" fmla="*/ 610346 w 6886183"/>
              <a:gd name="connsiteY2552" fmla="*/ 2243899 h 2705233"/>
              <a:gd name="connsiteX2553" fmla="*/ 604443 w 6886183"/>
              <a:gd name="connsiteY2553" fmla="*/ 2241613 h 2705233"/>
              <a:gd name="connsiteX2554" fmla="*/ 563483 w 6886183"/>
              <a:gd name="connsiteY2554" fmla="*/ 2222563 h 2705233"/>
              <a:gd name="connsiteX2555" fmla="*/ 550626 w 6886183"/>
              <a:gd name="connsiteY2555" fmla="*/ 2210942 h 2705233"/>
              <a:gd name="connsiteX2556" fmla="*/ 3536605 w 6886183"/>
              <a:gd name="connsiteY2556" fmla="*/ 2210086 h 2705233"/>
              <a:gd name="connsiteX2557" fmla="*/ 3508032 w 6886183"/>
              <a:gd name="connsiteY2557" fmla="*/ 2223421 h 2705233"/>
              <a:gd name="connsiteX2558" fmla="*/ 3541177 w 6886183"/>
              <a:gd name="connsiteY2558" fmla="*/ 2221801 h 2705233"/>
              <a:gd name="connsiteX2559" fmla="*/ 3565179 w 6886183"/>
              <a:gd name="connsiteY2559" fmla="*/ 2210181 h 2705233"/>
              <a:gd name="connsiteX2560" fmla="*/ 4477197 w 6886183"/>
              <a:gd name="connsiteY2560" fmla="*/ 2208752 h 2705233"/>
              <a:gd name="connsiteX2561" fmla="*/ 4460814 w 6886183"/>
              <a:gd name="connsiteY2561" fmla="*/ 2215706 h 2705233"/>
              <a:gd name="connsiteX2562" fmla="*/ 4448527 w 6886183"/>
              <a:gd name="connsiteY2562" fmla="*/ 2217230 h 2705233"/>
              <a:gd name="connsiteX2563" fmla="*/ 4465100 w 6886183"/>
              <a:gd name="connsiteY2563" fmla="*/ 2210276 h 2705233"/>
              <a:gd name="connsiteX2564" fmla="*/ 4477197 w 6886183"/>
              <a:gd name="connsiteY2564" fmla="*/ 2208752 h 2705233"/>
              <a:gd name="connsiteX2565" fmla="*/ 3981051 w 6886183"/>
              <a:gd name="connsiteY2565" fmla="*/ 2207752 h 2705233"/>
              <a:gd name="connsiteX2566" fmla="*/ 3995232 w 6886183"/>
              <a:gd name="connsiteY2566" fmla="*/ 2210562 h 2705233"/>
              <a:gd name="connsiteX2567" fmla="*/ 3944654 w 6886183"/>
              <a:gd name="connsiteY2567" fmla="*/ 2233803 h 2705233"/>
              <a:gd name="connsiteX2568" fmla="*/ 3895124 w 6886183"/>
              <a:gd name="connsiteY2568" fmla="*/ 2238184 h 2705233"/>
              <a:gd name="connsiteX2569" fmla="*/ 3945797 w 6886183"/>
              <a:gd name="connsiteY2569" fmla="*/ 2214658 h 2705233"/>
              <a:gd name="connsiteX2570" fmla="*/ 3981051 w 6886183"/>
              <a:gd name="connsiteY2570" fmla="*/ 2207752 h 2705233"/>
              <a:gd name="connsiteX2571" fmla="*/ 1710223 w 6886183"/>
              <a:gd name="connsiteY2571" fmla="*/ 2207323 h 2705233"/>
              <a:gd name="connsiteX2572" fmla="*/ 1739274 w 6886183"/>
              <a:gd name="connsiteY2572" fmla="*/ 2207990 h 2705233"/>
              <a:gd name="connsiteX2573" fmla="*/ 1786232 w 6886183"/>
              <a:gd name="connsiteY2573" fmla="*/ 2216181 h 2705233"/>
              <a:gd name="connsiteX2574" fmla="*/ 1794614 w 6886183"/>
              <a:gd name="connsiteY2574" fmla="*/ 2228278 h 2705233"/>
              <a:gd name="connsiteX2575" fmla="*/ 1783470 w 6886183"/>
              <a:gd name="connsiteY2575" fmla="*/ 2233802 h 2705233"/>
              <a:gd name="connsiteX2576" fmla="*/ 1763087 w 6886183"/>
              <a:gd name="connsiteY2576" fmla="*/ 2237803 h 2705233"/>
              <a:gd name="connsiteX2577" fmla="*/ 1663170 w 6886183"/>
              <a:gd name="connsiteY2577" fmla="*/ 2231326 h 2705233"/>
              <a:gd name="connsiteX2578" fmla="*/ 1682219 w 6886183"/>
              <a:gd name="connsiteY2578" fmla="*/ 2209228 h 2705233"/>
              <a:gd name="connsiteX2579" fmla="*/ 1695840 w 6886183"/>
              <a:gd name="connsiteY2579" fmla="*/ 2207895 h 2705233"/>
              <a:gd name="connsiteX2580" fmla="*/ 1710223 w 6886183"/>
              <a:gd name="connsiteY2580" fmla="*/ 2207323 h 2705233"/>
              <a:gd name="connsiteX2581" fmla="*/ 4530822 w 6886183"/>
              <a:gd name="connsiteY2581" fmla="*/ 2205513 h 2705233"/>
              <a:gd name="connsiteX2582" fmla="*/ 4521012 w 6886183"/>
              <a:gd name="connsiteY2582" fmla="*/ 2209800 h 2705233"/>
              <a:gd name="connsiteX2583" fmla="*/ 4512725 w 6886183"/>
              <a:gd name="connsiteY2583" fmla="*/ 2211038 h 2705233"/>
              <a:gd name="connsiteX2584" fmla="*/ 4522821 w 6886183"/>
              <a:gd name="connsiteY2584" fmla="*/ 2206656 h 2705233"/>
              <a:gd name="connsiteX2585" fmla="*/ 4530822 w 6886183"/>
              <a:gd name="connsiteY2585" fmla="*/ 2205513 h 2705233"/>
              <a:gd name="connsiteX2586" fmla="*/ 3695956 w 6886183"/>
              <a:gd name="connsiteY2586" fmla="*/ 2205418 h 2705233"/>
              <a:gd name="connsiteX2587" fmla="*/ 3673001 w 6886183"/>
              <a:gd name="connsiteY2587" fmla="*/ 2206752 h 2705233"/>
              <a:gd name="connsiteX2588" fmla="*/ 3647569 w 6886183"/>
              <a:gd name="connsiteY2588" fmla="*/ 2218372 h 2705233"/>
              <a:gd name="connsiteX2589" fmla="*/ 3673954 w 6886183"/>
              <a:gd name="connsiteY2589" fmla="*/ 2217610 h 2705233"/>
              <a:gd name="connsiteX2590" fmla="*/ 3000323 w 6886183"/>
              <a:gd name="connsiteY2590" fmla="*/ 2204633 h 2705233"/>
              <a:gd name="connsiteX2591" fmla="*/ 3035067 w 6886183"/>
              <a:gd name="connsiteY2591" fmla="*/ 2209895 h 2705233"/>
              <a:gd name="connsiteX2592" fmla="*/ 3028589 w 6886183"/>
              <a:gd name="connsiteY2592" fmla="*/ 2224183 h 2705233"/>
              <a:gd name="connsiteX2593" fmla="*/ 2984867 w 6886183"/>
              <a:gd name="connsiteY2593" fmla="*/ 2239709 h 2705233"/>
              <a:gd name="connsiteX2594" fmla="*/ 2894666 w 6886183"/>
              <a:gd name="connsiteY2594" fmla="*/ 2243328 h 2705233"/>
              <a:gd name="connsiteX2595" fmla="*/ 2942291 w 6886183"/>
              <a:gd name="connsiteY2595" fmla="*/ 2213229 h 2705233"/>
              <a:gd name="connsiteX2596" fmla="*/ 3000323 w 6886183"/>
              <a:gd name="connsiteY2596" fmla="*/ 2204633 h 2705233"/>
              <a:gd name="connsiteX2597" fmla="*/ 4071301 w 6886183"/>
              <a:gd name="connsiteY2597" fmla="*/ 2204442 h 2705233"/>
              <a:gd name="connsiteX2598" fmla="*/ 4082004 w 6886183"/>
              <a:gd name="connsiteY2598" fmla="*/ 2207323 h 2705233"/>
              <a:gd name="connsiteX2599" fmla="*/ 4035236 w 6886183"/>
              <a:gd name="connsiteY2599" fmla="*/ 2228278 h 2705233"/>
              <a:gd name="connsiteX2600" fmla="*/ 3992755 w 6886183"/>
              <a:gd name="connsiteY2600" fmla="*/ 2232088 h 2705233"/>
              <a:gd name="connsiteX2601" fmla="*/ 4040380 w 6886183"/>
              <a:gd name="connsiteY2601" fmla="*/ 2210562 h 2705233"/>
              <a:gd name="connsiteX2602" fmla="*/ 4071301 w 6886183"/>
              <a:gd name="connsiteY2602" fmla="*/ 2204442 h 2705233"/>
              <a:gd name="connsiteX2603" fmla="*/ 2794654 w 6886183"/>
              <a:gd name="connsiteY2603" fmla="*/ 2204085 h 2705233"/>
              <a:gd name="connsiteX2604" fmla="*/ 2830943 w 6886183"/>
              <a:gd name="connsiteY2604" fmla="*/ 2209895 h 2705233"/>
              <a:gd name="connsiteX2605" fmla="*/ 2782651 w 6886183"/>
              <a:gd name="connsiteY2605" fmla="*/ 2239041 h 2705233"/>
              <a:gd name="connsiteX2606" fmla="*/ 2753409 w 6886183"/>
              <a:gd name="connsiteY2606" fmla="*/ 2243899 h 2705233"/>
              <a:gd name="connsiteX2607" fmla="*/ 2725693 w 6886183"/>
              <a:gd name="connsiteY2607" fmla="*/ 2245804 h 2705233"/>
              <a:gd name="connsiteX2608" fmla="*/ 2688548 w 6886183"/>
              <a:gd name="connsiteY2608" fmla="*/ 2240375 h 2705233"/>
              <a:gd name="connsiteX2609" fmla="*/ 2736171 w 6886183"/>
              <a:gd name="connsiteY2609" fmla="*/ 2210943 h 2705233"/>
              <a:gd name="connsiteX2610" fmla="*/ 2794654 w 6886183"/>
              <a:gd name="connsiteY2610" fmla="*/ 2204085 h 2705233"/>
              <a:gd name="connsiteX2611" fmla="*/ 2554266 w 6886183"/>
              <a:gd name="connsiteY2611" fmla="*/ 2203430 h 2705233"/>
              <a:gd name="connsiteX2612" fmla="*/ 2594344 w 6886183"/>
              <a:gd name="connsiteY2612" fmla="*/ 2209038 h 2705233"/>
              <a:gd name="connsiteX2613" fmla="*/ 2592438 w 6886183"/>
              <a:gd name="connsiteY2613" fmla="*/ 2223230 h 2705233"/>
              <a:gd name="connsiteX2614" fmla="*/ 2552243 w 6886183"/>
              <a:gd name="connsiteY2614" fmla="*/ 2237518 h 2705233"/>
              <a:gd name="connsiteX2615" fmla="*/ 2524336 w 6886183"/>
              <a:gd name="connsiteY2615" fmla="*/ 2241613 h 2705233"/>
              <a:gd name="connsiteX2616" fmla="*/ 2496616 w 6886183"/>
              <a:gd name="connsiteY2616" fmla="*/ 2243137 h 2705233"/>
              <a:gd name="connsiteX2617" fmla="*/ 2456040 w 6886183"/>
              <a:gd name="connsiteY2617" fmla="*/ 2237803 h 2705233"/>
              <a:gd name="connsiteX2618" fmla="*/ 2456040 w 6886183"/>
              <a:gd name="connsiteY2618" fmla="*/ 2223516 h 2705233"/>
              <a:gd name="connsiteX2619" fmla="*/ 2497189 w 6886183"/>
              <a:gd name="connsiteY2619" fmla="*/ 2209038 h 2705233"/>
              <a:gd name="connsiteX2620" fmla="*/ 2554266 w 6886183"/>
              <a:gd name="connsiteY2620" fmla="*/ 2203430 h 2705233"/>
              <a:gd name="connsiteX2621" fmla="*/ 3193276 w 6886183"/>
              <a:gd name="connsiteY2621" fmla="*/ 2201894 h 2705233"/>
              <a:gd name="connsiteX2622" fmla="*/ 3224233 w 6886183"/>
              <a:gd name="connsiteY2622" fmla="*/ 2207133 h 2705233"/>
              <a:gd name="connsiteX2623" fmla="*/ 3168037 w 6886183"/>
              <a:gd name="connsiteY2623" fmla="*/ 2238184 h 2705233"/>
              <a:gd name="connsiteX2624" fmla="*/ 3081549 w 6886183"/>
              <a:gd name="connsiteY2624" fmla="*/ 2241899 h 2705233"/>
              <a:gd name="connsiteX2625" fmla="*/ 3137366 w 6886183"/>
              <a:gd name="connsiteY2625" fmla="*/ 2210371 h 2705233"/>
              <a:gd name="connsiteX2626" fmla="*/ 3193276 w 6886183"/>
              <a:gd name="connsiteY2626" fmla="*/ 2201894 h 2705233"/>
              <a:gd name="connsiteX2627" fmla="*/ 4157192 w 6886183"/>
              <a:gd name="connsiteY2627" fmla="*/ 2201406 h 2705233"/>
              <a:gd name="connsiteX2628" fmla="*/ 4166205 w 6886183"/>
              <a:gd name="connsiteY2628" fmla="*/ 2203608 h 2705233"/>
              <a:gd name="connsiteX2629" fmla="*/ 4123819 w 6886183"/>
              <a:gd name="connsiteY2629" fmla="*/ 2222658 h 2705233"/>
              <a:gd name="connsiteX2630" fmla="*/ 4087053 w 6886183"/>
              <a:gd name="connsiteY2630" fmla="*/ 2225897 h 2705233"/>
              <a:gd name="connsiteX2631" fmla="*/ 4130391 w 6886183"/>
              <a:gd name="connsiteY2631" fmla="*/ 2206847 h 2705233"/>
              <a:gd name="connsiteX2632" fmla="*/ 4157192 w 6886183"/>
              <a:gd name="connsiteY2632" fmla="*/ 2201406 h 2705233"/>
              <a:gd name="connsiteX2633" fmla="*/ 4237131 w 6886183"/>
              <a:gd name="connsiteY2633" fmla="*/ 2198001 h 2705233"/>
              <a:gd name="connsiteX2634" fmla="*/ 4244025 w 6886183"/>
              <a:gd name="connsiteY2634" fmla="*/ 2200275 h 2705233"/>
              <a:gd name="connsiteX2635" fmla="*/ 4205925 w 6886183"/>
              <a:gd name="connsiteY2635" fmla="*/ 2216753 h 2705233"/>
              <a:gd name="connsiteX2636" fmla="*/ 4174683 w 6886183"/>
              <a:gd name="connsiteY2636" fmla="*/ 2219896 h 2705233"/>
              <a:gd name="connsiteX2637" fmla="*/ 4213449 w 6886183"/>
              <a:gd name="connsiteY2637" fmla="*/ 2202942 h 2705233"/>
              <a:gd name="connsiteX2638" fmla="*/ 4237131 w 6886183"/>
              <a:gd name="connsiteY2638" fmla="*/ 2198001 h 2705233"/>
              <a:gd name="connsiteX2639" fmla="*/ 3829497 w 6886183"/>
              <a:gd name="connsiteY2639" fmla="*/ 2197989 h 2705233"/>
              <a:gd name="connsiteX2640" fmla="*/ 3794445 w 6886183"/>
              <a:gd name="connsiteY2640" fmla="*/ 2199703 h 2705233"/>
              <a:gd name="connsiteX2641" fmla="*/ 3748058 w 6886183"/>
              <a:gd name="connsiteY2641" fmla="*/ 2218753 h 2705233"/>
              <a:gd name="connsiteX2642" fmla="*/ 3788730 w 6886183"/>
              <a:gd name="connsiteY2642" fmla="*/ 2216848 h 2705233"/>
              <a:gd name="connsiteX2643" fmla="*/ 3808256 w 6886183"/>
              <a:gd name="connsiteY2643" fmla="*/ 2206657 h 2705233"/>
              <a:gd name="connsiteX2644" fmla="*/ 3829497 w 6886183"/>
              <a:gd name="connsiteY2644" fmla="*/ 2197989 h 2705233"/>
              <a:gd name="connsiteX2645" fmla="*/ 2281885 w 6886183"/>
              <a:gd name="connsiteY2645" fmla="*/ 2196286 h 2705233"/>
              <a:gd name="connsiteX2646" fmla="*/ 2324212 w 6886183"/>
              <a:gd name="connsiteY2646" fmla="*/ 2202561 h 2705233"/>
              <a:gd name="connsiteX2647" fmla="*/ 2287445 w 6886183"/>
              <a:gd name="connsiteY2647" fmla="*/ 2229516 h 2705233"/>
              <a:gd name="connsiteX2648" fmla="*/ 2259631 w 6886183"/>
              <a:gd name="connsiteY2648" fmla="*/ 2232850 h 2705233"/>
              <a:gd name="connsiteX2649" fmla="*/ 2231057 w 6886183"/>
              <a:gd name="connsiteY2649" fmla="*/ 2233612 h 2705233"/>
              <a:gd name="connsiteX2650" fmla="*/ 2188667 w 6886183"/>
              <a:gd name="connsiteY2650" fmla="*/ 2227611 h 2705233"/>
              <a:gd name="connsiteX2651" fmla="*/ 2185428 w 6886183"/>
              <a:gd name="connsiteY2651" fmla="*/ 2213514 h 2705233"/>
              <a:gd name="connsiteX2652" fmla="*/ 2224484 w 6886183"/>
              <a:gd name="connsiteY2652" fmla="*/ 2200370 h 2705233"/>
              <a:gd name="connsiteX2653" fmla="*/ 2281885 w 6886183"/>
              <a:gd name="connsiteY2653" fmla="*/ 2196286 h 2705233"/>
              <a:gd name="connsiteX2654" fmla="*/ 4311593 w 6886183"/>
              <a:gd name="connsiteY2654" fmla="*/ 2194370 h 2705233"/>
              <a:gd name="connsiteX2655" fmla="*/ 4316987 w 6886183"/>
              <a:gd name="connsiteY2655" fmla="*/ 2196369 h 2705233"/>
              <a:gd name="connsiteX2656" fmla="*/ 4281173 w 6886183"/>
              <a:gd name="connsiteY2656" fmla="*/ 2211419 h 2705233"/>
              <a:gd name="connsiteX2657" fmla="*/ 4257170 w 6886183"/>
              <a:gd name="connsiteY2657" fmla="*/ 2213134 h 2705233"/>
              <a:gd name="connsiteX2658" fmla="*/ 4292126 w 6886183"/>
              <a:gd name="connsiteY2658" fmla="*/ 2198370 h 2705233"/>
              <a:gd name="connsiteX2659" fmla="*/ 4311593 w 6886183"/>
              <a:gd name="connsiteY2659" fmla="*/ 2194370 h 2705233"/>
              <a:gd name="connsiteX2660" fmla="*/ 4381756 w 6886183"/>
              <a:gd name="connsiteY2660" fmla="*/ 2194179 h 2705233"/>
              <a:gd name="connsiteX2661" fmla="*/ 4351752 w 6886183"/>
              <a:gd name="connsiteY2661" fmla="*/ 2206752 h 2705233"/>
              <a:gd name="connsiteX2662" fmla="*/ 4330226 w 6886183"/>
              <a:gd name="connsiteY2662" fmla="*/ 2208848 h 2705233"/>
              <a:gd name="connsiteX2663" fmla="*/ 4360325 w 6886183"/>
              <a:gd name="connsiteY2663" fmla="*/ 2196179 h 2705233"/>
              <a:gd name="connsiteX2664" fmla="*/ 4381756 w 6886183"/>
              <a:gd name="connsiteY2664" fmla="*/ 2194179 h 2705233"/>
              <a:gd name="connsiteX2665" fmla="*/ 4429000 w 6886183"/>
              <a:gd name="connsiteY2665" fmla="*/ 2192369 h 2705233"/>
              <a:gd name="connsiteX2666" fmla="*/ 4443764 w 6886183"/>
              <a:gd name="connsiteY2666" fmla="*/ 2192369 h 2705233"/>
              <a:gd name="connsiteX2667" fmla="*/ 4417475 w 6886183"/>
              <a:gd name="connsiteY2667" fmla="*/ 2202371 h 2705233"/>
              <a:gd name="connsiteX2668" fmla="*/ 4402616 w 6886183"/>
              <a:gd name="connsiteY2668" fmla="*/ 2202942 h 2705233"/>
              <a:gd name="connsiteX2669" fmla="*/ 4429000 w 6886183"/>
              <a:gd name="connsiteY2669" fmla="*/ 2192369 h 2705233"/>
              <a:gd name="connsiteX2670" fmla="*/ 4504248 w 6886183"/>
              <a:gd name="connsiteY2670" fmla="*/ 2187987 h 2705233"/>
              <a:gd name="connsiteX2671" fmla="*/ 4483388 w 6886183"/>
              <a:gd name="connsiteY2671" fmla="*/ 2196655 h 2705233"/>
              <a:gd name="connsiteX2672" fmla="*/ 4470624 w 6886183"/>
              <a:gd name="connsiteY2672" fmla="*/ 2197798 h 2705233"/>
              <a:gd name="connsiteX2673" fmla="*/ 4491579 w 6886183"/>
              <a:gd name="connsiteY2673" fmla="*/ 2189130 h 2705233"/>
              <a:gd name="connsiteX2674" fmla="*/ 4504248 w 6886183"/>
              <a:gd name="connsiteY2674" fmla="*/ 2187987 h 2705233"/>
              <a:gd name="connsiteX2675" fmla="*/ 4555778 w 6886183"/>
              <a:gd name="connsiteY2675" fmla="*/ 2186749 h 2705233"/>
              <a:gd name="connsiteX2676" fmla="*/ 4542157 w 6886183"/>
              <a:gd name="connsiteY2676" fmla="*/ 2192369 h 2705233"/>
              <a:gd name="connsiteX2677" fmla="*/ 4532632 w 6886183"/>
              <a:gd name="connsiteY2677" fmla="*/ 2193512 h 2705233"/>
              <a:gd name="connsiteX2678" fmla="*/ 4546824 w 6886183"/>
              <a:gd name="connsiteY2678" fmla="*/ 2187511 h 2705233"/>
              <a:gd name="connsiteX2679" fmla="*/ 4555778 w 6886183"/>
              <a:gd name="connsiteY2679" fmla="*/ 2186749 h 2705233"/>
              <a:gd name="connsiteX2680" fmla="*/ 3993541 w 6886183"/>
              <a:gd name="connsiteY2680" fmla="*/ 2182129 h 2705233"/>
              <a:gd name="connsiteX2681" fmla="*/ 4007805 w 6886183"/>
              <a:gd name="connsiteY2681" fmla="*/ 2185606 h 2705233"/>
              <a:gd name="connsiteX2682" fmla="*/ 3954084 w 6886183"/>
              <a:gd name="connsiteY2682" fmla="*/ 2210942 h 2705233"/>
              <a:gd name="connsiteX2683" fmla="*/ 3901506 w 6886183"/>
              <a:gd name="connsiteY2683" fmla="*/ 2215419 h 2705233"/>
              <a:gd name="connsiteX2684" fmla="*/ 3955417 w 6886183"/>
              <a:gd name="connsiteY2684" fmla="*/ 2189797 h 2705233"/>
              <a:gd name="connsiteX2685" fmla="*/ 3993541 w 6886183"/>
              <a:gd name="connsiteY2685" fmla="*/ 2182129 h 2705233"/>
              <a:gd name="connsiteX2686" fmla="*/ 1941204 w 6886183"/>
              <a:gd name="connsiteY2686" fmla="*/ 2182082 h 2705233"/>
              <a:gd name="connsiteX2687" fmla="*/ 1970446 w 6886183"/>
              <a:gd name="connsiteY2687" fmla="*/ 2182082 h 2705233"/>
              <a:gd name="connsiteX2688" fmla="*/ 1984257 w 6886183"/>
              <a:gd name="connsiteY2688" fmla="*/ 2183035 h 2705233"/>
              <a:gd name="connsiteX2689" fmla="*/ 1996925 w 6886183"/>
              <a:gd name="connsiteY2689" fmla="*/ 2184559 h 2705233"/>
              <a:gd name="connsiteX2690" fmla="*/ 2016642 w 6886183"/>
              <a:gd name="connsiteY2690" fmla="*/ 2189416 h 2705233"/>
              <a:gd name="connsiteX2691" fmla="*/ 1989591 w 6886183"/>
              <a:gd name="connsiteY2691" fmla="*/ 2214086 h 2705233"/>
              <a:gd name="connsiteX2692" fmla="*/ 1887294 w 6886183"/>
              <a:gd name="connsiteY2692" fmla="*/ 2209609 h 2705233"/>
              <a:gd name="connsiteX2693" fmla="*/ 1879197 w 6886183"/>
              <a:gd name="connsiteY2693" fmla="*/ 2196179 h 2705233"/>
              <a:gd name="connsiteX2694" fmla="*/ 1913202 w 6886183"/>
              <a:gd name="connsiteY2694" fmla="*/ 2184654 h 2705233"/>
              <a:gd name="connsiteX2695" fmla="*/ 1941204 w 6886183"/>
              <a:gd name="connsiteY2695" fmla="*/ 2182082 h 2705233"/>
              <a:gd name="connsiteX2696" fmla="*/ 4091220 w 6886183"/>
              <a:gd name="connsiteY2696" fmla="*/ 2178510 h 2705233"/>
              <a:gd name="connsiteX2697" fmla="*/ 4101244 w 6886183"/>
              <a:gd name="connsiteY2697" fmla="*/ 2182177 h 2705233"/>
              <a:gd name="connsiteX2698" fmla="*/ 4050476 w 6886183"/>
              <a:gd name="connsiteY2698" fmla="*/ 2205133 h 2705233"/>
              <a:gd name="connsiteX2699" fmla="*/ 4005899 w 6886183"/>
              <a:gd name="connsiteY2699" fmla="*/ 2208752 h 2705233"/>
              <a:gd name="connsiteX2700" fmla="*/ 4057906 w 6886183"/>
              <a:gd name="connsiteY2700" fmla="*/ 2185130 h 2705233"/>
              <a:gd name="connsiteX2701" fmla="*/ 4091220 w 6886183"/>
              <a:gd name="connsiteY2701" fmla="*/ 2178510 h 2705233"/>
              <a:gd name="connsiteX2702" fmla="*/ 3536797 w 6886183"/>
              <a:gd name="connsiteY2702" fmla="*/ 2177605 h 2705233"/>
              <a:gd name="connsiteX2703" fmla="*/ 3501747 w 6886183"/>
              <a:gd name="connsiteY2703" fmla="*/ 2194274 h 2705233"/>
              <a:gd name="connsiteX2704" fmla="*/ 3536225 w 6886183"/>
              <a:gd name="connsiteY2704" fmla="*/ 2193607 h 2705233"/>
              <a:gd name="connsiteX2705" fmla="*/ 3568703 w 6886183"/>
              <a:gd name="connsiteY2705" fmla="*/ 2177605 h 2705233"/>
              <a:gd name="connsiteX2706" fmla="*/ 3696528 w 6886183"/>
              <a:gd name="connsiteY2706" fmla="*/ 2176843 h 2705233"/>
              <a:gd name="connsiteX2707" fmla="*/ 3677478 w 6886183"/>
              <a:gd name="connsiteY2707" fmla="*/ 2177605 h 2705233"/>
              <a:gd name="connsiteX2708" fmla="*/ 3654427 w 6886183"/>
              <a:gd name="connsiteY2708" fmla="*/ 2188369 h 2705233"/>
              <a:gd name="connsiteX2709" fmla="*/ 3673096 w 6886183"/>
              <a:gd name="connsiteY2709" fmla="*/ 2188178 h 2705233"/>
              <a:gd name="connsiteX2710" fmla="*/ 4177016 w 6886183"/>
              <a:gd name="connsiteY2710" fmla="*/ 2176367 h 2705233"/>
              <a:gd name="connsiteX2711" fmla="*/ 4188113 w 6886183"/>
              <a:gd name="connsiteY2711" fmla="*/ 2178653 h 2705233"/>
              <a:gd name="connsiteX2712" fmla="*/ 4141822 w 6886183"/>
              <a:gd name="connsiteY2712" fmla="*/ 2199798 h 2705233"/>
              <a:gd name="connsiteX2713" fmla="*/ 4102007 w 6886183"/>
              <a:gd name="connsiteY2713" fmla="*/ 2203513 h 2705233"/>
              <a:gd name="connsiteX2714" fmla="*/ 4147346 w 6886183"/>
              <a:gd name="connsiteY2714" fmla="*/ 2182653 h 2705233"/>
              <a:gd name="connsiteX2715" fmla="*/ 4177016 w 6886183"/>
              <a:gd name="connsiteY2715" fmla="*/ 2176367 h 2705233"/>
              <a:gd name="connsiteX2716" fmla="*/ 4255574 w 6886183"/>
              <a:gd name="connsiteY2716" fmla="*/ 2174354 h 2705233"/>
              <a:gd name="connsiteX2717" fmla="*/ 4264027 w 6886183"/>
              <a:gd name="connsiteY2717" fmla="*/ 2176938 h 2705233"/>
              <a:gd name="connsiteX2718" fmla="*/ 4222022 w 6886183"/>
              <a:gd name="connsiteY2718" fmla="*/ 2195988 h 2705233"/>
              <a:gd name="connsiteX2719" fmla="*/ 4188208 w 6886183"/>
              <a:gd name="connsiteY2719" fmla="*/ 2199036 h 2705233"/>
              <a:gd name="connsiteX2720" fmla="*/ 4229546 w 6886183"/>
              <a:gd name="connsiteY2720" fmla="*/ 2179986 h 2705233"/>
              <a:gd name="connsiteX2721" fmla="*/ 4255574 w 6886183"/>
              <a:gd name="connsiteY2721" fmla="*/ 2174354 h 2705233"/>
              <a:gd name="connsiteX2722" fmla="*/ 3380234 w 6886183"/>
              <a:gd name="connsiteY2722" fmla="*/ 2174176 h 2705233"/>
              <a:gd name="connsiteX2723" fmla="*/ 3325478 w 6886183"/>
              <a:gd name="connsiteY2723" fmla="*/ 2201894 h 2705233"/>
              <a:gd name="connsiteX2724" fmla="*/ 3392139 w 6886183"/>
              <a:gd name="connsiteY2724" fmla="*/ 2197798 h 2705233"/>
              <a:gd name="connsiteX2725" fmla="*/ 3392139 w 6886183"/>
              <a:gd name="connsiteY2725" fmla="*/ 2198275 h 2705233"/>
              <a:gd name="connsiteX2726" fmla="*/ 3437372 w 6886183"/>
              <a:gd name="connsiteY2726" fmla="*/ 2175605 h 2705233"/>
              <a:gd name="connsiteX2727" fmla="*/ 3380234 w 6886183"/>
              <a:gd name="connsiteY2727" fmla="*/ 2174176 h 2705233"/>
              <a:gd name="connsiteX2728" fmla="*/ 3829783 w 6886183"/>
              <a:gd name="connsiteY2728" fmla="*/ 2172176 h 2705233"/>
              <a:gd name="connsiteX2729" fmla="*/ 3799874 w 6886183"/>
              <a:gd name="connsiteY2729" fmla="*/ 2174081 h 2705233"/>
              <a:gd name="connsiteX2730" fmla="*/ 3774728 w 6886183"/>
              <a:gd name="connsiteY2730" fmla="*/ 2185702 h 2705233"/>
              <a:gd name="connsiteX2731" fmla="*/ 3800636 w 6886183"/>
              <a:gd name="connsiteY2731" fmla="*/ 2185606 h 2705233"/>
              <a:gd name="connsiteX2732" fmla="*/ 4332810 w 6886183"/>
              <a:gd name="connsiteY2732" fmla="*/ 2171819 h 2705233"/>
              <a:gd name="connsiteX2733" fmla="*/ 4338608 w 6886183"/>
              <a:gd name="connsiteY2733" fmla="*/ 2174177 h 2705233"/>
              <a:gd name="connsiteX2734" fmla="*/ 4300698 w 6886183"/>
              <a:gd name="connsiteY2734" fmla="*/ 2190750 h 2705233"/>
              <a:gd name="connsiteX2735" fmla="*/ 4272123 w 6886183"/>
              <a:gd name="connsiteY2735" fmla="*/ 2193227 h 2705233"/>
              <a:gd name="connsiteX2736" fmla="*/ 4311366 w 6886183"/>
              <a:gd name="connsiteY2736" fmla="*/ 2176177 h 2705233"/>
              <a:gd name="connsiteX2737" fmla="*/ 4332810 w 6886183"/>
              <a:gd name="connsiteY2737" fmla="*/ 2171819 h 2705233"/>
              <a:gd name="connsiteX2738" fmla="*/ 640357 w 6886183"/>
              <a:gd name="connsiteY2738" fmla="*/ 2171318 h 2705233"/>
              <a:gd name="connsiteX2739" fmla="*/ 664646 w 6886183"/>
              <a:gd name="connsiteY2739" fmla="*/ 2173414 h 2705233"/>
              <a:gd name="connsiteX2740" fmla="*/ 687791 w 6886183"/>
              <a:gd name="connsiteY2740" fmla="*/ 2179605 h 2705233"/>
              <a:gd name="connsiteX2741" fmla="*/ 693983 w 6886183"/>
              <a:gd name="connsiteY2741" fmla="*/ 2181510 h 2705233"/>
              <a:gd name="connsiteX2742" fmla="*/ 700174 w 6886183"/>
              <a:gd name="connsiteY2742" fmla="*/ 2183415 h 2705233"/>
              <a:gd name="connsiteX2743" fmla="*/ 712557 w 6886183"/>
              <a:gd name="connsiteY2743" fmla="*/ 2187511 h 2705233"/>
              <a:gd name="connsiteX2744" fmla="*/ 724653 w 6886183"/>
              <a:gd name="connsiteY2744" fmla="*/ 2191797 h 2705233"/>
              <a:gd name="connsiteX2745" fmla="*/ 730559 w 6886183"/>
              <a:gd name="connsiteY2745" fmla="*/ 2194083 h 2705233"/>
              <a:gd name="connsiteX2746" fmla="*/ 736083 w 6886183"/>
              <a:gd name="connsiteY2746" fmla="*/ 2196179 h 2705233"/>
              <a:gd name="connsiteX2747" fmla="*/ 755800 w 6886183"/>
              <a:gd name="connsiteY2747" fmla="*/ 2204751 h 2705233"/>
              <a:gd name="connsiteX2748" fmla="*/ 762944 w 6886183"/>
              <a:gd name="connsiteY2748" fmla="*/ 2208561 h 2705233"/>
              <a:gd name="connsiteX2749" fmla="*/ 767611 w 6886183"/>
              <a:gd name="connsiteY2749" fmla="*/ 2211704 h 2705233"/>
              <a:gd name="connsiteX2750" fmla="*/ 769802 w 6886183"/>
              <a:gd name="connsiteY2750" fmla="*/ 2215991 h 2705233"/>
              <a:gd name="connsiteX2751" fmla="*/ 762944 w 6886183"/>
              <a:gd name="connsiteY2751" fmla="*/ 2217610 h 2705233"/>
              <a:gd name="connsiteX2752" fmla="*/ 746847 w 6886183"/>
              <a:gd name="connsiteY2752" fmla="*/ 2215705 h 2705233"/>
              <a:gd name="connsiteX2753" fmla="*/ 736083 w 6886183"/>
              <a:gd name="connsiteY2753" fmla="*/ 2213609 h 2705233"/>
              <a:gd name="connsiteX2754" fmla="*/ 730368 w 6886183"/>
              <a:gd name="connsiteY2754" fmla="*/ 2212276 h 2705233"/>
              <a:gd name="connsiteX2755" fmla="*/ 724463 w 6886183"/>
              <a:gd name="connsiteY2755" fmla="*/ 2210752 h 2705233"/>
              <a:gd name="connsiteX2756" fmla="*/ 699983 w 6886183"/>
              <a:gd name="connsiteY2756" fmla="*/ 2203132 h 2705233"/>
              <a:gd name="connsiteX2757" fmla="*/ 693888 w 6886183"/>
              <a:gd name="connsiteY2757" fmla="*/ 2201036 h 2705233"/>
              <a:gd name="connsiteX2758" fmla="*/ 687791 w 6886183"/>
              <a:gd name="connsiteY2758" fmla="*/ 2198750 h 2705233"/>
              <a:gd name="connsiteX2759" fmla="*/ 676076 w 6886183"/>
              <a:gd name="connsiteY2759" fmla="*/ 2193988 h 2705233"/>
              <a:gd name="connsiteX2760" fmla="*/ 665313 w 6886183"/>
              <a:gd name="connsiteY2760" fmla="*/ 2189130 h 2705233"/>
              <a:gd name="connsiteX2761" fmla="*/ 660359 w 6886183"/>
              <a:gd name="connsiteY2761" fmla="*/ 2186749 h 2705233"/>
              <a:gd name="connsiteX2762" fmla="*/ 655692 w 6886183"/>
              <a:gd name="connsiteY2762" fmla="*/ 2184368 h 2705233"/>
              <a:gd name="connsiteX2763" fmla="*/ 640357 w 6886183"/>
              <a:gd name="connsiteY2763" fmla="*/ 2171318 h 2705233"/>
              <a:gd name="connsiteX2764" fmla="*/ 4468434 w 6886183"/>
              <a:gd name="connsiteY2764" fmla="*/ 2170462 h 2705233"/>
              <a:gd name="connsiteX2765" fmla="*/ 4440907 w 6886183"/>
              <a:gd name="connsiteY2765" fmla="*/ 2182082 h 2705233"/>
              <a:gd name="connsiteX2766" fmla="*/ 4421285 w 6886183"/>
              <a:gd name="connsiteY2766" fmla="*/ 2184177 h 2705233"/>
              <a:gd name="connsiteX2767" fmla="*/ 4449860 w 6886183"/>
              <a:gd name="connsiteY2767" fmla="*/ 2172176 h 2705233"/>
              <a:gd name="connsiteX2768" fmla="*/ 4468434 w 6886183"/>
              <a:gd name="connsiteY2768" fmla="*/ 2170462 h 2705233"/>
              <a:gd name="connsiteX2769" fmla="*/ 4402675 w 6886183"/>
              <a:gd name="connsiteY2769" fmla="*/ 2169806 h 2705233"/>
              <a:gd name="connsiteX2770" fmla="*/ 4407664 w 6886183"/>
              <a:gd name="connsiteY2770" fmla="*/ 2171699 h 2705233"/>
              <a:gd name="connsiteX2771" fmla="*/ 4374612 w 6886183"/>
              <a:gd name="connsiteY2771" fmla="*/ 2185892 h 2705233"/>
              <a:gd name="connsiteX2772" fmla="*/ 4350800 w 6886183"/>
              <a:gd name="connsiteY2772" fmla="*/ 2187987 h 2705233"/>
              <a:gd name="connsiteX2773" fmla="*/ 4384042 w 6886183"/>
              <a:gd name="connsiteY2773" fmla="*/ 2173700 h 2705233"/>
              <a:gd name="connsiteX2774" fmla="*/ 4402675 w 6886183"/>
              <a:gd name="connsiteY2774" fmla="*/ 2169806 h 2705233"/>
              <a:gd name="connsiteX2775" fmla="*/ 3167117 w 6886183"/>
              <a:gd name="connsiteY2775" fmla="*/ 2168104 h 2705233"/>
              <a:gd name="connsiteX2776" fmla="*/ 3201181 w 6886183"/>
              <a:gd name="connsiteY2776" fmla="*/ 2173223 h 2705233"/>
              <a:gd name="connsiteX2777" fmla="*/ 3146700 w 6886183"/>
              <a:gd name="connsiteY2777" fmla="*/ 2205799 h 2705233"/>
              <a:gd name="connsiteX2778" fmla="*/ 3055449 w 6886183"/>
              <a:gd name="connsiteY2778" fmla="*/ 2209799 h 2705233"/>
              <a:gd name="connsiteX2779" fmla="*/ 3109263 w 6886183"/>
              <a:gd name="connsiteY2779" fmla="*/ 2176843 h 2705233"/>
              <a:gd name="connsiteX2780" fmla="*/ 3167117 w 6886183"/>
              <a:gd name="connsiteY2780" fmla="*/ 2168104 h 2705233"/>
              <a:gd name="connsiteX2781" fmla="*/ 4528632 w 6886183"/>
              <a:gd name="connsiteY2781" fmla="*/ 2167699 h 2705233"/>
              <a:gd name="connsiteX2782" fmla="*/ 4504629 w 6886183"/>
              <a:gd name="connsiteY2782" fmla="*/ 2177224 h 2705233"/>
              <a:gd name="connsiteX2783" fmla="*/ 4490913 w 6886183"/>
              <a:gd name="connsiteY2783" fmla="*/ 2178558 h 2705233"/>
              <a:gd name="connsiteX2784" fmla="*/ 4513392 w 6886183"/>
              <a:gd name="connsiteY2784" fmla="*/ 2169033 h 2705233"/>
              <a:gd name="connsiteX2785" fmla="*/ 4528632 w 6886183"/>
              <a:gd name="connsiteY2785" fmla="*/ 2167699 h 2705233"/>
              <a:gd name="connsiteX2786" fmla="*/ 2971058 w 6886183"/>
              <a:gd name="connsiteY2786" fmla="*/ 2167128 h 2705233"/>
              <a:gd name="connsiteX2787" fmla="*/ 3006587 w 6886183"/>
              <a:gd name="connsiteY2787" fmla="*/ 2172938 h 2705233"/>
              <a:gd name="connsiteX2788" fmla="*/ 2999538 w 6886183"/>
              <a:gd name="connsiteY2788" fmla="*/ 2188368 h 2705233"/>
              <a:gd name="connsiteX2789" fmla="*/ 2955151 w 6886183"/>
              <a:gd name="connsiteY2789" fmla="*/ 2204466 h 2705233"/>
              <a:gd name="connsiteX2790" fmla="*/ 2862373 w 6886183"/>
              <a:gd name="connsiteY2790" fmla="*/ 2206847 h 2705233"/>
              <a:gd name="connsiteX2791" fmla="*/ 2913145 w 6886183"/>
              <a:gd name="connsiteY2791" fmla="*/ 2174843 h 2705233"/>
              <a:gd name="connsiteX2792" fmla="*/ 2971058 w 6886183"/>
              <a:gd name="connsiteY2792" fmla="*/ 2167128 h 2705233"/>
              <a:gd name="connsiteX2793" fmla="*/ 4585020 w 6886183"/>
              <a:gd name="connsiteY2793" fmla="*/ 2165699 h 2705233"/>
              <a:gd name="connsiteX2794" fmla="*/ 4566541 w 6886183"/>
              <a:gd name="connsiteY2794" fmla="*/ 2173319 h 2705233"/>
              <a:gd name="connsiteX2795" fmla="*/ 4555492 w 6886183"/>
              <a:gd name="connsiteY2795" fmla="*/ 2174367 h 2705233"/>
              <a:gd name="connsiteX2796" fmla="*/ 4573971 w 6886183"/>
              <a:gd name="connsiteY2796" fmla="*/ 2166652 h 2705233"/>
              <a:gd name="connsiteX2797" fmla="*/ 4585020 w 6886183"/>
              <a:gd name="connsiteY2797" fmla="*/ 2165699 h 2705233"/>
              <a:gd name="connsiteX2798" fmla="*/ 2743599 w 6886183"/>
              <a:gd name="connsiteY2798" fmla="*/ 2165032 h 2705233"/>
              <a:gd name="connsiteX2799" fmla="*/ 2781697 w 6886183"/>
              <a:gd name="connsiteY2799" fmla="*/ 2171319 h 2705233"/>
              <a:gd name="connsiteX2800" fmla="*/ 2735027 w 6886183"/>
              <a:gd name="connsiteY2800" fmla="*/ 2201513 h 2705233"/>
              <a:gd name="connsiteX2801" fmla="*/ 2677880 w 6886183"/>
              <a:gd name="connsiteY2801" fmla="*/ 2208180 h 2705233"/>
              <a:gd name="connsiteX2802" fmla="*/ 2639778 w 6886183"/>
              <a:gd name="connsiteY2802" fmla="*/ 2202370 h 2705233"/>
              <a:gd name="connsiteX2803" fmla="*/ 2685309 w 6886183"/>
              <a:gd name="connsiteY2803" fmla="*/ 2171700 h 2705233"/>
              <a:gd name="connsiteX2804" fmla="*/ 2743599 w 6886183"/>
              <a:gd name="connsiteY2804" fmla="*/ 2165032 h 2705233"/>
              <a:gd name="connsiteX2805" fmla="*/ 4630072 w 6886183"/>
              <a:gd name="connsiteY2805" fmla="*/ 2164270 h 2705233"/>
              <a:gd name="connsiteX2806" fmla="*/ 4637026 w 6886183"/>
              <a:gd name="connsiteY2806" fmla="*/ 2164270 h 2705233"/>
              <a:gd name="connsiteX2807" fmla="*/ 4625405 w 6886183"/>
              <a:gd name="connsiteY2807" fmla="*/ 2168938 h 2705233"/>
              <a:gd name="connsiteX2808" fmla="*/ 4618547 w 6886183"/>
              <a:gd name="connsiteY2808" fmla="*/ 2168938 h 2705233"/>
              <a:gd name="connsiteX2809" fmla="*/ 4630072 w 6886183"/>
              <a:gd name="connsiteY2809" fmla="*/ 2164270 h 2705233"/>
              <a:gd name="connsiteX2810" fmla="*/ 2488615 w 6886183"/>
              <a:gd name="connsiteY2810" fmla="*/ 2161508 h 2705233"/>
              <a:gd name="connsiteX2811" fmla="*/ 2528811 w 6886183"/>
              <a:gd name="connsiteY2811" fmla="*/ 2168557 h 2705233"/>
              <a:gd name="connsiteX2812" fmla="*/ 2487569 w 6886183"/>
              <a:gd name="connsiteY2812" fmla="*/ 2196846 h 2705233"/>
              <a:gd name="connsiteX2813" fmla="*/ 2430419 w 6886183"/>
              <a:gd name="connsiteY2813" fmla="*/ 2202275 h 2705233"/>
              <a:gd name="connsiteX2814" fmla="*/ 2389556 w 6886183"/>
              <a:gd name="connsiteY2814" fmla="*/ 2195608 h 2705233"/>
              <a:gd name="connsiteX2815" fmla="*/ 2429941 w 6886183"/>
              <a:gd name="connsiteY2815" fmla="*/ 2167033 h 2705233"/>
              <a:gd name="connsiteX2816" fmla="*/ 2460040 w 6886183"/>
              <a:gd name="connsiteY2816" fmla="*/ 2162651 h 2705233"/>
              <a:gd name="connsiteX2817" fmla="*/ 2488615 w 6886183"/>
              <a:gd name="connsiteY2817" fmla="*/ 2161508 h 2705233"/>
              <a:gd name="connsiteX2818" fmla="*/ 1301119 w 6886183"/>
              <a:gd name="connsiteY2818" fmla="*/ 2159508 h 2705233"/>
              <a:gd name="connsiteX2819" fmla="*/ 1312835 w 6886183"/>
              <a:gd name="connsiteY2819" fmla="*/ 2159508 h 2705233"/>
              <a:gd name="connsiteX2820" fmla="*/ 1411419 w 6886183"/>
              <a:gd name="connsiteY2820" fmla="*/ 2174653 h 2705233"/>
              <a:gd name="connsiteX2821" fmla="*/ 1418753 w 6886183"/>
              <a:gd name="connsiteY2821" fmla="*/ 2187226 h 2705233"/>
              <a:gd name="connsiteX2822" fmla="*/ 1386463 w 6886183"/>
              <a:gd name="connsiteY2822" fmla="*/ 2193798 h 2705233"/>
              <a:gd name="connsiteX2823" fmla="*/ 1360270 w 6886183"/>
              <a:gd name="connsiteY2823" fmla="*/ 2193036 h 2705233"/>
              <a:gd name="connsiteX2824" fmla="*/ 1332647 w 6886183"/>
              <a:gd name="connsiteY2824" fmla="*/ 2189893 h 2705233"/>
              <a:gd name="connsiteX2825" fmla="*/ 1307406 w 6886183"/>
              <a:gd name="connsiteY2825" fmla="*/ 2184844 h 2705233"/>
              <a:gd name="connsiteX2826" fmla="*/ 1288356 w 6886183"/>
              <a:gd name="connsiteY2826" fmla="*/ 2178177 h 2705233"/>
              <a:gd name="connsiteX2827" fmla="*/ 1279689 w 6886183"/>
              <a:gd name="connsiteY2827" fmla="*/ 2165033 h 2705233"/>
              <a:gd name="connsiteX2828" fmla="*/ 1291594 w 6886183"/>
              <a:gd name="connsiteY2828" fmla="*/ 2160746 h 2705233"/>
              <a:gd name="connsiteX2829" fmla="*/ 1301119 w 6886183"/>
              <a:gd name="connsiteY2829" fmla="*/ 2159508 h 2705233"/>
              <a:gd name="connsiteX2830" fmla="*/ 1038510 w 6886183"/>
              <a:gd name="connsiteY2830" fmla="*/ 2155888 h 2705233"/>
              <a:gd name="connsiteX2831" fmla="*/ 1050702 w 6886183"/>
              <a:gd name="connsiteY2831" fmla="*/ 2156745 h 2705233"/>
              <a:gd name="connsiteX2832" fmla="*/ 1063466 w 6886183"/>
              <a:gd name="connsiteY2832" fmla="*/ 2158079 h 2705233"/>
              <a:gd name="connsiteX2833" fmla="*/ 1076610 w 6886183"/>
              <a:gd name="connsiteY2833" fmla="*/ 2159984 h 2705233"/>
              <a:gd name="connsiteX2834" fmla="*/ 1089659 w 6886183"/>
              <a:gd name="connsiteY2834" fmla="*/ 2162460 h 2705233"/>
              <a:gd name="connsiteX2835" fmla="*/ 1114329 w 6886183"/>
              <a:gd name="connsiteY2835" fmla="*/ 2168270 h 2705233"/>
              <a:gd name="connsiteX2836" fmla="*/ 1120044 w 6886183"/>
              <a:gd name="connsiteY2836" fmla="*/ 2169890 h 2705233"/>
              <a:gd name="connsiteX2837" fmla="*/ 1125377 w 6886183"/>
              <a:gd name="connsiteY2837" fmla="*/ 2171604 h 2705233"/>
              <a:gd name="connsiteX2838" fmla="*/ 1134903 w 6886183"/>
              <a:gd name="connsiteY2838" fmla="*/ 2175129 h 2705233"/>
              <a:gd name="connsiteX2839" fmla="*/ 1120997 w 6886183"/>
              <a:gd name="connsiteY2839" fmla="*/ 2192083 h 2705233"/>
              <a:gd name="connsiteX2840" fmla="*/ 1025652 w 6886183"/>
              <a:gd name="connsiteY2840" fmla="*/ 2172176 h 2705233"/>
              <a:gd name="connsiteX2841" fmla="*/ 1013174 w 6886183"/>
              <a:gd name="connsiteY2841" fmla="*/ 2164937 h 2705233"/>
              <a:gd name="connsiteX2842" fmla="*/ 1011364 w 6886183"/>
              <a:gd name="connsiteY2842" fmla="*/ 2159412 h 2705233"/>
              <a:gd name="connsiteX2843" fmla="*/ 1038510 w 6886183"/>
              <a:gd name="connsiteY2843" fmla="*/ 2155888 h 2705233"/>
              <a:gd name="connsiteX2844" fmla="*/ 4105900 w 6886183"/>
              <a:gd name="connsiteY2844" fmla="*/ 2152388 h 2705233"/>
              <a:gd name="connsiteX2845" fmla="*/ 4118770 w 6886183"/>
              <a:gd name="connsiteY2845" fmla="*/ 2155983 h 2705233"/>
              <a:gd name="connsiteX2846" fmla="*/ 4065049 w 6886183"/>
              <a:gd name="connsiteY2846" fmla="*/ 2181225 h 2705233"/>
              <a:gd name="connsiteX2847" fmla="*/ 4014948 w 6886183"/>
              <a:gd name="connsiteY2847" fmla="*/ 2185320 h 2705233"/>
              <a:gd name="connsiteX2848" fmla="*/ 4069526 w 6886183"/>
              <a:gd name="connsiteY2848" fmla="*/ 2159508 h 2705233"/>
              <a:gd name="connsiteX2849" fmla="*/ 4105900 w 6886183"/>
              <a:gd name="connsiteY2849" fmla="*/ 2152388 h 2705233"/>
              <a:gd name="connsiteX2850" fmla="*/ 4196911 w 6886183"/>
              <a:gd name="connsiteY2850" fmla="*/ 2150697 h 2705233"/>
              <a:gd name="connsiteX2851" fmla="*/ 4206877 w 6886183"/>
              <a:gd name="connsiteY2851" fmla="*/ 2154078 h 2705233"/>
              <a:gd name="connsiteX2852" fmla="*/ 4156394 w 6886183"/>
              <a:gd name="connsiteY2852" fmla="*/ 2176938 h 2705233"/>
              <a:gd name="connsiteX2853" fmla="*/ 4114770 w 6886183"/>
              <a:gd name="connsiteY2853" fmla="*/ 2180081 h 2705233"/>
              <a:gd name="connsiteX2854" fmla="*/ 4165443 w 6886183"/>
              <a:gd name="connsiteY2854" fmla="*/ 2157031 h 2705233"/>
              <a:gd name="connsiteX2855" fmla="*/ 4196911 w 6886183"/>
              <a:gd name="connsiteY2855" fmla="*/ 2150697 h 2705233"/>
              <a:gd name="connsiteX2856" fmla="*/ 1614408 w 6886183"/>
              <a:gd name="connsiteY2856" fmla="*/ 2148844 h 2705233"/>
              <a:gd name="connsiteX2857" fmla="*/ 1663452 w 6886183"/>
              <a:gd name="connsiteY2857" fmla="*/ 2158650 h 2705233"/>
              <a:gd name="connsiteX2858" fmla="*/ 1674978 w 6886183"/>
              <a:gd name="connsiteY2858" fmla="*/ 2171890 h 2705233"/>
              <a:gd name="connsiteX2859" fmla="*/ 1663643 w 6886183"/>
              <a:gd name="connsiteY2859" fmla="*/ 2177224 h 2705233"/>
              <a:gd name="connsiteX2860" fmla="*/ 1641545 w 6886183"/>
              <a:gd name="connsiteY2860" fmla="*/ 2181034 h 2705233"/>
              <a:gd name="connsiteX2861" fmla="*/ 1614970 w 6886183"/>
              <a:gd name="connsiteY2861" fmla="*/ 2182272 h 2705233"/>
              <a:gd name="connsiteX2862" fmla="*/ 1588396 w 6886183"/>
              <a:gd name="connsiteY2862" fmla="*/ 2180939 h 2705233"/>
              <a:gd name="connsiteX2863" fmla="*/ 1543342 w 6886183"/>
              <a:gd name="connsiteY2863" fmla="*/ 2171699 h 2705233"/>
              <a:gd name="connsiteX2864" fmla="*/ 1564392 w 6886183"/>
              <a:gd name="connsiteY2864" fmla="*/ 2149125 h 2705233"/>
              <a:gd name="connsiteX2865" fmla="*/ 1614408 w 6886183"/>
              <a:gd name="connsiteY2865" fmla="*/ 2148844 h 2705233"/>
              <a:gd name="connsiteX2866" fmla="*/ 4281589 w 6886183"/>
              <a:gd name="connsiteY2866" fmla="*/ 2148221 h 2705233"/>
              <a:gd name="connsiteX2867" fmla="*/ 4288792 w 6886183"/>
              <a:gd name="connsiteY2867" fmla="*/ 2151602 h 2705233"/>
              <a:gd name="connsiteX2868" fmla="*/ 4242215 w 6886183"/>
              <a:gd name="connsiteY2868" fmla="*/ 2172081 h 2705233"/>
              <a:gd name="connsiteX2869" fmla="*/ 4207448 w 6886183"/>
              <a:gd name="connsiteY2869" fmla="*/ 2174462 h 2705233"/>
              <a:gd name="connsiteX2870" fmla="*/ 4254311 w 6886183"/>
              <a:gd name="connsiteY2870" fmla="*/ 2153698 h 2705233"/>
              <a:gd name="connsiteX2871" fmla="*/ 4281589 w 6886183"/>
              <a:gd name="connsiteY2871" fmla="*/ 2148221 h 2705233"/>
              <a:gd name="connsiteX2872" fmla="*/ 4354692 w 6886183"/>
              <a:gd name="connsiteY2872" fmla="*/ 2147828 h 2705233"/>
              <a:gd name="connsiteX2873" fmla="*/ 4360991 w 6886183"/>
              <a:gd name="connsiteY2873" fmla="*/ 2150649 h 2705233"/>
              <a:gd name="connsiteX2874" fmla="*/ 4320129 w 6886183"/>
              <a:gd name="connsiteY2874" fmla="*/ 2168652 h 2705233"/>
              <a:gd name="connsiteX2875" fmla="*/ 4289554 w 6886183"/>
              <a:gd name="connsiteY2875" fmla="*/ 2171128 h 2705233"/>
              <a:gd name="connsiteX2876" fmla="*/ 4330606 w 6886183"/>
              <a:gd name="connsiteY2876" fmla="*/ 2152935 h 2705233"/>
              <a:gd name="connsiteX2877" fmla="*/ 4354692 w 6886183"/>
              <a:gd name="connsiteY2877" fmla="*/ 2147828 h 2705233"/>
              <a:gd name="connsiteX2878" fmla="*/ 2199903 w 6886183"/>
              <a:gd name="connsiteY2878" fmla="*/ 2147507 h 2705233"/>
              <a:gd name="connsiteX2879" fmla="*/ 2243817 w 6886183"/>
              <a:gd name="connsiteY2879" fmla="*/ 2155222 h 2705233"/>
              <a:gd name="connsiteX2880" fmla="*/ 2208955 w 6886183"/>
              <a:gd name="connsiteY2880" fmla="*/ 2182463 h 2705233"/>
              <a:gd name="connsiteX2881" fmla="*/ 2153518 w 6886183"/>
              <a:gd name="connsiteY2881" fmla="*/ 2186369 h 2705233"/>
              <a:gd name="connsiteX2882" fmla="*/ 2110084 w 6886183"/>
              <a:gd name="connsiteY2882" fmla="*/ 2179320 h 2705233"/>
              <a:gd name="connsiteX2883" fmla="*/ 2141039 w 6886183"/>
              <a:gd name="connsiteY2883" fmla="*/ 2151602 h 2705233"/>
              <a:gd name="connsiteX2884" fmla="*/ 2170757 w 6886183"/>
              <a:gd name="connsiteY2884" fmla="*/ 2148078 h 2705233"/>
              <a:gd name="connsiteX2885" fmla="*/ 2199903 w 6886183"/>
              <a:gd name="connsiteY2885" fmla="*/ 2147507 h 2705233"/>
              <a:gd name="connsiteX2886" fmla="*/ 4426226 w 6886183"/>
              <a:gd name="connsiteY2886" fmla="*/ 2146602 h 2705233"/>
              <a:gd name="connsiteX2887" fmla="*/ 4431191 w 6886183"/>
              <a:gd name="connsiteY2887" fmla="*/ 2149030 h 2705233"/>
              <a:gd name="connsiteX2888" fmla="*/ 4395568 w 6886183"/>
              <a:gd name="connsiteY2888" fmla="*/ 2164461 h 2705233"/>
              <a:gd name="connsiteX2889" fmla="*/ 4369564 w 6886183"/>
              <a:gd name="connsiteY2889" fmla="*/ 2166652 h 2705233"/>
              <a:gd name="connsiteX2890" fmla="*/ 4405474 w 6886183"/>
              <a:gd name="connsiteY2890" fmla="*/ 2151031 h 2705233"/>
              <a:gd name="connsiteX2891" fmla="*/ 4426226 w 6886183"/>
              <a:gd name="connsiteY2891" fmla="*/ 2146602 h 2705233"/>
              <a:gd name="connsiteX2892" fmla="*/ 4497580 w 6886183"/>
              <a:gd name="connsiteY2892" fmla="*/ 2146459 h 2705233"/>
              <a:gd name="connsiteX2893" fmla="*/ 4465576 w 6886183"/>
              <a:gd name="connsiteY2893" fmla="*/ 2160080 h 2705233"/>
              <a:gd name="connsiteX2894" fmla="*/ 4444811 w 6886183"/>
              <a:gd name="connsiteY2894" fmla="*/ 2161604 h 2705233"/>
              <a:gd name="connsiteX2895" fmla="*/ 4476625 w 6886183"/>
              <a:gd name="connsiteY2895" fmla="*/ 2148078 h 2705233"/>
              <a:gd name="connsiteX2896" fmla="*/ 4497580 w 6886183"/>
              <a:gd name="connsiteY2896" fmla="*/ 2146459 h 2705233"/>
              <a:gd name="connsiteX2897" fmla="*/ 4558444 w 6886183"/>
              <a:gd name="connsiteY2897" fmla="*/ 2144744 h 2705233"/>
              <a:gd name="connsiteX2898" fmla="*/ 4531774 w 6886183"/>
              <a:gd name="connsiteY2898" fmla="*/ 2156174 h 2705233"/>
              <a:gd name="connsiteX2899" fmla="*/ 4514344 w 6886183"/>
              <a:gd name="connsiteY2899" fmla="*/ 2158079 h 2705233"/>
              <a:gd name="connsiteX2900" fmla="*/ 4539394 w 6886183"/>
              <a:gd name="connsiteY2900" fmla="*/ 2147030 h 2705233"/>
              <a:gd name="connsiteX2901" fmla="*/ 4558444 w 6886183"/>
              <a:gd name="connsiteY2901" fmla="*/ 2144744 h 2705233"/>
              <a:gd name="connsiteX2902" fmla="*/ 4612261 w 6886183"/>
              <a:gd name="connsiteY2902" fmla="*/ 2144649 h 2705233"/>
              <a:gd name="connsiteX2903" fmla="*/ 4591878 w 6886183"/>
              <a:gd name="connsiteY2903" fmla="*/ 2153316 h 2705233"/>
              <a:gd name="connsiteX2904" fmla="*/ 4577114 w 6886183"/>
              <a:gd name="connsiteY2904" fmla="*/ 2155031 h 2705233"/>
              <a:gd name="connsiteX2905" fmla="*/ 4598450 w 6886183"/>
              <a:gd name="connsiteY2905" fmla="*/ 2145887 h 2705233"/>
              <a:gd name="connsiteX2906" fmla="*/ 4612261 w 6886183"/>
              <a:gd name="connsiteY2906" fmla="*/ 2144649 h 2705233"/>
              <a:gd name="connsiteX2907" fmla="*/ 3676621 w 6886183"/>
              <a:gd name="connsiteY2907" fmla="*/ 2143696 h 2705233"/>
              <a:gd name="connsiteX2908" fmla="*/ 3649760 w 6886183"/>
              <a:gd name="connsiteY2908" fmla="*/ 2156746 h 2705233"/>
              <a:gd name="connsiteX2909" fmla="*/ 3679573 w 6886183"/>
              <a:gd name="connsiteY2909" fmla="*/ 2154745 h 2705233"/>
              <a:gd name="connsiteX2910" fmla="*/ 3702719 w 6886183"/>
              <a:gd name="connsiteY2910" fmla="*/ 2143696 h 2705233"/>
              <a:gd name="connsiteX2911" fmla="*/ 4665124 w 6886183"/>
              <a:gd name="connsiteY2911" fmla="*/ 2143125 h 2705233"/>
              <a:gd name="connsiteX2912" fmla="*/ 4649599 w 6886183"/>
              <a:gd name="connsiteY2912" fmla="*/ 2149411 h 2705233"/>
              <a:gd name="connsiteX2913" fmla="*/ 4640931 w 6886183"/>
              <a:gd name="connsiteY2913" fmla="*/ 2150078 h 2705233"/>
              <a:gd name="connsiteX2914" fmla="*/ 4656457 w 6886183"/>
              <a:gd name="connsiteY2914" fmla="*/ 2143696 h 2705233"/>
              <a:gd name="connsiteX2915" fmla="*/ 4665124 w 6886183"/>
              <a:gd name="connsiteY2915" fmla="*/ 2143125 h 2705233"/>
              <a:gd name="connsiteX2916" fmla="*/ 3812638 w 6886183"/>
              <a:gd name="connsiteY2916" fmla="*/ 2142268 h 2705233"/>
              <a:gd name="connsiteX2917" fmla="*/ 3787587 w 6886183"/>
              <a:gd name="connsiteY2917" fmla="*/ 2154364 h 2705233"/>
              <a:gd name="connsiteX2918" fmla="*/ 3807685 w 6886183"/>
              <a:gd name="connsiteY2918" fmla="*/ 2154555 h 2705233"/>
              <a:gd name="connsiteX2919" fmla="*/ 3836260 w 6886183"/>
              <a:gd name="connsiteY2919" fmla="*/ 2142268 h 2705233"/>
              <a:gd name="connsiteX2920" fmla="*/ 3531368 w 6886183"/>
              <a:gd name="connsiteY2920" fmla="*/ 2142268 h 2705233"/>
              <a:gd name="connsiteX2921" fmla="*/ 3492032 w 6886183"/>
              <a:gd name="connsiteY2921" fmla="*/ 2162651 h 2705233"/>
              <a:gd name="connsiteX2922" fmla="*/ 3533652 w 6886183"/>
              <a:gd name="connsiteY2922" fmla="*/ 2160937 h 2705233"/>
              <a:gd name="connsiteX2923" fmla="*/ 3569465 w 6886183"/>
              <a:gd name="connsiteY2923" fmla="*/ 2143315 h 2705233"/>
              <a:gd name="connsiteX2924" fmla="*/ 3964752 w 6886183"/>
              <a:gd name="connsiteY2924" fmla="*/ 2135886 h 2705233"/>
              <a:gd name="connsiteX2925" fmla="*/ 3930843 w 6886183"/>
              <a:gd name="connsiteY2925" fmla="*/ 2136838 h 2705233"/>
              <a:gd name="connsiteX2926" fmla="*/ 3915031 w 6886183"/>
              <a:gd name="connsiteY2926" fmla="*/ 2145601 h 2705233"/>
              <a:gd name="connsiteX2927" fmla="*/ 3894457 w 6886183"/>
              <a:gd name="connsiteY2927" fmla="*/ 2155126 h 2705233"/>
              <a:gd name="connsiteX2928" fmla="*/ 3922461 w 6886183"/>
              <a:gd name="connsiteY2928" fmla="*/ 2155126 h 2705233"/>
              <a:gd name="connsiteX2929" fmla="*/ 3338504 w 6886183"/>
              <a:gd name="connsiteY2929" fmla="*/ 2127694 h 2705233"/>
              <a:gd name="connsiteX2930" fmla="*/ 3367002 w 6886183"/>
              <a:gd name="connsiteY2930" fmla="*/ 2134648 h 2705233"/>
              <a:gd name="connsiteX2931" fmla="*/ 3304047 w 6886183"/>
              <a:gd name="connsiteY2931" fmla="*/ 2169224 h 2705233"/>
              <a:gd name="connsiteX2932" fmla="*/ 3248616 w 6886183"/>
              <a:gd name="connsiteY2932" fmla="*/ 2177510 h 2705233"/>
              <a:gd name="connsiteX2933" fmla="*/ 3218233 w 6886183"/>
              <a:gd name="connsiteY2933" fmla="*/ 2171319 h 2705233"/>
              <a:gd name="connsiteX2934" fmla="*/ 3281284 w 6886183"/>
              <a:gd name="connsiteY2934" fmla="*/ 2136172 h 2705233"/>
              <a:gd name="connsiteX2935" fmla="*/ 3338504 w 6886183"/>
              <a:gd name="connsiteY2935" fmla="*/ 2127694 h 2705233"/>
              <a:gd name="connsiteX2936" fmla="*/ 3143270 w 6886183"/>
              <a:gd name="connsiteY2936" fmla="*/ 2127504 h 2705233"/>
              <a:gd name="connsiteX2937" fmla="*/ 3178799 w 6886183"/>
              <a:gd name="connsiteY2937" fmla="*/ 2133505 h 2705233"/>
              <a:gd name="connsiteX2938" fmla="*/ 3121647 w 6886183"/>
              <a:gd name="connsiteY2938" fmla="*/ 2167890 h 2705233"/>
              <a:gd name="connsiteX2939" fmla="*/ 3065354 w 6886183"/>
              <a:gd name="connsiteY2939" fmla="*/ 2175700 h 2705233"/>
              <a:gd name="connsiteX2940" fmla="*/ 3030303 w 6886183"/>
              <a:gd name="connsiteY2940" fmla="*/ 2170557 h 2705233"/>
              <a:gd name="connsiteX2941" fmla="*/ 3037827 w 6886183"/>
              <a:gd name="connsiteY2941" fmla="*/ 2154174 h 2705233"/>
              <a:gd name="connsiteX2942" fmla="*/ 3056878 w 6886183"/>
              <a:gd name="connsiteY2942" fmla="*/ 2144649 h 2705233"/>
              <a:gd name="connsiteX2943" fmla="*/ 3084025 w 6886183"/>
              <a:gd name="connsiteY2943" fmla="*/ 2136077 h 2705233"/>
              <a:gd name="connsiteX2944" fmla="*/ 3143270 w 6886183"/>
              <a:gd name="connsiteY2944" fmla="*/ 2127504 h 2705233"/>
              <a:gd name="connsiteX2945" fmla="*/ 2931731 w 6886183"/>
              <a:gd name="connsiteY2945" fmla="*/ 2127052 h 2705233"/>
              <a:gd name="connsiteX2946" fmla="*/ 2968963 w 6886183"/>
              <a:gd name="connsiteY2946" fmla="*/ 2133695 h 2705233"/>
              <a:gd name="connsiteX2947" fmla="*/ 2918290 w 6886183"/>
              <a:gd name="connsiteY2947" fmla="*/ 2166271 h 2705233"/>
              <a:gd name="connsiteX2948" fmla="*/ 2821131 w 6886183"/>
              <a:gd name="connsiteY2948" fmla="*/ 2168081 h 2705233"/>
              <a:gd name="connsiteX2949" fmla="*/ 2826372 w 6886183"/>
              <a:gd name="connsiteY2949" fmla="*/ 2151507 h 2705233"/>
              <a:gd name="connsiteX2950" fmla="*/ 2871994 w 6886183"/>
              <a:gd name="connsiteY2950" fmla="*/ 2134267 h 2705233"/>
              <a:gd name="connsiteX2951" fmla="*/ 2931731 w 6886183"/>
              <a:gd name="connsiteY2951" fmla="*/ 2127052 h 2705233"/>
              <a:gd name="connsiteX2952" fmla="*/ 4726466 w 6886183"/>
              <a:gd name="connsiteY2952" fmla="*/ 2125218 h 2705233"/>
              <a:gd name="connsiteX2953" fmla="*/ 4731705 w 6886183"/>
              <a:gd name="connsiteY2953" fmla="*/ 2125218 h 2705233"/>
              <a:gd name="connsiteX2954" fmla="*/ 4722275 w 6886183"/>
              <a:gd name="connsiteY2954" fmla="*/ 2129219 h 2705233"/>
              <a:gd name="connsiteX2955" fmla="*/ 4716941 w 6886183"/>
              <a:gd name="connsiteY2955" fmla="*/ 2129219 h 2705233"/>
              <a:gd name="connsiteX2956" fmla="*/ 4726466 w 6886183"/>
              <a:gd name="connsiteY2956" fmla="*/ 2125218 h 2705233"/>
              <a:gd name="connsiteX2957" fmla="*/ 1860038 w 6886183"/>
              <a:gd name="connsiteY2957" fmla="*/ 2123479 h 2705233"/>
              <a:gd name="connsiteX2958" fmla="*/ 1907294 w 6886183"/>
              <a:gd name="connsiteY2958" fmla="*/ 2132647 h 2705233"/>
              <a:gd name="connsiteX2959" fmla="*/ 1915581 w 6886183"/>
              <a:gd name="connsiteY2959" fmla="*/ 2146458 h 2705233"/>
              <a:gd name="connsiteX2960" fmla="*/ 1882815 w 6886183"/>
              <a:gd name="connsiteY2960" fmla="*/ 2157602 h 2705233"/>
              <a:gd name="connsiteX2961" fmla="*/ 1778041 w 6886183"/>
              <a:gd name="connsiteY2961" fmla="*/ 2150554 h 2705233"/>
              <a:gd name="connsiteX2962" fmla="*/ 1801281 w 6886183"/>
              <a:gd name="connsiteY2962" fmla="*/ 2125313 h 2705233"/>
              <a:gd name="connsiteX2963" fmla="*/ 1860038 w 6886183"/>
              <a:gd name="connsiteY2963" fmla="*/ 2123479 h 2705233"/>
              <a:gd name="connsiteX2964" fmla="*/ 4585305 w 6886183"/>
              <a:gd name="connsiteY2964" fmla="*/ 2122931 h 2705233"/>
              <a:gd name="connsiteX2965" fmla="*/ 4556159 w 6886183"/>
              <a:gd name="connsiteY2965" fmla="*/ 2135219 h 2705233"/>
              <a:gd name="connsiteX2966" fmla="*/ 4537775 w 6886183"/>
              <a:gd name="connsiteY2966" fmla="*/ 2136457 h 2705233"/>
              <a:gd name="connsiteX2967" fmla="*/ 4567112 w 6886183"/>
              <a:gd name="connsiteY2967" fmla="*/ 2124074 h 2705233"/>
              <a:gd name="connsiteX2968" fmla="*/ 4585305 w 6886183"/>
              <a:gd name="connsiteY2968" fmla="*/ 2122931 h 2705233"/>
              <a:gd name="connsiteX2969" fmla="*/ 4127641 w 6886183"/>
              <a:gd name="connsiteY2969" fmla="*/ 2122670 h 2705233"/>
              <a:gd name="connsiteX2970" fmla="*/ 4140012 w 6886183"/>
              <a:gd name="connsiteY2970" fmla="*/ 2127313 h 2705233"/>
              <a:gd name="connsiteX2971" fmla="*/ 4081338 w 6886183"/>
              <a:gd name="connsiteY2971" fmla="*/ 2154745 h 2705233"/>
              <a:gd name="connsiteX2972" fmla="*/ 4030379 w 6886183"/>
              <a:gd name="connsiteY2972" fmla="*/ 2157983 h 2705233"/>
              <a:gd name="connsiteX2973" fmla="*/ 4089339 w 6886183"/>
              <a:gd name="connsiteY2973" fmla="*/ 2130170 h 2705233"/>
              <a:gd name="connsiteX2974" fmla="*/ 4127641 w 6886183"/>
              <a:gd name="connsiteY2974" fmla="*/ 2122670 h 2705233"/>
              <a:gd name="connsiteX2975" fmla="*/ 4684270 w 6886183"/>
              <a:gd name="connsiteY2975" fmla="*/ 2121979 h 2705233"/>
              <a:gd name="connsiteX2976" fmla="*/ 4684937 w 6886183"/>
              <a:gd name="connsiteY2976" fmla="*/ 2121979 h 2705233"/>
              <a:gd name="connsiteX2977" fmla="*/ 4685508 w 6886183"/>
              <a:gd name="connsiteY2977" fmla="*/ 2121979 h 2705233"/>
              <a:gd name="connsiteX2978" fmla="*/ 4686556 w 6886183"/>
              <a:gd name="connsiteY2978" fmla="*/ 2121979 h 2705233"/>
              <a:gd name="connsiteX2979" fmla="*/ 4688556 w 6886183"/>
              <a:gd name="connsiteY2979" fmla="*/ 2121979 h 2705233"/>
              <a:gd name="connsiteX2980" fmla="*/ 4691604 w 6886183"/>
              <a:gd name="connsiteY2980" fmla="*/ 2121979 h 2705233"/>
              <a:gd name="connsiteX2981" fmla="*/ 4692557 w 6886183"/>
              <a:gd name="connsiteY2981" fmla="*/ 2123408 h 2705233"/>
              <a:gd name="connsiteX2982" fmla="*/ 4686842 w 6886183"/>
              <a:gd name="connsiteY2982" fmla="*/ 2126646 h 2705233"/>
              <a:gd name="connsiteX2983" fmla="*/ 4685794 w 6886183"/>
              <a:gd name="connsiteY2983" fmla="*/ 2126646 h 2705233"/>
              <a:gd name="connsiteX2984" fmla="*/ 4684556 w 6886183"/>
              <a:gd name="connsiteY2984" fmla="*/ 2127218 h 2705233"/>
              <a:gd name="connsiteX2985" fmla="*/ 4681698 w 6886183"/>
              <a:gd name="connsiteY2985" fmla="*/ 2128170 h 2705233"/>
              <a:gd name="connsiteX2986" fmla="*/ 4675888 w 6886183"/>
              <a:gd name="connsiteY2986" fmla="*/ 2130075 h 2705233"/>
              <a:gd name="connsiteX2987" fmla="*/ 4664458 w 6886183"/>
              <a:gd name="connsiteY2987" fmla="*/ 2130075 h 2705233"/>
              <a:gd name="connsiteX2988" fmla="*/ 4684270 w 6886183"/>
              <a:gd name="connsiteY2988" fmla="*/ 2121979 h 2705233"/>
              <a:gd name="connsiteX2989" fmla="*/ 4221057 w 6886183"/>
              <a:gd name="connsiteY2989" fmla="*/ 2121885 h 2705233"/>
              <a:gd name="connsiteX2990" fmla="*/ 4230689 w 6886183"/>
              <a:gd name="connsiteY2990" fmla="*/ 2126266 h 2705233"/>
              <a:gd name="connsiteX2991" fmla="*/ 4177635 w 6886183"/>
              <a:gd name="connsiteY2991" fmla="*/ 2150840 h 2705233"/>
              <a:gd name="connsiteX2992" fmla="*/ 4132677 w 6886183"/>
              <a:gd name="connsiteY2992" fmla="*/ 2154364 h 2705233"/>
              <a:gd name="connsiteX2993" fmla="*/ 4187065 w 6886183"/>
              <a:gd name="connsiteY2993" fmla="*/ 2128933 h 2705233"/>
              <a:gd name="connsiteX2994" fmla="*/ 4221057 w 6886183"/>
              <a:gd name="connsiteY2994" fmla="*/ 2121885 h 2705233"/>
              <a:gd name="connsiteX2995" fmla="*/ 4303305 w 6886183"/>
              <a:gd name="connsiteY2995" fmla="*/ 2121848 h 2705233"/>
              <a:gd name="connsiteX2996" fmla="*/ 4311556 w 6886183"/>
              <a:gd name="connsiteY2996" fmla="*/ 2125313 h 2705233"/>
              <a:gd name="connsiteX2997" fmla="*/ 4260883 w 6886183"/>
              <a:gd name="connsiteY2997" fmla="*/ 2148078 h 2705233"/>
              <a:gd name="connsiteX2998" fmla="*/ 4223069 w 6886183"/>
              <a:gd name="connsiteY2998" fmla="*/ 2150650 h 2705233"/>
              <a:gd name="connsiteX2999" fmla="*/ 4274123 w 6886183"/>
              <a:gd name="connsiteY2999" fmla="*/ 2127599 h 2705233"/>
              <a:gd name="connsiteX3000" fmla="*/ 4303305 w 6886183"/>
              <a:gd name="connsiteY3000" fmla="*/ 2121848 h 2705233"/>
              <a:gd name="connsiteX3001" fmla="*/ 4643884 w 6886183"/>
              <a:gd name="connsiteY3001" fmla="*/ 2121408 h 2705233"/>
              <a:gd name="connsiteX3002" fmla="*/ 4620548 w 6886183"/>
              <a:gd name="connsiteY3002" fmla="*/ 2130838 h 2705233"/>
              <a:gd name="connsiteX3003" fmla="*/ 4605117 w 6886183"/>
              <a:gd name="connsiteY3003" fmla="*/ 2132266 h 2705233"/>
              <a:gd name="connsiteX3004" fmla="*/ 4628454 w 6886183"/>
              <a:gd name="connsiteY3004" fmla="*/ 2122741 h 2705233"/>
              <a:gd name="connsiteX3005" fmla="*/ 4643884 w 6886183"/>
              <a:gd name="connsiteY3005" fmla="*/ 2121408 h 2705233"/>
              <a:gd name="connsiteX3006" fmla="*/ 4381494 w 6886183"/>
              <a:gd name="connsiteY3006" fmla="*/ 2121408 h 2705233"/>
              <a:gd name="connsiteX3007" fmla="*/ 4389376 w 6886183"/>
              <a:gd name="connsiteY3007" fmla="*/ 2124075 h 2705233"/>
              <a:gd name="connsiteX3008" fmla="*/ 4344323 w 6886183"/>
              <a:gd name="connsiteY3008" fmla="*/ 2144363 h 2705233"/>
              <a:gd name="connsiteX3009" fmla="*/ 4310509 w 6886183"/>
              <a:gd name="connsiteY3009" fmla="*/ 2147221 h 2705233"/>
              <a:gd name="connsiteX3010" fmla="*/ 4355753 w 6886183"/>
              <a:gd name="connsiteY3010" fmla="*/ 2126742 h 2705233"/>
              <a:gd name="connsiteX3011" fmla="*/ 4381494 w 6886183"/>
              <a:gd name="connsiteY3011" fmla="*/ 2121408 h 2705233"/>
              <a:gd name="connsiteX3012" fmla="*/ 4453800 w 6886183"/>
              <a:gd name="connsiteY3012" fmla="*/ 2120813 h 2705233"/>
              <a:gd name="connsiteX3013" fmla="*/ 4460718 w 6886183"/>
              <a:gd name="connsiteY3013" fmla="*/ 2122932 h 2705233"/>
              <a:gd name="connsiteX3014" fmla="*/ 4420999 w 6886183"/>
              <a:gd name="connsiteY3014" fmla="*/ 2140744 h 2705233"/>
              <a:gd name="connsiteX3015" fmla="*/ 4392519 w 6886183"/>
              <a:gd name="connsiteY3015" fmla="*/ 2143125 h 2705233"/>
              <a:gd name="connsiteX3016" fmla="*/ 4431381 w 6886183"/>
              <a:gd name="connsiteY3016" fmla="*/ 2125694 h 2705233"/>
              <a:gd name="connsiteX3017" fmla="*/ 4453800 w 6886183"/>
              <a:gd name="connsiteY3017" fmla="*/ 2120813 h 2705233"/>
              <a:gd name="connsiteX3018" fmla="*/ 4519202 w 6886183"/>
              <a:gd name="connsiteY3018" fmla="*/ 2120717 h 2705233"/>
              <a:gd name="connsiteX3019" fmla="*/ 4524250 w 6886183"/>
              <a:gd name="connsiteY3019" fmla="*/ 2122741 h 2705233"/>
              <a:gd name="connsiteX3020" fmla="*/ 4490055 w 6886183"/>
              <a:gd name="connsiteY3020" fmla="*/ 2137790 h 2705233"/>
              <a:gd name="connsiteX3021" fmla="*/ 4465767 w 6886183"/>
              <a:gd name="connsiteY3021" fmla="*/ 2139981 h 2705233"/>
              <a:gd name="connsiteX3022" fmla="*/ 4500152 w 6886183"/>
              <a:gd name="connsiteY3022" fmla="*/ 2124836 h 2705233"/>
              <a:gd name="connsiteX3023" fmla="*/ 4519202 w 6886183"/>
              <a:gd name="connsiteY3023" fmla="*/ 2120717 h 2705233"/>
              <a:gd name="connsiteX3024" fmla="*/ 2693985 w 6886183"/>
              <a:gd name="connsiteY3024" fmla="*/ 2120443 h 2705233"/>
              <a:gd name="connsiteX3025" fmla="*/ 2735025 w 6886183"/>
              <a:gd name="connsiteY3025" fmla="*/ 2126837 h 2705233"/>
              <a:gd name="connsiteX3026" fmla="*/ 2730739 w 6886183"/>
              <a:gd name="connsiteY3026" fmla="*/ 2143030 h 2705233"/>
              <a:gd name="connsiteX3027" fmla="*/ 2688069 w 6886183"/>
              <a:gd name="connsiteY3027" fmla="*/ 2158936 h 2705233"/>
              <a:gd name="connsiteX3028" fmla="*/ 2590151 w 6886183"/>
              <a:gd name="connsiteY3028" fmla="*/ 2158936 h 2705233"/>
              <a:gd name="connsiteX3029" fmla="*/ 2633872 w 6886183"/>
              <a:gd name="connsiteY3029" fmla="*/ 2126837 h 2705233"/>
              <a:gd name="connsiteX3030" fmla="*/ 2693985 w 6886183"/>
              <a:gd name="connsiteY3030" fmla="*/ 2120443 h 2705233"/>
              <a:gd name="connsiteX3031" fmla="*/ 736754 w 6886183"/>
              <a:gd name="connsiteY3031" fmla="*/ 2116360 h 2705233"/>
              <a:gd name="connsiteX3032" fmla="*/ 745231 w 6886183"/>
              <a:gd name="connsiteY3032" fmla="*/ 2117408 h 2705233"/>
              <a:gd name="connsiteX3033" fmla="*/ 755804 w 6886183"/>
              <a:gd name="connsiteY3033" fmla="*/ 2119217 h 2705233"/>
              <a:gd name="connsiteX3034" fmla="*/ 768281 w 6886183"/>
              <a:gd name="connsiteY3034" fmla="*/ 2121884 h 2705233"/>
              <a:gd name="connsiteX3035" fmla="*/ 774662 w 6886183"/>
              <a:gd name="connsiteY3035" fmla="*/ 2123408 h 2705233"/>
              <a:gd name="connsiteX3036" fmla="*/ 781045 w 6886183"/>
              <a:gd name="connsiteY3036" fmla="*/ 2125028 h 2705233"/>
              <a:gd name="connsiteX3037" fmla="*/ 806286 w 6886183"/>
              <a:gd name="connsiteY3037" fmla="*/ 2132552 h 2705233"/>
              <a:gd name="connsiteX3038" fmla="*/ 818288 w 6886183"/>
              <a:gd name="connsiteY3038" fmla="*/ 2136648 h 2705233"/>
              <a:gd name="connsiteX3039" fmla="*/ 829717 w 6886183"/>
              <a:gd name="connsiteY3039" fmla="*/ 2140934 h 2705233"/>
              <a:gd name="connsiteX3040" fmla="*/ 849148 w 6886183"/>
              <a:gd name="connsiteY3040" fmla="*/ 2149983 h 2705233"/>
              <a:gd name="connsiteX3041" fmla="*/ 860292 w 6886183"/>
              <a:gd name="connsiteY3041" fmla="*/ 2161604 h 2705233"/>
              <a:gd name="connsiteX3042" fmla="*/ 850768 w 6886183"/>
              <a:gd name="connsiteY3042" fmla="*/ 2163032 h 2705233"/>
              <a:gd name="connsiteX3043" fmla="*/ 842099 w 6886183"/>
              <a:gd name="connsiteY3043" fmla="*/ 2162461 h 2705233"/>
              <a:gd name="connsiteX3044" fmla="*/ 830861 w 6886183"/>
              <a:gd name="connsiteY3044" fmla="*/ 2160937 h 2705233"/>
              <a:gd name="connsiteX3045" fmla="*/ 806096 w 6886183"/>
              <a:gd name="connsiteY3045" fmla="*/ 2155793 h 2705233"/>
              <a:gd name="connsiteX3046" fmla="*/ 780949 w 6886183"/>
              <a:gd name="connsiteY3046" fmla="*/ 2148269 h 2705233"/>
              <a:gd name="connsiteX3047" fmla="*/ 774854 w 6886183"/>
              <a:gd name="connsiteY3047" fmla="*/ 2146173 h 2705233"/>
              <a:gd name="connsiteX3048" fmla="*/ 768947 w 6886183"/>
              <a:gd name="connsiteY3048" fmla="*/ 2143887 h 2705233"/>
              <a:gd name="connsiteX3049" fmla="*/ 757518 w 6886183"/>
              <a:gd name="connsiteY3049" fmla="*/ 2139125 h 2705233"/>
              <a:gd name="connsiteX3050" fmla="*/ 747136 w 6886183"/>
              <a:gd name="connsiteY3050" fmla="*/ 2134172 h 2705233"/>
              <a:gd name="connsiteX3051" fmla="*/ 742372 w 6886183"/>
              <a:gd name="connsiteY3051" fmla="*/ 2131695 h 2705233"/>
              <a:gd name="connsiteX3052" fmla="*/ 737897 w 6886183"/>
              <a:gd name="connsiteY3052" fmla="*/ 2129123 h 2705233"/>
              <a:gd name="connsiteX3053" fmla="*/ 727229 w 6886183"/>
              <a:gd name="connsiteY3053" fmla="*/ 2117027 h 2705233"/>
              <a:gd name="connsiteX3054" fmla="*/ 736754 w 6886183"/>
              <a:gd name="connsiteY3054" fmla="*/ 2116360 h 2705233"/>
              <a:gd name="connsiteX3055" fmla="*/ 2417652 w 6886183"/>
              <a:gd name="connsiteY3055" fmla="*/ 2110264 h 2705233"/>
              <a:gd name="connsiteX3056" fmla="*/ 2460990 w 6886183"/>
              <a:gd name="connsiteY3056" fmla="*/ 2118074 h 2705233"/>
              <a:gd name="connsiteX3057" fmla="*/ 2460229 w 6886183"/>
              <a:gd name="connsiteY3057" fmla="*/ 2133600 h 2705233"/>
              <a:gd name="connsiteX3058" fmla="*/ 2421367 w 6886183"/>
              <a:gd name="connsiteY3058" fmla="*/ 2147983 h 2705233"/>
              <a:gd name="connsiteX3059" fmla="*/ 2318020 w 6886183"/>
              <a:gd name="connsiteY3059" fmla="*/ 2145411 h 2705233"/>
              <a:gd name="connsiteX3060" fmla="*/ 2356597 w 6886183"/>
              <a:gd name="connsiteY3060" fmla="*/ 2115026 h 2705233"/>
              <a:gd name="connsiteX3061" fmla="*/ 2387171 w 6886183"/>
              <a:gd name="connsiteY3061" fmla="*/ 2110931 h 2705233"/>
              <a:gd name="connsiteX3062" fmla="*/ 2417652 w 6886183"/>
              <a:gd name="connsiteY3062" fmla="*/ 2110264 h 2705233"/>
              <a:gd name="connsiteX3063" fmla="*/ 3819591 w 6886183"/>
              <a:gd name="connsiteY3063" fmla="*/ 2107216 h 2705233"/>
              <a:gd name="connsiteX3064" fmla="*/ 3792921 w 6886183"/>
              <a:gd name="connsiteY3064" fmla="*/ 2120741 h 2705233"/>
              <a:gd name="connsiteX3065" fmla="*/ 3817400 w 6886183"/>
              <a:gd name="connsiteY3065" fmla="*/ 2120741 h 2705233"/>
              <a:gd name="connsiteX3066" fmla="*/ 3847594 w 6886183"/>
              <a:gd name="connsiteY3066" fmla="*/ 2107311 h 2705233"/>
              <a:gd name="connsiteX3067" fmla="*/ 4750850 w 6886183"/>
              <a:gd name="connsiteY3067" fmla="*/ 2105025 h 2705233"/>
              <a:gd name="connsiteX3068" fmla="*/ 4758184 w 6886183"/>
              <a:gd name="connsiteY3068" fmla="*/ 2105025 h 2705233"/>
              <a:gd name="connsiteX3069" fmla="*/ 4745802 w 6886183"/>
              <a:gd name="connsiteY3069" fmla="*/ 2110073 h 2705233"/>
              <a:gd name="connsiteX3070" fmla="*/ 4739229 w 6886183"/>
              <a:gd name="connsiteY3070" fmla="*/ 2110073 h 2705233"/>
              <a:gd name="connsiteX3071" fmla="*/ 4750850 w 6886183"/>
              <a:gd name="connsiteY3071" fmla="*/ 2105025 h 2705233"/>
              <a:gd name="connsiteX3072" fmla="*/ 3976468 w 6886183"/>
              <a:gd name="connsiteY3072" fmla="*/ 2105025 h 2705233"/>
              <a:gd name="connsiteX3073" fmla="*/ 3943035 w 6886183"/>
              <a:gd name="connsiteY3073" fmla="*/ 2106168 h 2705233"/>
              <a:gd name="connsiteX3074" fmla="*/ 3904935 w 6886183"/>
              <a:gd name="connsiteY3074" fmla="*/ 2123599 h 2705233"/>
              <a:gd name="connsiteX3075" fmla="*/ 3935605 w 6886183"/>
              <a:gd name="connsiteY3075" fmla="*/ 2124075 h 2705233"/>
              <a:gd name="connsiteX3076" fmla="*/ 3681193 w 6886183"/>
              <a:gd name="connsiteY3076" fmla="*/ 2103787 h 2705233"/>
              <a:gd name="connsiteX3077" fmla="*/ 3642807 w 6886183"/>
              <a:gd name="connsiteY3077" fmla="*/ 2124742 h 2705233"/>
              <a:gd name="connsiteX3078" fmla="*/ 3679097 w 6886183"/>
              <a:gd name="connsiteY3078" fmla="*/ 2124075 h 2705233"/>
              <a:gd name="connsiteX3079" fmla="*/ 3717769 w 6886183"/>
              <a:gd name="connsiteY3079" fmla="*/ 2106454 h 2705233"/>
              <a:gd name="connsiteX3080" fmla="*/ 3696242 w 6886183"/>
              <a:gd name="connsiteY3080" fmla="*/ 2106454 h 2705233"/>
              <a:gd name="connsiteX3081" fmla="*/ 3681193 w 6886183"/>
              <a:gd name="connsiteY3081" fmla="*/ 2103787 h 2705233"/>
              <a:gd name="connsiteX3082" fmla="*/ 4718560 w 6886183"/>
              <a:gd name="connsiteY3082" fmla="*/ 2100548 h 2705233"/>
              <a:gd name="connsiteX3083" fmla="*/ 4702463 w 6886183"/>
              <a:gd name="connsiteY3083" fmla="*/ 2108073 h 2705233"/>
              <a:gd name="connsiteX3084" fmla="*/ 4690652 w 6886183"/>
              <a:gd name="connsiteY3084" fmla="*/ 2108835 h 2705233"/>
              <a:gd name="connsiteX3085" fmla="*/ 4706749 w 6886183"/>
              <a:gd name="connsiteY3085" fmla="*/ 2101310 h 2705233"/>
              <a:gd name="connsiteX3086" fmla="*/ 4718560 w 6886183"/>
              <a:gd name="connsiteY3086" fmla="*/ 2100548 h 2705233"/>
              <a:gd name="connsiteX3087" fmla="*/ 4101721 w 6886183"/>
              <a:gd name="connsiteY3087" fmla="*/ 2100072 h 2705233"/>
              <a:gd name="connsiteX3088" fmla="*/ 4057525 w 6886183"/>
              <a:gd name="connsiteY3088" fmla="*/ 2101596 h 2705233"/>
              <a:gd name="connsiteX3089" fmla="*/ 4007614 w 6886183"/>
              <a:gd name="connsiteY3089" fmla="*/ 2124742 h 2705233"/>
              <a:gd name="connsiteX3090" fmla="*/ 4031522 w 6886183"/>
              <a:gd name="connsiteY3090" fmla="*/ 2123218 h 2705233"/>
              <a:gd name="connsiteX3091" fmla="*/ 4043428 w 6886183"/>
              <a:gd name="connsiteY3091" fmla="*/ 2125980 h 2705233"/>
              <a:gd name="connsiteX3092" fmla="*/ 4066860 w 6886183"/>
              <a:gd name="connsiteY3092" fmla="*/ 2113597 h 2705233"/>
              <a:gd name="connsiteX3093" fmla="*/ 4101721 w 6886183"/>
              <a:gd name="connsiteY3093" fmla="*/ 2100072 h 2705233"/>
              <a:gd name="connsiteX3094" fmla="*/ 3527556 w 6886183"/>
              <a:gd name="connsiteY3094" fmla="*/ 2099881 h 2705233"/>
              <a:gd name="connsiteX3095" fmla="*/ 3469179 w 6886183"/>
              <a:gd name="connsiteY3095" fmla="*/ 2131885 h 2705233"/>
              <a:gd name="connsiteX3096" fmla="*/ 3528891 w 6886183"/>
              <a:gd name="connsiteY3096" fmla="*/ 2129885 h 2705233"/>
              <a:gd name="connsiteX3097" fmla="*/ 3587562 w 6886183"/>
              <a:gd name="connsiteY3097" fmla="*/ 2102167 h 2705233"/>
              <a:gd name="connsiteX3098" fmla="*/ 3527556 w 6886183"/>
              <a:gd name="connsiteY3098" fmla="*/ 2099881 h 2705233"/>
              <a:gd name="connsiteX3099" fmla="*/ 4674650 w 6886183"/>
              <a:gd name="connsiteY3099" fmla="*/ 2096929 h 2705233"/>
              <a:gd name="connsiteX3100" fmla="*/ 4646646 w 6886183"/>
              <a:gd name="connsiteY3100" fmla="*/ 2109025 h 2705233"/>
              <a:gd name="connsiteX3101" fmla="*/ 4629215 w 6886183"/>
              <a:gd name="connsiteY3101" fmla="*/ 2110645 h 2705233"/>
              <a:gd name="connsiteX3102" fmla="*/ 4655600 w 6886183"/>
              <a:gd name="connsiteY3102" fmla="*/ 2098929 h 2705233"/>
              <a:gd name="connsiteX3103" fmla="*/ 4674650 w 6886183"/>
              <a:gd name="connsiteY3103" fmla="*/ 2096929 h 2705233"/>
              <a:gd name="connsiteX3104" fmla="*/ 4614964 w 6886183"/>
              <a:gd name="connsiteY3104" fmla="*/ 2094678 h 2705233"/>
              <a:gd name="connsiteX3105" fmla="*/ 4618261 w 6886183"/>
              <a:gd name="connsiteY3105" fmla="*/ 2097023 h 2705233"/>
              <a:gd name="connsiteX3106" fmla="*/ 4585210 w 6886183"/>
              <a:gd name="connsiteY3106" fmla="*/ 2111216 h 2705233"/>
              <a:gd name="connsiteX3107" fmla="*/ 4564731 w 6886183"/>
              <a:gd name="connsiteY3107" fmla="*/ 2112644 h 2705233"/>
              <a:gd name="connsiteX3108" fmla="*/ 4597878 w 6886183"/>
              <a:gd name="connsiteY3108" fmla="*/ 2098262 h 2705233"/>
              <a:gd name="connsiteX3109" fmla="*/ 4614964 w 6886183"/>
              <a:gd name="connsiteY3109" fmla="*/ 2094678 h 2705233"/>
              <a:gd name="connsiteX3110" fmla="*/ 4551063 w 6886183"/>
              <a:gd name="connsiteY3110" fmla="*/ 2094202 h 2705233"/>
              <a:gd name="connsiteX3111" fmla="*/ 4555587 w 6886183"/>
              <a:gd name="connsiteY3111" fmla="*/ 2096833 h 2705233"/>
              <a:gd name="connsiteX3112" fmla="*/ 4516916 w 6886183"/>
              <a:gd name="connsiteY3112" fmla="*/ 2113692 h 2705233"/>
              <a:gd name="connsiteX3113" fmla="*/ 4492341 w 6886183"/>
              <a:gd name="connsiteY3113" fmla="*/ 2115407 h 2705233"/>
              <a:gd name="connsiteX3114" fmla="*/ 4531108 w 6886183"/>
              <a:gd name="connsiteY3114" fmla="*/ 2098357 h 2705233"/>
              <a:gd name="connsiteX3115" fmla="*/ 4551063 w 6886183"/>
              <a:gd name="connsiteY3115" fmla="*/ 2094202 h 2705233"/>
              <a:gd name="connsiteX3116" fmla="*/ 4407295 w 6886183"/>
              <a:gd name="connsiteY3116" fmla="*/ 2094048 h 2705233"/>
              <a:gd name="connsiteX3117" fmla="*/ 4414236 w 6886183"/>
              <a:gd name="connsiteY3117" fmla="*/ 2097500 h 2705233"/>
              <a:gd name="connsiteX3118" fmla="*/ 4366230 w 6886183"/>
              <a:gd name="connsiteY3118" fmla="*/ 2119313 h 2705233"/>
              <a:gd name="connsiteX3119" fmla="*/ 4330797 w 6886183"/>
              <a:gd name="connsiteY3119" fmla="*/ 2121694 h 2705233"/>
              <a:gd name="connsiteX3120" fmla="*/ 4379851 w 6886183"/>
              <a:gd name="connsiteY3120" fmla="*/ 2099596 h 2705233"/>
              <a:gd name="connsiteX3121" fmla="*/ 4407295 w 6886183"/>
              <a:gd name="connsiteY3121" fmla="*/ 2094048 h 2705233"/>
              <a:gd name="connsiteX3122" fmla="*/ 4482519 w 6886183"/>
              <a:gd name="connsiteY3122" fmla="*/ 2093691 h 2705233"/>
              <a:gd name="connsiteX3123" fmla="*/ 4487674 w 6886183"/>
              <a:gd name="connsiteY3123" fmla="*/ 2097024 h 2705233"/>
              <a:gd name="connsiteX3124" fmla="*/ 4443478 w 6886183"/>
              <a:gd name="connsiteY3124" fmla="*/ 2116074 h 2705233"/>
              <a:gd name="connsiteX3125" fmla="*/ 4414903 w 6886183"/>
              <a:gd name="connsiteY3125" fmla="*/ 2117789 h 2705233"/>
              <a:gd name="connsiteX3126" fmla="*/ 4458433 w 6886183"/>
              <a:gd name="connsiteY3126" fmla="*/ 2098643 h 2705233"/>
              <a:gd name="connsiteX3127" fmla="*/ 4482519 w 6886183"/>
              <a:gd name="connsiteY3127" fmla="*/ 2093691 h 2705233"/>
              <a:gd name="connsiteX3128" fmla="*/ 2072743 w 6886183"/>
              <a:gd name="connsiteY3128" fmla="*/ 2092737 h 2705233"/>
              <a:gd name="connsiteX3129" fmla="*/ 2102747 w 6886183"/>
              <a:gd name="connsiteY3129" fmla="*/ 2092737 h 2705233"/>
              <a:gd name="connsiteX3130" fmla="*/ 2148086 w 6886183"/>
              <a:gd name="connsiteY3130" fmla="*/ 2101500 h 2705233"/>
              <a:gd name="connsiteX3131" fmla="*/ 2114749 w 6886183"/>
              <a:gd name="connsiteY3131" fmla="*/ 2130075 h 2705233"/>
              <a:gd name="connsiteX3132" fmla="*/ 2086175 w 6886183"/>
              <a:gd name="connsiteY3132" fmla="*/ 2133028 h 2705233"/>
              <a:gd name="connsiteX3133" fmla="*/ 2056647 w 6886183"/>
              <a:gd name="connsiteY3133" fmla="*/ 2133028 h 2705233"/>
              <a:gd name="connsiteX3134" fmla="*/ 2010927 w 6886183"/>
              <a:gd name="connsiteY3134" fmla="*/ 2124074 h 2705233"/>
              <a:gd name="connsiteX3135" fmla="*/ 2043122 w 6886183"/>
              <a:gd name="connsiteY3135" fmla="*/ 2095499 h 2705233"/>
              <a:gd name="connsiteX3136" fmla="*/ 2072743 w 6886183"/>
              <a:gd name="connsiteY3136" fmla="*/ 2092737 h 2705233"/>
              <a:gd name="connsiteX3137" fmla="*/ 4330667 w 6886183"/>
              <a:gd name="connsiteY3137" fmla="*/ 2092452 h 2705233"/>
              <a:gd name="connsiteX3138" fmla="*/ 4339179 w 6886183"/>
              <a:gd name="connsiteY3138" fmla="*/ 2096452 h 2705233"/>
              <a:gd name="connsiteX3139" fmla="*/ 4285363 w 6886183"/>
              <a:gd name="connsiteY3139" fmla="*/ 2121122 h 2705233"/>
              <a:gd name="connsiteX3140" fmla="*/ 4244691 w 6886183"/>
              <a:gd name="connsiteY3140" fmla="*/ 2123408 h 2705233"/>
              <a:gd name="connsiteX3141" fmla="*/ 4299651 w 6886183"/>
              <a:gd name="connsiteY3141" fmla="*/ 2098453 h 2705233"/>
              <a:gd name="connsiteX3142" fmla="*/ 4330667 w 6886183"/>
              <a:gd name="connsiteY3142" fmla="*/ 2092452 h 2705233"/>
              <a:gd name="connsiteX3143" fmla="*/ 4241536 w 6886183"/>
              <a:gd name="connsiteY3143" fmla="*/ 2092060 h 2705233"/>
              <a:gd name="connsiteX3144" fmla="*/ 4253549 w 6886183"/>
              <a:gd name="connsiteY3144" fmla="*/ 2096357 h 2705233"/>
              <a:gd name="connsiteX3145" fmla="*/ 4193828 w 6886183"/>
              <a:gd name="connsiteY3145" fmla="*/ 2123980 h 2705233"/>
              <a:gd name="connsiteX3146" fmla="*/ 4147155 w 6886183"/>
              <a:gd name="connsiteY3146" fmla="*/ 2126552 h 2705233"/>
              <a:gd name="connsiteX3147" fmla="*/ 4205162 w 6886183"/>
              <a:gd name="connsiteY3147" fmla="*/ 2099120 h 2705233"/>
              <a:gd name="connsiteX3148" fmla="*/ 4241536 w 6886183"/>
              <a:gd name="connsiteY3148" fmla="*/ 2092060 h 2705233"/>
              <a:gd name="connsiteX3149" fmla="*/ 4816286 w 6886183"/>
              <a:gd name="connsiteY3149" fmla="*/ 2088832 h 2705233"/>
              <a:gd name="connsiteX3150" fmla="*/ 4821716 w 6886183"/>
              <a:gd name="connsiteY3150" fmla="*/ 2088832 h 2705233"/>
              <a:gd name="connsiteX3151" fmla="*/ 4812191 w 6886183"/>
              <a:gd name="connsiteY3151" fmla="*/ 2092737 h 2705233"/>
              <a:gd name="connsiteX3152" fmla="*/ 4806761 w 6886183"/>
              <a:gd name="connsiteY3152" fmla="*/ 2092737 h 2705233"/>
              <a:gd name="connsiteX3153" fmla="*/ 4816286 w 6886183"/>
              <a:gd name="connsiteY3153" fmla="*/ 2088832 h 2705233"/>
              <a:gd name="connsiteX3154" fmla="*/ 3319442 w 6886183"/>
              <a:gd name="connsiteY3154" fmla="*/ 2088285 h 2705233"/>
              <a:gd name="connsiteX3155" fmla="*/ 3349955 w 6886183"/>
              <a:gd name="connsiteY3155" fmla="*/ 2095786 h 2705233"/>
              <a:gd name="connsiteX3156" fmla="*/ 3287380 w 6886183"/>
              <a:gd name="connsiteY3156" fmla="*/ 2131504 h 2705233"/>
              <a:gd name="connsiteX3157" fmla="*/ 3197372 w 6886183"/>
              <a:gd name="connsiteY3157" fmla="*/ 2133600 h 2705233"/>
              <a:gd name="connsiteX3158" fmla="*/ 3209945 w 6886183"/>
              <a:gd name="connsiteY3158" fmla="*/ 2115407 h 2705233"/>
              <a:gd name="connsiteX3159" fmla="*/ 3260714 w 6886183"/>
              <a:gd name="connsiteY3159" fmla="*/ 2096357 h 2705233"/>
              <a:gd name="connsiteX3160" fmla="*/ 3319442 w 6886183"/>
              <a:gd name="connsiteY3160" fmla="*/ 2088285 h 2705233"/>
              <a:gd name="connsiteX3161" fmla="*/ 3116123 w 6886183"/>
              <a:gd name="connsiteY3161" fmla="*/ 2086070 h 2705233"/>
              <a:gd name="connsiteX3162" fmla="*/ 3149652 w 6886183"/>
              <a:gd name="connsiteY3162" fmla="*/ 2093785 h 2705233"/>
              <a:gd name="connsiteX3163" fmla="*/ 3092502 w 6886183"/>
              <a:gd name="connsiteY3163" fmla="*/ 2128361 h 2705233"/>
              <a:gd name="connsiteX3164" fmla="*/ 2998870 w 6886183"/>
              <a:gd name="connsiteY3164" fmla="*/ 2129409 h 2705233"/>
              <a:gd name="connsiteX3165" fmla="*/ 3056878 w 6886183"/>
              <a:gd name="connsiteY3165" fmla="*/ 2093404 h 2705233"/>
              <a:gd name="connsiteX3166" fmla="*/ 3088121 w 6886183"/>
              <a:gd name="connsiteY3166" fmla="*/ 2087880 h 2705233"/>
              <a:gd name="connsiteX3167" fmla="*/ 3116123 w 6886183"/>
              <a:gd name="connsiteY3167" fmla="*/ 2086070 h 2705233"/>
              <a:gd name="connsiteX3168" fmla="*/ 4776091 w 6886183"/>
              <a:gd name="connsiteY3168" fmla="*/ 2083307 h 2705233"/>
              <a:gd name="connsiteX3169" fmla="*/ 4784663 w 6886183"/>
              <a:gd name="connsiteY3169" fmla="*/ 2083307 h 2705233"/>
              <a:gd name="connsiteX3170" fmla="*/ 4769328 w 6886183"/>
              <a:gd name="connsiteY3170" fmla="*/ 2089784 h 2705233"/>
              <a:gd name="connsiteX3171" fmla="*/ 4760756 w 6886183"/>
              <a:gd name="connsiteY3171" fmla="*/ 2089784 h 2705233"/>
              <a:gd name="connsiteX3172" fmla="*/ 4776091 w 6886183"/>
              <a:gd name="connsiteY3172" fmla="*/ 2083307 h 2705233"/>
              <a:gd name="connsiteX3173" fmla="*/ 2892249 w 6886183"/>
              <a:gd name="connsiteY3173" fmla="*/ 2080914 h 2705233"/>
              <a:gd name="connsiteX3174" fmla="*/ 2930384 w 6886183"/>
              <a:gd name="connsiteY3174" fmla="*/ 2088165 h 2705233"/>
              <a:gd name="connsiteX3175" fmla="*/ 2881426 w 6886183"/>
              <a:gd name="connsiteY3175" fmla="*/ 2122170 h 2705233"/>
              <a:gd name="connsiteX3176" fmla="*/ 2823037 w 6886183"/>
              <a:gd name="connsiteY3176" fmla="*/ 2129504 h 2705233"/>
              <a:gd name="connsiteX3177" fmla="*/ 2784080 w 6886183"/>
              <a:gd name="connsiteY3177" fmla="*/ 2122646 h 2705233"/>
              <a:gd name="connsiteX3178" fmla="*/ 2832179 w 6886183"/>
              <a:gd name="connsiteY3178" fmla="*/ 2088165 h 2705233"/>
              <a:gd name="connsiteX3179" fmla="*/ 2892249 w 6886183"/>
              <a:gd name="connsiteY3179" fmla="*/ 2080914 h 2705233"/>
              <a:gd name="connsiteX3180" fmla="*/ 4730848 w 6886183"/>
              <a:gd name="connsiteY3180" fmla="*/ 2079308 h 2705233"/>
              <a:gd name="connsiteX3181" fmla="*/ 4742944 w 6886183"/>
              <a:gd name="connsiteY3181" fmla="*/ 2079308 h 2705233"/>
              <a:gd name="connsiteX3182" fmla="*/ 4735610 w 6886183"/>
              <a:gd name="connsiteY3182" fmla="*/ 2083594 h 2705233"/>
              <a:gd name="connsiteX3183" fmla="*/ 4723609 w 6886183"/>
              <a:gd name="connsiteY3183" fmla="*/ 2087880 h 2705233"/>
              <a:gd name="connsiteX3184" fmla="*/ 4711798 w 6886183"/>
              <a:gd name="connsiteY3184" fmla="*/ 2088166 h 2705233"/>
              <a:gd name="connsiteX3185" fmla="*/ 4730848 w 6886183"/>
              <a:gd name="connsiteY3185" fmla="*/ 2079308 h 2705233"/>
              <a:gd name="connsiteX3186" fmla="*/ 1143666 w 6886183"/>
              <a:gd name="connsiteY3186" fmla="*/ 2077879 h 2705233"/>
              <a:gd name="connsiteX3187" fmla="*/ 1156906 w 6886183"/>
              <a:gd name="connsiteY3187" fmla="*/ 2078545 h 2705233"/>
              <a:gd name="connsiteX3188" fmla="*/ 1170527 w 6886183"/>
              <a:gd name="connsiteY3188" fmla="*/ 2079784 h 2705233"/>
              <a:gd name="connsiteX3189" fmla="*/ 1184433 w 6886183"/>
              <a:gd name="connsiteY3189" fmla="*/ 2081784 h 2705233"/>
              <a:gd name="connsiteX3190" fmla="*/ 1191386 w 6886183"/>
              <a:gd name="connsiteY3190" fmla="*/ 2082927 h 2705233"/>
              <a:gd name="connsiteX3191" fmla="*/ 1198149 w 6886183"/>
              <a:gd name="connsiteY3191" fmla="*/ 2084260 h 2705233"/>
              <a:gd name="connsiteX3192" fmla="*/ 1223581 w 6886183"/>
              <a:gd name="connsiteY3192" fmla="*/ 2090547 h 2705233"/>
              <a:gd name="connsiteX3193" fmla="*/ 1244060 w 6886183"/>
              <a:gd name="connsiteY3193" fmla="*/ 2098262 h 2705233"/>
              <a:gd name="connsiteX3194" fmla="*/ 1225105 w 6886183"/>
              <a:gd name="connsiteY3194" fmla="*/ 2116836 h 2705233"/>
              <a:gd name="connsiteX3195" fmla="*/ 1128617 w 6886183"/>
              <a:gd name="connsiteY3195" fmla="*/ 2097786 h 2705233"/>
              <a:gd name="connsiteX3196" fmla="*/ 1114996 w 6886183"/>
              <a:gd name="connsiteY3196" fmla="*/ 2089499 h 2705233"/>
              <a:gd name="connsiteX3197" fmla="*/ 1113377 w 6886183"/>
              <a:gd name="connsiteY3197" fmla="*/ 2083022 h 2705233"/>
              <a:gd name="connsiteX3198" fmla="*/ 1122902 w 6886183"/>
              <a:gd name="connsiteY3198" fmla="*/ 2079117 h 2705233"/>
              <a:gd name="connsiteX3199" fmla="*/ 1143666 w 6886183"/>
              <a:gd name="connsiteY3199" fmla="*/ 2077879 h 2705233"/>
              <a:gd name="connsiteX3200" fmla="*/ 1414847 w 6886183"/>
              <a:gd name="connsiteY3200" fmla="*/ 2077021 h 2705233"/>
              <a:gd name="connsiteX3201" fmla="*/ 1442374 w 6886183"/>
              <a:gd name="connsiteY3201" fmla="*/ 2077021 h 2705233"/>
              <a:gd name="connsiteX3202" fmla="*/ 1471902 w 6886183"/>
              <a:gd name="connsiteY3202" fmla="*/ 2079688 h 2705233"/>
              <a:gd name="connsiteX3203" fmla="*/ 1486188 w 6886183"/>
              <a:gd name="connsiteY3203" fmla="*/ 2081974 h 2705233"/>
              <a:gd name="connsiteX3204" fmla="*/ 1499334 w 6886183"/>
              <a:gd name="connsiteY3204" fmla="*/ 2084737 h 2705233"/>
              <a:gd name="connsiteX3205" fmla="*/ 1520479 w 6886183"/>
              <a:gd name="connsiteY3205" fmla="*/ 2091404 h 2705233"/>
              <a:gd name="connsiteX3206" fmla="*/ 1503333 w 6886183"/>
              <a:gd name="connsiteY3206" fmla="*/ 2114074 h 2705233"/>
              <a:gd name="connsiteX3207" fmla="*/ 1490856 w 6886183"/>
              <a:gd name="connsiteY3207" fmla="*/ 2114836 h 2705233"/>
              <a:gd name="connsiteX3208" fmla="*/ 1477140 w 6886183"/>
              <a:gd name="connsiteY3208" fmla="*/ 2114836 h 2705233"/>
              <a:gd name="connsiteX3209" fmla="*/ 1448566 w 6886183"/>
              <a:gd name="connsiteY3209" fmla="*/ 2112550 h 2705233"/>
              <a:gd name="connsiteX3210" fmla="*/ 1398083 w 6886183"/>
              <a:gd name="connsiteY3210" fmla="*/ 2100739 h 2705233"/>
              <a:gd name="connsiteX3211" fmla="*/ 1414847 w 6886183"/>
              <a:gd name="connsiteY3211" fmla="*/ 2077021 h 2705233"/>
              <a:gd name="connsiteX3212" fmla="*/ 4686937 w 6886183"/>
              <a:gd name="connsiteY3212" fmla="*/ 2073783 h 2705233"/>
              <a:gd name="connsiteX3213" fmla="*/ 4701034 w 6886183"/>
              <a:gd name="connsiteY3213" fmla="*/ 2073783 h 2705233"/>
              <a:gd name="connsiteX3214" fmla="*/ 4677221 w 6886183"/>
              <a:gd name="connsiteY3214" fmla="*/ 2084641 h 2705233"/>
              <a:gd name="connsiteX3215" fmla="*/ 4675221 w 6886183"/>
              <a:gd name="connsiteY3215" fmla="*/ 2085213 h 2705233"/>
              <a:gd name="connsiteX3216" fmla="*/ 4673126 w 6886183"/>
              <a:gd name="connsiteY3216" fmla="*/ 2085213 h 2705233"/>
              <a:gd name="connsiteX3217" fmla="*/ 4668935 w 6886183"/>
              <a:gd name="connsiteY3217" fmla="*/ 2086261 h 2705233"/>
              <a:gd name="connsiteX3218" fmla="*/ 4662648 w 6886183"/>
              <a:gd name="connsiteY3218" fmla="*/ 2087213 h 2705233"/>
              <a:gd name="connsiteX3219" fmla="*/ 4660362 w 6886183"/>
              <a:gd name="connsiteY3219" fmla="*/ 2084927 h 2705233"/>
              <a:gd name="connsiteX3220" fmla="*/ 4671697 w 6886183"/>
              <a:gd name="connsiteY3220" fmla="*/ 2078641 h 2705233"/>
              <a:gd name="connsiteX3221" fmla="*/ 4673412 w 6886183"/>
              <a:gd name="connsiteY3221" fmla="*/ 2077879 h 2705233"/>
              <a:gd name="connsiteX3222" fmla="*/ 4675126 w 6886183"/>
              <a:gd name="connsiteY3222" fmla="*/ 2077212 h 2705233"/>
              <a:gd name="connsiteX3223" fmla="*/ 4678841 w 6886183"/>
              <a:gd name="connsiteY3223" fmla="*/ 2075783 h 2705233"/>
              <a:gd name="connsiteX3224" fmla="*/ 4686937 w 6886183"/>
              <a:gd name="connsiteY3224" fmla="*/ 2073783 h 2705233"/>
              <a:gd name="connsiteX3225" fmla="*/ 2635107 w 6886183"/>
              <a:gd name="connsiteY3225" fmla="*/ 2071497 h 2705233"/>
              <a:gd name="connsiteX3226" fmla="*/ 2674255 w 6886183"/>
              <a:gd name="connsiteY3226" fmla="*/ 2080260 h 2705233"/>
              <a:gd name="connsiteX3227" fmla="*/ 2628154 w 6886183"/>
              <a:gd name="connsiteY3227" fmla="*/ 2112169 h 2705233"/>
              <a:gd name="connsiteX3228" fmla="*/ 2569386 w 6886183"/>
              <a:gd name="connsiteY3228" fmla="*/ 2117979 h 2705233"/>
              <a:gd name="connsiteX3229" fmla="*/ 2545191 w 6886183"/>
              <a:gd name="connsiteY3229" fmla="*/ 2115693 h 2705233"/>
              <a:gd name="connsiteX3230" fmla="*/ 2528427 w 6886183"/>
              <a:gd name="connsiteY3230" fmla="*/ 2110073 h 2705233"/>
              <a:gd name="connsiteX3231" fmla="*/ 2574814 w 6886183"/>
              <a:gd name="connsiteY3231" fmla="*/ 2076831 h 2705233"/>
              <a:gd name="connsiteX3232" fmla="*/ 2635107 w 6886183"/>
              <a:gd name="connsiteY3232" fmla="*/ 2071497 h 2705233"/>
              <a:gd name="connsiteX3233" fmla="*/ 3828925 w 6886183"/>
              <a:gd name="connsiteY3233" fmla="*/ 2068258 h 2705233"/>
              <a:gd name="connsiteX3234" fmla="*/ 3788825 w 6886183"/>
              <a:gd name="connsiteY3234" fmla="*/ 2088928 h 2705233"/>
              <a:gd name="connsiteX3235" fmla="*/ 3820448 w 6886183"/>
              <a:gd name="connsiteY3235" fmla="*/ 2088928 h 2705233"/>
              <a:gd name="connsiteX3236" fmla="*/ 3863215 w 6886183"/>
              <a:gd name="connsiteY3236" fmla="*/ 2069211 h 2705233"/>
              <a:gd name="connsiteX3237" fmla="*/ 4843147 w 6886183"/>
              <a:gd name="connsiteY3237" fmla="*/ 2067877 h 2705233"/>
              <a:gd name="connsiteX3238" fmla="*/ 4849434 w 6886183"/>
              <a:gd name="connsiteY3238" fmla="*/ 2067877 h 2705233"/>
              <a:gd name="connsiteX3239" fmla="*/ 4836194 w 6886183"/>
              <a:gd name="connsiteY3239" fmla="*/ 2073211 h 2705233"/>
              <a:gd name="connsiteX3240" fmla="*/ 4829907 w 6886183"/>
              <a:gd name="connsiteY3240" fmla="*/ 2073307 h 2705233"/>
              <a:gd name="connsiteX3241" fmla="*/ 4843147 w 6886183"/>
              <a:gd name="connsiteY3241" fmla="*/ 2067877 h 2705233"/>
              <a:gd name="connsiteX3242" fmla="*/ 3959323 w 6886183"/>
              <a:gd name="connsiteY3242" fmla="*/ 2067687 h 2705233"/>
              <a:gd name="connsiteX3243" fmla="*/ 3920175 w 6886183"/>
              <a:gd name="connsiteY3243" fmla="*/ 2088451 h 2705233"/>
              <a:gd name="connsiteX3244" fmla="*/ 3950941 w 6886183"/>
              <a:gd name="connsiteY3244" fmla="*/ 2088451 h 2705233"/>
              <a:gd name="connsiteX3245" fmla="*/ 3995518 w 6886183"/>
              <a:gd name="connsiteY3245" fmla="*/ 2069211 h 2705233"/>
              <a:gd name="connsiteX3246" fmla="*/ 3959323 w 6886183"/>
              <a:gd name="connsiteY3246" fmla="*/ 2067687 h 2705233"/>
              <a:gd name="connsiteX3247" fmla="*/ 4646801 w 6886183"/>
              <a:gd name="connsiteY3247" fmla="*/ 2067436 h 2705233"/>
              <a:gd name="connsiteX3248" fmla="*/ 4649218 w 6886183"/>
              <a:gd name="connsiteY3248" fmla="*/ 2070544 h 2705233"/>
              <a:gd name="connsiteX3249" fmla="*/ 4613309 w 6886183"/>
              <a:gd name="connsiteY3249" fmla="*/ 2085974 h 2705233"/>
              <a:gd name="connsiteX3250" fmla="*/ 4591878 w 6886183"/>
              <a:gd name="connsiteY3250" fmla="*/ 2086927 h 2705233"/>
              <a:gd name="connsiteX3251" fmla="*/ 4627882 w 6886183"/>
              <a:gd name="connsiteY3251" fmla="*/ 2071401 h 2705233"/>
              <a:gd name="connsiteX3252" fmla="*/ 4646801 w 6886183"/>
              <a:gd name="connsiteY3252" fmla="*/ 2067436 h 2705233"/>
              <a:gd name="connsiteX3253" fmla="*/ 4580662 w 6886183"/>
              <a:gd name="connsiteY3253" fmla="*/ 2067103 h 2705233"/>
              <a:gd name="connsiteX3254" fmla="*/ 4584829 w 6886183"/>
              <a:gd name="connsiteY3254" fmla="*/ 2070449 h 2705233"/>
              <a:gd name="connsiteX3255" fmla="*/ 4545205 w 6886183"/>
              <a:gd name="connsiteY3255" fmla="*/ 2088070 h 2705233"/>
              <a:gd name="connsiteX3256" fmla="*/ 4517202 w 6886183"/>
              <a:gd name="connsiteY3256" fmla="*/ 2090261 h 2705233"/>
              <a:gd name="connsiteX3257" fmla="*/ 4558064 w 6886183"/>
              <a:gd name="connsiteY3257" fmla="*/ 2071973 h 2705233"/>
              <a:gd name="connsiteX3258" fmla="*/ 4580662 w 6886183"/>
              <a:gd name="connsiteY3258" fmla="*/ 2067103 h 2705233"/>
              <a:gd name="connsiteX3259" fmla="*/ 4514142 w 6886183"/>
              <a:gd name="connsiteY3259" fmla="*/ 2064484 h 2705233"/>
              <a:gd name="connsiteX3260" fmla="*/ 4519774 w 6886183"/>
              <a:gd name="connsiteY3260" fmla="*/ 2068258 h 2705233"/>
              <a:gd name="connsiteX3261" fmla="*/ 4473196 w 6886183"/>
              <a:gd name="connsiteY3261" fmla="*/ 2089118 h 2705233"/>
              <a:gd name="connsiteX3262" fmla="*/ 4441859 w 6886183"/>
              <a:gd name="connsiteY3262" fmla="*/ 2091118 h 2705233"/>
              <a:gd name="connsiteX3263" fmla="*/ 4487865 w 6886183"/>
              <a:gd name="connsiteY3263" fmla="*/ 2070068 h 2705233"/>
              <a:gd name="connsiteX3264" fmla="*/ 4514142 w 6886183"/>
              <a:gd name="connsiteY3264" fmla="*/ 2064484 h 2705233"/>
              <a:gd name="connsiteX3265" fmla="*/ 4437846 w 6886183"/>
              <a:gd name="connsiteY3265" fmla="*/ 2063817 h 2705233"/>
              <a:gd name="connsiteX3266" fmla="*/ 4444335 w 6886183"/>
              <a:gd name="connsiteY3266" fmla="*/ 2068258 h 2705233"/>
              <a:gd name="connsiteX3267" fmla="*/ 4394043 w 6886183"/>
              <a:gd name="connsiteY3267" fmla="*/ 2091309 h 2705233"/>
              <a:gd name="connsiteX3268" fmla="*/ 4356324 w 6886183"/>
              <a:gd name="connsiteY3268" fmla="*/ 2093690 h 2705233"/>
              <a:gd name="connsiteX3269" fmla="*/ 4408140 w 6886183"/>
              <a:gd name="connsiteY3269" fmla="*/ 2069877 h 2705233"/>
              <a:gd name="connsiteX3270" fmla="*/ 4437846 w 6886183"/>
              <a:gd name="connsiteY3270" fmla="*/ 2063817 h 2705233"/>
              <a:gd name="connsiteX3271" fmla="*/ 3682621 w 6886183"/>
              <a:gd name="connsiteY3271" fmla="*/ 2062258 h 2705233"/>
              <a:gd name="connsiteX3272" fmla="*/ 3626805 w 6886183"/>
              <a:gd name="connsiteY3272" fmla="*/ 2092547 h 2705233"/>
              <a:gd name="connsiteX3273" fmla="*/ 3680812 w 6886183"/>
              <a:gd name="connsiteY3273" fmla="*/ 2094547 h 2705233"/>
              <a:gd name="connsiteX3274" fmla="*/ 3742057 w 6886183"/>
              <a:gd name="connsiteY3274" fmla="*/ 2063686 h 2705233"/>
              <a:gd name="connsiteX3275" fmla="*/ 3682621 w 6886183"/>
              <a:gd name="connsiteY3275" fmla="*/ 2062258 h 2705233"/>
              <a:gd name="connsiteX3276" fmla="*/ 4354622 w 6886183"/>
              <a:gd name="connsiteY3276" fmla="*/ 2061948 h 2705233"/>
              <a:gd name="connsiteX3277" fmla="*/ 4364040 w 6886183"/>
              <a:gd name="connsiteY3277" fmla="*/ 2066448 h 2705233"/>
              <a:gd name="connsiteX3278" fmla="*/ 4308604 w 6886183"/>
              <a:gd name="connsiteY3278" fmla="*/ 2092737 h 2705233"/>
              <a:gd name="connsiteX3279" fmla="*/ 4264122 w 6886183"/>
              <a:gd name="connsiteY3279" fmla="*/ 2095785 h 2705233"/>
              <a:gd name="connsiteX3280" fmla="*/ 4320701 w 6886183"/>
              <a:gd name="connsiteY3280" fmla="*/ 2069020 h 2705233"/>
              <a:gd name="connsiteX3281" fmla="*/ 4354622 w 6886183"/>
              <a:gd name="connsiteY3281" fmla="*/ 2061948 h 2705233"/>
              <a:gd name="connsiteX3282" fmla="*/ 4804570 w 6886183"/>
              <a:gd name="connsiteY3282" fmla="*/ 2061496 h 2705233"/>
              <a:gd name="connsiteX3283" fmla="*/ 4813333 w 6886183"/>
              <a:gd name="connsiteY3283" fmla="*/ 2061972 h 2705233"/>
              <a:gd name="connsiteX3284" fmla="*/ 4796284 w 6886183"/>
              <a:gd name="connsiteY3284" fmla="*/ 2068735 h 2705233"/>
              <a:gd name="connsiteX3285" fmla="*/ 4786759 w 6886183"/>
              <a:gd name="connsiteY3285" fmla="*/ 2068735 h 2705233"/>
              <a:gd name="connsiteX3286" fmla="*/ 4804570 w 6886183"/>
              <a:gd name="connsiteY3286" fmla="*/ 2061496 h 2705233"/>
              <a:gd name="connsiteX3287" fmla="*/ 4263301 w 6886183"/>
              <a:gd name="connsiteY3287" fmla="*/ 2060460 h 2705233"/>
              <a:gd name="connsiteX3288" fmla="*/ 4275934 w 6886183"/>
              <a:gd name="connsiteY3288" fmla="*/ 2065306 h 2705233"/>
              <a:gd name="connsiteX3289" fmla="*/ 4213926 w 6886183"/>
              <a:gd name="connsiteY3289" fmla="*/ 2094833 h 2705233"/>
              <a:gd name="connsiteX3290" fmla="*/ 4164205 w 6886183"/>
              <a:gd name="connsiteY3290" fmla="*/ 2097596 h 2705233"/>
              <a:gd name="connsiteX3291" fmla="*/ 4224308 w 6886183"/>
              <a:gd name="connsiteY3291" fmla="*/ 2068259 h 2705233"/>
              <a:gd name="connsiteX3292" fmla="*/ 4263301 w 6886183"/>
              <a:gd name="connsiteY3292" fmla="*/ 2060460 h 2705233"/>
              <a:gd name="connsiteX3293" fmla="*/ 1731734 w 6886183"/>
              <a:gd name="connsiteY3293" fmla="*/ 2057971 h 2705233"/>
              <a:gd name="connsiteX3294" fmla="*/ 1777370 w 6886183"/>
              <a:gd name="connsiteY3294" fmla="*/ 2068544 h 2705233"/>
              <a:gd name="connsiteX3295" fmla="*/ 1788324 w 6886183"/>
              <a:gd name="connsiteY3295" fmla="*/ 2083784 h 2705233"/>
              <a:gd name="connsiteX3296" fmla="*/ 1776132 w 6886183"/>
              <a:gd name="connsiteY3296" fmla="*/ 2089976 h 2705233"/>
              <a:gd name="connsiteX3297" fmla="*/ 1753081 w 6886183"/>
              <a:gd name="connsiteY3297" fmla="*/ 2094548 h 2705233"/>
              <a:gd name="connsiteX3298" fmla="*/ 1725460 w 6886183"/>
              <a:gd name="connsiteY3298" fmla="*/ 2096262 h 2705233"/>
              <a:gd name="connsiteX3299" fmla="*/ 1698123 w 6886183"/>
              <a:gd name="connsiteY3299" fmla="*/ 2095024 h 2705233"/>
              <a:gd name="connsiteX3300" fmla="*/ 1652212 w 6886183"/>
              <a:gd name="connsiteY3300" fmla="*/ 2084451 h 2705233"/>
              <a:gd name="connsiteX3301" fmla="*/ 1675453 w 6886183"/>
              <a:gd name="connsiteY3301" fmla="*/ 2058257 h 2705233"/>
              <a:gd name="connsiteX3302" fmla="*/ 1731734 w 6886183"/>
              <a:gd name="connsiteY3302" fmla="*/ 2057971 h 2705233"/>
              <a:gd name="connsiteX3303" fmla="*/ 4759517 w 6886183"/>
              <a:gd name="connsiteY3303" fmla="*/ 2055876 h 2705233"/>
              <a:gd name="connsiteX3304" fmla="*/ 4771995 w 6886183"/>
              <a:gd name="connsiteY3304" fmla="*/ 2055876 h 2705233"/>
              <a:gd name="connsiteX3305" fmla="*/ 4749421 w 6886183"/>
              <a:gd name="connsiteY3305" fmla="*/ 2065401 h 2705233"/>
              <a:gd name="connsiteX3306" fmla="*/ 4736848 w 6886183"/>
              <a:gd name="connsiteY3306" fmla="*/ 2065401 h 2705233"/>
              <a:gd name="connsiteX3307" fmla="*/ 4759517 w 6886183"/>
              <a:gd name="connsiteY3307" fmla="*/ 2055876 h 2705233"/>
              <a:gd name="connsiteX3308" fmla="*/ 2333352 w 6886183"/>
              <a:gd name="connsiteY3308" fmla="*/ 2055399 h 2705233"/>
              <a:gd name="connsiteX3309" fmla="*/ 2376215 w 6886183"/>
              <a:gd name="connsiteY3309" fmla="*/ 2064162 h 2705233"/>
              <a:gd name="connsiteX3310" fmla="*/ 2377930 w 6886183"/>
              <a:gd name="connsiteY3310" fmla="*/ 2080736 h 2705233"/>
              <a:gd name="connsiteX3311" fmla="*/ 2362212 w 6886183"/>
              <a:gd name="connsiteY3311" fmla="*/ 2088927 h 2705233"/>
              <a:gd name="connsiteX3312" fmla="*/ 2337257 w 6886183"/>
              <a:gd name="connsiteY3312" fmla="*/ 2095404 h 2705233"/>
              <a:gd name="connsiteX3313" fmla="*/ 2280107 w 6886183"/>
              <a:gd name="connsiteY3313" fmla="*/ 2099310 h 2705233"/>
              <a:gd name="connsiteX3314" fmla="*/ 2236292 w 6886183"/>
              <a:gd name="connsiteY3314" fmla="*/ 2090928 h 2705233"/>
              <a:gd name="connsiteX3315" fmla="*/ 2274392 w 6886183"/>
              <a:gd name="connsiteY3315" fmla="*/ 2059209 h 2705233"/>
              <a:gd name="connsiteX3316" fmla="*/ 2333352 w 6886183"/>
              <a:gd name="connsiteY3316" fmla="*/ 2055399 h 2705233"/>
              <a:gd name="connsiteX3317" fmla="*/ 843339 w 6886183"/>
              <a:gd name="connsiteY3317" fmla="*/ 2054256 h 2705233"/>
              <a:gd name="connsiteX3318" fmla="*/ 850674 w 6886183"/>
              <a:gd name="connsiteY3318" fmla="*/ 2054256 h 2705233"/>
              <a:gd name="connsiteX3319" fmla="*/ 855150 w 6886183"/>
              <a:gd name="connsiteY3319" fmla="*/ 2054256 h 2705233"/>
              <a:gd name="connsiteX3320" fmla="*/ 859722 w 6886183"/>
              <a:gd name="connsiteY3320" fmla="*/ 2055590 h 2705233"/>
              <a:gd name="connsiteX3321" fmla="*/ 885058 w 6886183"/>
              <a:gd name="connsiteY3321" fmla="*/ 2060352 h 2705233"/>
              <a:gd name="connsiteX3322" fmla="*/ 913157 w 6886183"/>
              <a:gd name="connsiteY3322" fmla="*/ 2067686 h 2705233"/>
              <a:gd name="connsiteX3323" fmla="*/ 926873 w 6886183"/>
              <a:gd name="connsiteY3323" fmla="*/ 2071877 h 2705233"/>
              <a:gd name="connsiteX3324" fmla="*/ 939638 w 6886183"/>
              <a:gd name="connsiteY3324" fmla="*/ 2076259 h 2705233"/>
              <a:gd name="connsiteX3325" fmla="*/ 950876 w 6886183"/>
              <a:gd name="connsiteY3325" fmla="*/ 2080736 h 2705233"/>
              <a:gd name="connsiteX3326" fmla="*/ 960401 w 6886183"/>
              <a:gd name="connsiteY3326" fmla="*/ 2085022 h 2705233"/>
              <a:gd name="connsiteX3327" fmla="*/ 946781 w 6886183"/>
              <a:gd name="connsiteY3327" fmla="*/ 2100833 h 2705233"/>
              <a:gd name="connsiteX3328" fmla="*/ 922016 w 6886183"/>
              <a:gd name="connsiteY3328" fmla="*/ 2097023 h 2705233"/>
              <a:gd name="connsiteX3329" fmla="*/ 908110 w 6886183"/>
              <a:gd name="connsiteY3329" fmla="*/ 2093880 h 2705233"/>
              <a:gd name="connsiteX3330" fmla="*/ 894013 w 6886183"/>
              <a:gd name="connsiteY3330" fmla="*/ 2089975 h 2705233"/>
              <a:gd name="connsiteX3331" fmla="*/ 867343 w 6886183"/>
              <a:gd name="connsiteY3331" fmla="*/ 2080450 h 2705233"/>
              <a:gd name="connsiteX3332" fmla="*/ 846578 w 6886183"/>
              <a:gd name="connsiteY3332" fmla="*/ 2070925 h 2705233"/>
              <a:gd name="connsiteX3333" fmla="*/ 835052 w 6886183"/>
              <a:gd name="connsiteY3333" fmla="*/ 2057018 h 2705233"/>
              <a:gd name="connsiteX3334" fmla="*/ 843339 w 6886183"/>
              <a:gd name="connsiteY3334" fmla="*/ 2054256 h 2705233"/>
              <a:gd name="connsiteX3335" fmla="*/ 4908869 w 6886183"/>
              <a:gd name="connsiteY3335" fmla="*/ 2053590 h 2705233"/>
              <a:gd name="connsiteX3336" fmla="*/ 4913822 w 6886183"/>
              <a:gd name="connsiteY3336" fmla="*/ 2053590 h 2705233"/>
              <a:gd name="connsiteX3337" fmla="*/ 4904774 w 6886183"/>
              <a:gd name="connsiteY3337" fmla="*/ 2057114 h 2705233"/>
              <a:gd name="connsiteX3338" fmla="*/ 4899344 w 6886183"/>
              <a:gd name="connsiteY3338" fmla="*/ 2057400 h 2705233"/>
              <a:gd name="connsiteX3339" fmla="*/ 4908869 w 6886183"/>
              <a:gd name="connsiteY3339" fmla="*/ 2053590 h 2705233"/>
              <a:gd name="connsiteX3340" fmla="*/ 3486994 w 6886183"/>
              <a:gd name="connsiteY3340" fmla="*/ 2047696 h 2705233"/>
              <a:gd name="connsiteX3341" fmla="*/ 3515365 w 6886183"/>
              <a:gd name="connsiteY3341" fmla="*/ 2055876 h 2705233"/>
              <a:gd name="connsiteX3342" fmla="*/ 3448703 w 6886183"/>
              <a:gd name="connsiteY3342" fmla="*/ 2093309 h 2705233"/>
              <a:gd name="connsiteX3343" fmla="*/ 3391567 w 6886183"/>
              <a:gd name="connsiteY3343" fmla="*/ 2101977 h 2705233"/>
              <a:gd name="connsiteX3344" fmla="*/ 3361857 w 6886183"/>
              <a:gd name="connsiteY3344" fmla="*/ 2094642 h 2705233"/>
              <a:gd name="connsiteX3345" fmla="*/ 3428702 w 6886183"/>
              <a:gd name="connsiteY3345" fmla="*/ 2056447 h 2705233"/>
              <a:gd name="connsiteX3346" fmla="*/ 3486994 w 6886183"/>
              <a:gd name="connsiteY3346" fmla="*/ 2047696 h 2705233"/>
              <a:gd name="connsiteX3347" fmla="*/ 4724942 w 6886183"/>
              <a:gd name="connsiteY3347" fmla="*/ 2047208 h 2705233"/>
              <a:gd name="connsiteX3348" fmla="*/ 4727323 w 6886183"/>
              <a:gd name="connsiteY3348" fmla="*/ 2049970 h 2705233"/>
              <a:gd name="connsiteX3349" fmla="*/ 4700558 w 6886183"/>
              <a:gd name="connsiteY3349" fmla="*/ 2062258 h 2705233"/>
              <a:gd name="connsiteX3350" fmla="*/ 4684270 w 6886183"/>
              <a:gd name="connsiteY3350" fmla="*/ 2062258 h 2705233"/>
              <a:gd name="connsiteX3351" fmla="*/ 4711226 w 6886183"/>
              <a:gd name="connsiteY3351" fmla="*/ 2049589 h 2705233"/>
              <a:gd name="connsiteX3352" fmla="*/ 4724942 w 6886183"/>
              <a:gd name="connsiteY3352" fmla="*/ 2047208 h 2705233"/>
              <a:gd name="connsiteX3353" fmla="*/ 4873151 w 6886183"/>
              <a:gd name="connsiteY3353" fmla="*/ 2045970 h 2705233"/>
              <a:gd name="connsiteX3354" fmla="*/ 4880485 w 6886183"/>
              <a:gd name="connsiteY3354" fmla="*/ 2046827 h 2705233"/>
              <a:gd name="connsiteX3355" fmla="*/ 4864769 w 6886183"/>
              <a:gd name="connsiteY3355" fmla="*/ 2052732 h 2705233"/>
              <a:gd name="connsiteX3356" fmla="*/ 4857815 w 6886183"/>
              <a:gd name="connsiteY3356" fmla="*/ 2051970 h 2705233"/>
              <a:gd name="connsiteX3357" fmla="*/ 4873151 w 6886183"/>
              <a:gd name="connsiteY3357" fmla="*/ 2045970 h 2705233"/>
              <a:gd name="connsiteX3358" fmla="*/ 3302762 w 6886183"/>
              <a:gd name="connsiteY3358" fmla="*/ 2043136 h 2705233"/>
              <a:gd name="connsiteX3359" fmla="*/ 3333861 w 6886183"/>
              <a:gd name="connsiteY3359" fmla="*/ 2051780 h 2705233"/>
              <a:gd name="connsiteX3360" fmla="*/ 3272618 w 6886183"/>
              <a:gd name="connsiteY3360" fmla="*/ 2088832 h 2705233"/>
              <a:gd name="connsiteX3361" fmla="*/ 3182893 w 6886183"/>
              <a:gd name="connsiteY3361" fmla="*/ 2089880 h 2705233"/>
              <a:gd name="connsiteX3362" fmla="*/ 3243665 w 6886183"/>
              <a:gd name="connsiteY3362" fmla="*/ 2051780 h 2705233"/>
              <a:gd name="connsiteX3363" fmla="*/ 3302762 w 6886183"/>
              <a:gd name="connsiteY3363" fmla="*/ 2043136 h 2705233"/>
              <a:gd name="connsiteX3364" fmla="*/ 4675411 w 6886183"/>
              <a:gd name="connsiteY3364" fmla="*/ 2041779 h 2705233"/>
              <a:gd name="connsiteX3365" fmla="*/ 4678745 w 6886183"/>
              <a:gd name="connsiteY3365" fmla="*/ 2045017 h 2705233"/>
              <a:gd name="connsiteX3366" fmla="*/ 4666934 w 6886183"/>
              <a:gd name="connsiteY3366" fmla="*/ 2052447 h 2705233"/>
              <a:gd name="connsiteX3367" fmla="*/ 4664648 w 6886183"/>
              <a:gd name="connsiteY3367" fmla="*/ 2053495 h 2705233"/>
              <a:gd name="connsiteX3368" fmla="*/ 4664077 w 6886183"/>
              <a:gd name="connsiteY3368" fmla="*/ 2053495 h 2705233"/>
              <a:gd name="connsiteX3369" fmla="*/ 4663410 w 6886183"/>
              <a:gd name="connsiteY3369" fmla="*/ 2053495 h 2705233"/>
              <a:gd name="connsiteX3370" fmla="*/ 4661886 w 6886183"/>
              <a:gd name="connsiteY3370" fmla="*/ 2054162 h 2705233"/>
              <a:gd name="connsiteX3371" fmla="*/ 4655790 w 6886183"/>
              <a:gd name="connsiteY3371" fmla="*/ 2056448 h 2705233"/>
              <a:gd name="connsiteX3372" fmla="*/ 4642931 w 6886183"/>
              <a:gd name="connsiteY3372" fmla="*/ 2060734 h 2705233"/>
              <a:gd name="connsiteX3373" fmla="*/ 4618642 w 6886183"/>
              <a:gd name="connsiteY3373" fmla="*/ 2061686 h 2705233"/>
              <a:gd name="connsiteX3374" fmla="*/ 4658647 w 6886183"/>
              <a:gd name="connsiteY3374" fmla="*/ 2043970 h 2705233"/>
              <a:gd name="connsiteX3375" fmla="*/ 4660171 w 6886183"/>
              <a:gd name="connsiteY3375" fmla="*/ 2043970 h 2705233"/>
              <a:gd name="connsiteX3376" fmla="*/ 4661695 w 6886183"/>
              <a:gd name="connsiteY3376" fmla="*/ 2043970 h 2705233"/>
              <a:gd name="connsiteX3377" fmla="*/ 4664172 w 6886183"/>
              <a:gd name="connsiteY3377" fmla="*/ 2043398 h 2705233"/>
              <a:gd name="connsiteX3378" fmla="*/ 4668553 w 6886183"/>
              <a:gd name="connsiteY3378" fmla="*/ 2042446 h 2705233"/>
              <a:gd name="connsiteX3379" fmla="*/ 4675411 w 6886183"/>
              <a:gd name="connsiteY3379" fmla="*/ 2041779 h 2705233"/>
              <a:gd name="connsiteX3380" fmla="*/ 214005 w 6886183"/>
              <a:gd name="connsiteY3380" fmla="*/ 2040445 h 2705233"/>
              <a:gd name="connsiteX3381" fmla="*/ 230293 w 6886183"/>
              <a:gd name="connsiteY3381" fmla="*/ 2049017 h 2705233"/>
              <a:gd name="connsiteX3382" fmla="*/ 238485 w 6886183"/>
              <a:gd name="connsiteY3382" fmla="*/ 2054923 h 2705233"/>
              <a:gd name="connsiteX3383" fmla="*/ 248010 w 6886183"/>
              <a:gd name="connsiteY3383" fmla="*/ 2061971 h 2705233"/>
              <a:gd name="connsiteX3384" fmla="*/ 258678 w 6886183"/>
              <a:gd name="connsiteY3384" fmla="*/ 2069972 h 2705233"/>
              <a:gd name="connsiteX3385" fmla="*/ 269727 w 6886183"/>
              <a:gd name="connsiteY3385" fmla="*/ 2078354 h 2705233"/>
              <a:gd name="connsiteX3386" fmla="*/ 309160 w 6886183"/>
              <a:gd name="connsiteY3386" fmla="*/ 2108263 h 2705233"/>
              <a:gd name="connsiteX3387" fmla="*/ 324019 w 6886183"/>
              <a:gd name="connsiteY3387" fmla="*/ 2123503 h 2705233"/>
              <a:gd name="connsiteX3388" fmla="*/ 304969 w 6886183"/>
              <a:gd name="connsiteY3388" fmla="*/ 2115883 h 2705233"/>
              <a:gd name="connsiteX3389" fmla="*/ 286395 w 6886183"/>
              <a:gd name="connsiteY3389" fmla="*/ 2104167 h 2705233"/>
              <a:gd name="connsiteX3390" fmla="*/ 264488 w 6886183"/>
              <a:gd name="connsiteY3390" fmla="*/ 2088546 h 2705233"/>
              <a:gd name="connsiteX3391" fmla="*/ 259059 w 6886183"/>
              <a:gd name="connsiteY3391" fmla="*/ 2084355 h 2705233"/>
              <a:gd name="connsiteX3392" fmla="*/ 253534 w 6886183"/>
              <a:gd name="connsiteY3392" fmla="*/ 2079974 h 2705233"/>
              <a:gd name="connsiteX3393" fmla="*/ 243152 w 6886183"/>
              <a:gd name="connsiteY3393" fmla="*/ 2071496 h 2705233"/>
              <a:gd name="connsiteX3394" fmla="*/ 233627 w 6886183"/>
              <a:gd name="connsiteY3394" fmla="*/ 2063495 h 2705233"/>
              <a:gd name="connsiteX3395" fmla="*/ 226483 w 6886183"/>
              <a:gd name="connsiteY3395" fmla="*/ 2056447 h 2705233"/>
              <a:gd name="connsiteX3396" fmla="*/ 214005 w 6886183"/>
              <a:gd name="connsiteY3396" fmla="*/ 2040445 h 2705233"/>
              <a:gd name="connsiteX3397" fmla="*/ 3087632 w 6886183"/>
              <a:gd name="connsiteY3397" fmla="*/ 2037766 h 2705233"/>
              <a:gd name="connsiteX3398" fmla="*/ 3121459 w 6886183"/>
              <a:gd name="connsiteY3398" fmla="*/ 2046350 h 2705233"/>
              <a:gd name="connsiteX3399" fmla="*/ 3064879 w 6886183"/>
              <a:gd name="connsiteY3399" fmla="*/ 2082355 h 2705233"/>
              <a:gd name="connsiteX3400" fmla="*/ 2972010 w 6886183"/>
              <a:gd name="connsiteY3400" fmla="*/ 2082069 h 2705233"/>
              <a:gd name="connsiteX3401" fmla="*/ 3028018 w 6886183"/>
              <a:gd name="connsiteY3401" fmla="*/ 2045398 h 2705233"/>
              <a:gd name="connsiteX3402" fmla="*/ 3087632 w 6886183"/>
              <a:gd name="connsiteY3402" fmla="*/ 2037766 h 2705233"/>
              <a:gd name="connsiteX3403" fmla="*/ 4838194 w 6886183"/>
              <a:gd name="connsiteY3403" fmla="*/ 2037302 h 2705233"/>
              <a:gd name="connsiteX3404" fmla="*/ 4841909 w 6886183"/>
              <a:gd name="connsiteY3404" fmla="*/ 2037302 h 2705233"/>
              <a:gd name="connsiteX3405" fmla="*/ 4841909 w 6886183"/>
              <a:gd name="connsiteY3405" fmla="*/ 2039588 h 2705233"/>
              <a:gd name="connsiteX3406" fmla="*/ 4838480 w 6886183"/>
              <a:gd name="connsiteY3406" fmla="*/ 2041588 h 2705233"/>
              <a:gd name="connsiteX3407" fmla="*/ 4833527 w 6886183"/>
              <a:gd name="connsiteY3407" fmla="*/ 2043779 h 2705233"/>
              <a:gd name="connsiteX3408" fmla="*/ 4821716 w 6886183"/>
              <a:gd name="connsiteY3408" fmla="*/ 2047779 h 2705233"/>
              <a:gd name="connsiteX3409" fmla="*/ 4811620 w 6886183"/>
              <a:gd name="connsiteY3409" fmla="*/ 2046636 h 2705233"/>
              <a:gd name="connsiteX3410" fmla="*/ 4832765 w 6886183"/>
              <a:gd name="connsiteY3410" fmla="*/ 2038350 h 2705233"/>
              <a:gd name="connsiteX3411" fmla="*/ 4838194 w 6886183"/>
              <a:gd name="connsiteY3411" fmla="*/ 2037302 h 2705233"/>
              <a:gd name="connsiteX3412" fmla="*/ 4615667 w 6886183"/>
              <a:gd name="connsiteY3412" fmla="*/ 2037230 h 2705233"/>
              <a:gd name="connsiteX3413" fmla="*/ 4620739 w 6886183"/>
              <a:gd name="connsiteY3413" fmla="*/ 2040635 h 2705233"/>
              <a:gd name="connsiteX3414" fmla="*/ 4575685 w 6886183"/>
              <a:gd name="connsiteY3414" fmla="*/ 2060829 h 2705233"/>
              <a:gd name="connsiteX3415" fmla="*/ 4547110 w 6886183"/>
              <a:gd name="connsiteY3415" fmla="*/ 2062257 h 2705233"/>
              <a:gd name="connsiteX3416" fmla="*/ 4592164 w 6886183"/>
              <a:gd name="connsiteY3416" fmla="*/ 2041969 h 2705233"/>
              <a:gd name="connsiteX3417" fmla="*/ 4615667 w 6886183"/>
              <a:gd name="connsiteY3417" fmla="*/ 2037230 h 2705233"/>
              <a:gd name="connsiteX3418" fmla="*/ 118844 w 6886183"/>
              <a:gd name="connsiteY3418" fmla="*/ 2036540 h 2705233"/>
              <a:gd name="connsiteX3419" fmla="*/ 123035 w 6886183"/>
              <a:gd name="connsiteY3419" fmla="*/ 2038445 h 2705233"/>
              <a:gd name="connsiteX3420" fmla="*/ 127417 w 6886183"/>
              <a:gd name="connsiteY3420" fmla="*/ 2041779 h 2705233"/>
              <a:gd name="connsiteX3421" fmla="*/ 133322 w 6886183"/>
              <a:gd name="connsiteY3421" fmla="*/ 2046636 h 2705233"/>
              <a:gd name="connsiteX3422" fmla="*/ 150563 w 6886183"/>
              <a:gd name="connsiteY3422" fmla="*/ 2061305 h 2705233"/>
              <a:gd name="connsiteX3423" fmla="*/ 160088 w 6886183"/>
              <a:gd name="connsiteY3423" fmla="*/ 2069782 h 2705233"/>
              <a:gd name="connsiteX3424" fmla="*/ 165040 w 6886183"/>
              <a:gd name="connsiteY3424" fmla="*/ 2074164 h 2705233"/>
              <a:gd name="connsiteX3425" fmla="*/ 169898 w 6886183"/>
              <a:gd name="connsiteY3425" fmla="*/ 2078355 h 2705233"/>
              <a:gd name="connsiteX3426" fmla="*/ 188948 w 6886183"/>
              <a:gd name="connsiteY3426" fmla="*/ 2094833 h 2705233"/>
              <a:gd name="connsiteX3427" fmla="*/ 197140 w 6886183"/>
              <a:gd name="connsiteY3427" fmla="*/ 2102262 h 2705233"/>
              <a:gd name="connsiteX3428" fmla="*/ 203807 w 6886183"/>
              <a:gd name="connsiteY3428" fmla="*/ 2108454 h 2705233"/>
              <a:gd name="connsiteX3429" fmla="*/ 211713 w 6886183"/>
              <a:gd name="connsiteY3429" fmla="*/ 2118550 h 2705233"/>
              <a:gd name="connsiteX3430" fmla="*/ 194663 w 6886183"/>
              <a:gd name="connsiteY3430" fmla="*/ 2109025 h 2705233"/>
              <a:gd name="connsiteX3431" fmla="*/ 160945 w 6886183"/>
              <a:gd name="connsiteY3431" fmla="*/ 2081879 h 2705233"/>
              <a:gd name="connsiteX3432" fmla="*/ 156563 w 6886183"/>
              <a:gd name="connsiteY3432" fmla="*/ 2077878 h 2705233"/>
              <a:gd name="connsiteX3433" fmla="*/ 152182 w 6886183"/>
              <a:gd name="connsiteY3433" fmla="*/ 2073878 h 2705233"/>
              <a:gd name="connsiteX3434" fmla="*/ 143895 w 6886183"/>
              <a:gd name="connsiteY3434" fmla="*/ 2065972 h 2705233"/>
              <a:gd name="connsiteX3435" fmla="*/ 129703 w 6886183"/>
              <a:gd name="connsiteY3435" fmla="*/ 2051208 h 2705233"/>
              <a:gd name="connsiteX3436" fmla="*/ 126940 w 6886183"/>
              <a:gd name="connsiteY3436" fmla="*/ 2048160 h 2705233"/>
              <a:gd name="connsiteX3437" fmla="*/ 124559 w 6886183"/>
              <a:gd name="connsiteY3437" fmla="*/ 2045398 h 2705233"/>
              <a:gd name="connsiteX3438" fmla="*/ 121035 w 6886183"/>
              <a:gd name="connsiteY3438" fmla="*/ 2040921 h 2705233"/>
              <a:gd name="connsiteX3439" fmla="*/ 118844 w 6886183"/>
              <a:gd name="connsiteY3439" fmla="*/ 2036540 h 2705233"/>
              <a:gd name="connsiteX3440" fmla="*/ 4544646 w 6886183"/>
              <a:gd name="connsiteY3440" fmla="*/ 2034433 h 2705233"/>
              <a:gd name="connsiteX3441" fmla="*/ 4550921 w 6886183"/>
              <a:gd name="connsiteY3441" fmla="*/ 2038445 h 2705233"/>
              <a:gd name="connsiteX3442" fmla="*/ 4500819 w 6886183"/>
              <a:gd name="connsiteY3442" fmla="*/ 2061305 h 2705233"/>
              <a:gd name="connsiteX3443" fmla="*/ 4466053 w 6886183"/>
              <a:gd name="connsiteY3443" fmla="*/ 2063400 h 2705233"/>
              <a:gd name="connsiteX3444" fmla="*/ 4517583 w 6886183"/>
              <a:gd name="connsiteY3444" fmla="*/ 2039779 h 2705233"/>
              <a:gd name="connsiteX3445" fmla="*/ 4544646 w 6886183"/>
              <a:gd name="connsiteY3445" fmla="*/ 2034433 h 2705233"/>
              <a:gd name="connsiteX3446" fmla="*/ 311545 w 6886183"/>
              <a:gd name="connsiteY3446" fmla="*/ 2032254 h 2705233"/>
              <a:gd name="connsiteX3447" fmla="*/ 319452 w 6886183"/>
              <a:gd name="connsiteY3447" fmla="*/ 2034730 h 2705233"/>
              <a:gd name="connsiteX3448" fmla="*/ 326975 w 6886183"/>
              <a:gd name="connsiteY3448" fmla="*/ 2038636 h 2705233"/>
              <a:gd name="connsiteX3449" fmla="*/ 331547 w 6886183"/>
              <a:gd name="connsiteY3449" fmla="*/ 2041398 h 2705233"/>
              <a:gd name="connsiteX3450" fmla="*/ 336597 w 6886183"/>
              <a:gd name="connsiteY3450" fmla="*/ 2044351 h 2705233"/>
              <a:gd name="connsiteX3451" fmla="*/ 357646 w 6886183"/>
              <a:gd name="connsiteY3451" fmla="*/ 2057209 h 2705233"/>
              <a:gd name="connsiteX3452" fmla="*/ 363172 w 6886183"/>
              <a:gd name="connsiteY3452" fmla="*/ 2060829 h 2705233"/>
              <a:gd name="connsiteX3453" fmla="*/ 368696 w 6886183"/>
              <a:gd name="connsiteY3453" fmla="*/ 2064353 h 2705233"/>
              <a:gd name="connsiteX3454" fmla="*/ 379744 w 6886183"/>
              <a:gd name="connsiteY3454" fmla="*/ 2071497 h 2705233"/>
              <a:gd name="connsiteX3455" fmla="*/ 390699 w 6886183"/>
              <a:gd name="connsiteY3455" fmla="*/ 2078641 h 2705233"/>
              <a:gd name="connsiteX3456" fmla="*/ 396032 w 6886183"/>
              <a:gd name="connsiteY3456" fmla="*/ 2082260 h 2705233"/>
              <a:gd name="connsiteX3457" fmla="*/ 401081 w 6886183"/>
              <a:gd name="connsiteY3457" fmla="*/ 2085594 h 2705233"/>
              <a:gd name="connsiteX3458" fmla="*/ 419274 w 6886183"/>
              <a:gd name="connsiteY3458" fmla="*/ 2098357 h 2705233"/>
              <a:gd name="connsiteX3459" fmla="*/ 426797 w 6886183"/>
              <a:gd name="connsiteY3459" fmla="*/ 2104168 h 2705233"/>
              <a:gd name="connsiteX3460" fmla="*/ 431750 w 6886183"/>
              <a:gd name="connsiteY3460" fmla="*/ 2108454 h 2705233"/>
              <a:gd name="connsiteX3461" fmla="*/ 434799 w 6886183"/>
              <a:gd name="connsiteY3461" fmla="*/ 2113407 h 2705233"/>
              <a:gd name="connsiteX3462" fmla="*/ 428703 w 6886183"/>
              <a:gd name="connsiteY3462" fmla="*/ 2113407 h 2705233"/>
              <a:gd name="connsiteX3463" fmla="*/ 422225 w 6886183"/>
              <a:gd name="connsiteY3463" fmla="*/ 2111216 h 2705233"/>
              <a:gd name="connsiteX3464" fmla="*/ 413368 w 6886183"/>
              <a:gd name="connsiteY3464" fmla="*/ 2107311 h 2705233"/>
              <a:gd name="connsiteX3465" fmla="*/ 391651 w 6886183"/>
              <a:gd name="connsiteY3465" fmla="*/ 2096167 h 2705233"/>
              <a:gd name="connsiteX3466" fmla="*/ 388697 w 6886183"/>
              <a:gd name="connsiteY3466" fmla="*/ 2094452 h 2705233"/>
              <a:gd name="connsiteX3467" fmla="*/ 385745 w 6886183"/>
              <a:gd name="connsiteY3467" fmla="*/ 2092738 h 2705233"/>
              <a:gd name="connsiteX3468" fmla="*/ 379744 w 6886183"/>
              <a:gd name="connsiteY3468" fmla="*/ 2089118 h 2705233"/>
              <a:gd name="connsiteX3469" fmla="*/ 367648 w 6886183"/>
              <a:gd name="connsiteY3469" fmla="*/ 2081403 h 2705233"/>
              <a:gd name="connsiteX3470" fmla="*/ 361743 w 6886183"/>
              <a:gd name="connsiteY3470" fmla="*/ 2077498 h 2705233"/>
              <a:gd name="connsiteX3471" fmla="*/ 355837 w 6886183"/>
              <a:gd name="connsiteY3471" fmla="*/ 2073497 h 2705233"/>
              <a:gd name="connsiteX3472" fmla="*/ 344503 w 6886183"/>
              <a:gd name="connsiteY3472" fmla="*/ 2065115 h 2705233"/>
              <a:gd name="connsiteX3473" fmla="*/ 334119 w 6886183"/>
              <a:gd name="connsiteY3473" fmla="*/ 2057019 h 2705233"/>
              <a:gd name="connsiteX3474" fmla="*/ 329452 w 6886183"/>
              <a:gd name="connsiteY3474" fmla="*/ 2053209 h 2705233"/>
              <a:gd name="connsiteX3475" fmla="*/ 327262 w 6886183"/>
              <a:gd name="connsiteY3475" fmla="*/ 2051304 h 2705233"/>
              <a:gd name="connsiteX3476" fmla="*/ 325072 w 6886183"/>
              <a:gd name="connsiteY3476" fmla="*/ 2049018 h 2705233"/>
              <a:gd name="connsiteX3477" fmla="*/ 311545 w 6886183"/>
              <a:gd name="connsiteY3477" fmla="*/ 2032254 h 2705233"/>
              <a:gd name="connsiteX3478" fmla="*/ 4467326 w 6886183"/>
              <a:gd name="connsiteY3478" fmla="*/ 2031575 h 2705233"/>
              <a:gd name="connsiteX3479" fmla="*/ 4475196 w 6886183"/>
              <a:gd name="connsiteY3479" fmla="*/ 2036159 h 2705233"/>
              <a:gd name="connsiteX3480" fmla="*/ 4418427 w 6886183"/>
              <a:gd name="connsiteY3480" fmla="*/ 2062162 h 2705233"/>
              <a:gd name="connsiteX3481" fmla="*/ 4379089 w 6886183"/>
              <a:gd name="connsiteY3481" fmla="*/ 2063876 h 2705233"/>
              <a:gd name="connsiteX3482" fmla="*/ 4436239 w 6886183"/>
              <a:gd name="connsiteY3482" fmla="*/ 2037492 h 2705233"/>
              <a:gd name="connsiteX3483" fmla="*/ 4467326 w 6886183"/>
              <a:gd name="connsiteY3483" fmla="*/ 2031575 h 2705233"/>
              <a:gd name="connsiteX3484" fmla="*/ 4942397 w 6886183"/>
              <a:gd name="connsiteY3484" fmla="*/ 2031492 h 2705233"/>
              <a:gd name="connsiteX3485" fmla="*/ 4947826 w 6886183"/>
              <a:gd name="connsiteY3485" fmla="*/ 2032349 h 2705233"/>
              <a:gd name="connsiteX3486" fmla="*/ 4935539 w 6886183"/>
              <a:gd name="connsiteY3486" fmla="*/ 2036921 h 2705233"/>
              <a:gd name="connsiteX3487" fmla="*/ 4929253 w 6886183"/>
              <a:gd name="connsiteY3487" fmla="*/ 2036445 h 2705233"/>
              <a:gd name="connsiteX3488" fmla="*/ 4942397 w 6886183"/>
              <a:gd name="connsiteY3488" fmla="*/ 2031492 h 2705233"/>
              <a:gd name="connsiteX3489" fmla="*/ 4787045 w 6886183"/>
              <a:gd name="connsiteY3489" fmla="*/ 2030635 h 2705233"/>
              <a:gd name="connsiteX3490" fmla="*/ 4800665 w 6886183"/>
              <a:gd name="connsiteY3490" fmla="*/ 2031587 h 2705233"/>
              <a:gd name="connsiteX3491" fmla="*/ 4791140 w 6886183"/>
              <a:gd name="connsiteY3491" fmla="*/ 2037016 h 2705233"/>
              <a:gd name="connsiteX3492" fmla="*/ 4776091 w 6886183"/>
              <a:gd name="connsiteY3492" fmla="*/ 2042065 h 2705233"/>
              <a:gd name="connsiteX3493" fmla="*/ 4762375 w 6886183"/>
              <a:gd name="connsiteY3493" fmla="*/ 2041398 h 2705233"/>
              <a:gd name="connsiteX3494" fmla="*/ 4771900 w 6886183"/>
              <a:gd name="connsiteY3494" fmla="*/ 2035873 h 2705233"/>
              <a:gd name="connsiteX3495" fmla="*/ 4779139 w 6886183"/>
              <a:gd name="connsiteY3495" fmla="*/ 2033016 h 2705233"/>
              <a:gd name="connsiteX3496" fmla="*/ 4142679 w 6886183"/>
              <a:gd name="connsiteY3496" fmla="*/ 2030063 h 2705233"/>
              <a:gd name="connsiteX3497" fmla="*/ 4095054 w 6886183"/>
              <a:gd name="connsiteY3497" fmla="*/ 2030920 h 2705233"/>
              <a:gd name="connsiteX3498" fmla="*/ 4042476 w 6886183"/>
              <a:gd name="connsiteY3498" fmla="*/ 2057114 h 2705233"/>
              <a:gd name="connsiteX3499" fmla="*/ 4064860 w 6886183"/>
              <a:gd name="connsiteY3499" fmla="*/ 2055685 h 2705233"/>
              <a:gd name="connsiteX3500" fmla="*/ 4080100 w 6886183"/>
              <a:gd name="connsiteY3500" fmla="*/ 2057971 h 2705233"/>
              <a:gd name="connsiteX3501" fmla="*/ 4142679 w 6886183"/>
              <a:gd name="connsiteY3501" fmla="*/ 2030063 h 2705233"/>
              <a:gd name="connsiteX3502" fmla="*/ 4385280 w 6886183"/>
              <a:gd name="connsiteY3502" fmla="*/ 2028658 h 2705233"/>
              <a:gd name="connsiteX3503" fmla="*/ 4395091 w 6886183"/>
              <a:gd name="connsiteY3503" fmla="*/ 2033968 h 2705233"/>
              <a:gd name="connsiteX3504" fmla="*/ 4334702 w 6886183"/>
              <a:gd name="connsiteY3504" fmla="*/ 2062162 h 2705233"/>
              <a:gd name="connsiteX3505" fmla="*/ 4288982 w 6886183"/>
              <a:gd name="connsiteY3505" fmla="*/ 2064067 h 2705233"/>
              <a:gd name="connsiteX3506" fmla="*/ 4349752 w 6886183"/>
              <a:gd name="connsiteY3506" fmla="*/ 2035492 h 2705233"/>
              <a:gd name="connsiteX3507" fmla="*/ 4385280 w 6886183"/>
              <a:gd name="connsiteY3507" fmla="*/ 2028658 h 2705233"/>
              <a:gd name="connsiteX3508" fmla="*/ 2841991 w 6886183"/>
              <a:gd name="connsiteY3508" fmla="*/ 2028539 h 2705233"/>
              <a:gd name="connsiteX3509" fmla="*/ 2878948 w 6886183"/>
              <a:gd name="connsiteY3509" fmla="*/ 2037017 h 2705233"/>
              <a:gd name="connsiteX3510" fmla="*/ 2874852 w 6886183"/>
              <a:gd name="connsiteY3510" fmla="*/ 2055019 h 2705233"/>
              <a:gd name="connsiteX3511" fmla="*/ 2829323 w 6886183"/>
              <a:gd name="connsiteY3511" fmla="*/ 2072164 h 2705233"/>
              <a:gd name="connsiteX3512" fmla="*/ 2732072 w 6886183"/>
              <a:gd name="connsiteY3512" fmla="*/ 2070449 h 2705233"/>
              <a:gd name="connsiteX3513" fmla="*/ 2735692 w 6886183"/>
              <a:gd name="connsiteY3513" fmla="*/ 2052257 h 2705233"/>
              <a:gd name="connsiteX3514" fmla="*/ 2783316 w 6886183"/>
              <a:gd name="connsiteY3514" fmla="*/ 2034826 h 2705233"/>
              <a:gd name="connsiteX3515" fmla="*/ 2841991 w 6886183"/>
              <a:gd name="connsiteY3515" fmla="*/ 2028539 h 2705233"/>
              <a:gd name="connsiteX3516" fmla="*/ 3971134 w 6886183"/>
              <a:gd name="connsiteY3516" fmla="*/ 2028444 h 2705233"/>
              <a:gd name="connsiteX3517" fmla="*/ 3920175 w 6886183"/>
              <a:gd name="connsiteY3517" fmla="*/ 2055209 h 2705233"/>
              <a:gd name="connsiteX3518" fmla="*/ 3963133 w 6886183"/>
              <a:gd name="connsiteY3518" fmla="*/ 2057400 h 2705233"/>
              <a:gd name="connsiteX3519" fmla="*/ 4022283 w 6886183"/>
              <a:gd name="connsiteY3519" fmla="*/ 2028825 h 2705233"/>
              <a:gd name="connsiteX3520" fmla="*/ 3971134 w 6886183"/>
              <a:gd name="connsiteY3520" fmla="*/ 2028444 h 2705233"/>
              <a:gd name="connsiteX3521" fmla="*/ 1999780 w 6886183"/>
              <a:gd name="connsiteY3521" fmla="*/ 2028062 h 2705233"/>
              <a:gd name="connsiteX3522" fmla="*/ 2045405 w 6886183"/>
              <a:gd name="connsiteY3522" fmla="*/ 2038254 h 2705233"/>
              <a:gd name="connsiteX3523" fmla="*/ 2051786 w 6886183"/>
              <a:gd name="connsiteY3523" fmla="*/ 2054732 h 2705233"/>
              <a:gd name="connsiteX3524" fmla="*/ 2013686 w 6886183"/>
              <a:gd name="connsiteY3524" fmla="*/ 2067782 h 2705233"/>
              <a:gd name="connsiteX3525" fmla="*/ 1907960 w 6886183"/>
              <a:gd name="connsiteY3525" fmla="*/ 2058257 h 2705233"/>
              <a:gd name="connsiteX3526" fmla="*/ 1902721 w 6886183"/>
              <a:gd name="connsiteY3526" fmla="*/ 2041874 h 2705233"/>
              <a:gd name="connsiteX3527" fmla="*/ 1941012 w 6886183"/>
              <a:gd name="connsiteY3527" fmla="*/ 2029586 h 2705233"/>
              <a:gd name="connsiteX3528" fmla="*/ 1999780 w 6886183"/>
              <a:gd name="connsiteY3528" fmla="*/ 2028062 h 2705233"/>
              <a:gd name="connsiteX3529" fmla="*/ 4292924 w 6886183"/>
              <a:gd name="connsiteY3529" fmla="*/ 2024931 h 2705233"/>
              <a:gd name="connsiteX3530" fmla="*/ 4304032 w 6886183"/>
              <a:gd name="connsiteY3530" fmla="*/ 2031206 h 2705233"/>
              <a:gd name="connsiteX3531" fmla="*/ 4240310 w 6886183"/>
              <a:gd name="connsiteY3531" fmla="*/ 2062067 h 2705233"/>
              <a:gd name="connsiteX3532" fmla="*/ 4187256 w 6886183"/>
              <a:gd name="connsiteY3532" fmla="*/ 2064734 h 2705233"/>
              <a:gd name="connsiteX3533" fmla="*/ 4252597 w 6886183"/>
              <a:gd name="connsiteY3533" fmla="*/ 2032730 h 2705233"/>
              <a:gd name="connsiteX3534" fmla="*/ 4292924 w 6886183"/>
              <a:gd name="connsiteY3534" fmla="*/ 2024931 h 2705233"/>
              <a:gd name="connsiteX3535" fmla="*/ 3833497 w 6886183"/>
              <a:gd name="connsiteY3535" fmla="*/ 2024634 h 2705233"/>
              <a:gd name="connsiteX3536" fmla="*/ 3764251 w 6886183"/>
              <a:gd name="connsiteY3536" fmla="*/ 2058257 h 2705233"/>
              <a:gd name="connsiteX3537" fmla="*/ 3830449 w 6886183"/>
              <a:gd name="connsiteY3537" fmla="*/ 2054352 h 2705233"/>
              <a:gd name="connsiteX3538" fmla="*/ 3855976 w 6886183"/>
              <a:gd name="connsiteY3538" fmla="*/ 2039969 h 2705233"/>
              <a:gd name="connsiteX3539" fmla="*/ 3886837 w 6886183"/>
              <a:gd name="connsiteY3539" fmla="*/ 2027206 h 2705233"/>
              <a:gd name="connsiteX3540" fmla="*/ 3854833 w 6886183"/>
              <a:gd name="connsiteY3540" fmla="*/ 2029111 h 2705233"/>
              <a:gd name="connsiteX3541" fmla="*/ 3833497 w 6886183"/>
              <a:gd name="connsiteY3541" fmla="*/ 2024634 h 2705233"/>
              <a:gd name="connsiteX3542" fmla="*/ 4902583 w 6886183"/>
              <a:gd name="connsiteY3542" fmla="*/ 2023491 h 2705233"/>
              <a:gd name="connsiteX3543" fmla="*/ 4912108 w 6886183"/>
              <a:gd name="connsiteY3543" fmla="*/ 2024253 h 2705233"/>
              <a:gd name="connsiteX3544" fmla="*/ 4894677 w 6886183"/>
              <a:gd name="connsiteY3544" fmla="*/ 2030920 h 2705233"/>
              <a:gd name="connsiteX3545" fmla="*/ 4885057 w 6886183"/>
              <a:gd name="connsiteY3545" fmla="*/ 2030349 h 2705233"/>
              <a:gd name="connsiteX3546" fmla="*/ 4891915 w 6886183"/>
              <a:gd name="connsiteY3546" fmla="*/ 2026729 h 2705233"/>
              <a:gd name="connsiteX3547" fmla="*/ 4902583 w 6886183"/>
              <a:gd name="connsiteY3547" fmla="*/ 2023491 h 2705233"/>
              <a:gd name="connsiteX3548" fmla="*/ 4740372 w 6886183"/>
              <a:gd name="connsiteY3548" fmla="*/ 2023396 h 2705233"/>
              <a:gd name="connsiteX3549" fmla="*/ 4757231 w 6886183"/>
              <a:gd name="connsiteY3549" fmla="*/ 2024158 h 2705233"/>
              <a:gd name="connsiteX3550" fmla="*/ 4728656 w 6886183"/>
              <a:gd name="connsiteY3550" fmla="*/ 2037016 h 2705233"/>
              <a:gd name="connsiteX3551" fmla="*/ 4719798 w 6886183"/>
              <a:gd name="connsiteY3551" fmla="*/ 2039017 h 2705233"/>
              <a:gd name="connsiteX3552" fmla="*/ 4713512 w 6886183"/>
              <a:gd name="connsiteY3552" fmla="*/ 2039779 h 2705233"/>
              <a:gd name="connsiteX3553" fmla="*/ 4711035 w 6886183"/>
              <a:gd name="connsiteY3553" fmla="*/ 2036826 h 2705233"/>
              <a:gd name="connsiteX3554" fmla="*/ 4715131 w 6886183"/>
              <a:gd name="connsiteY3554" fmla="*/ 2033587 h 2705233"/>
              <a:gd name="connsiteX3555" fmla="*/ 4721894 w 6886183"/>
              <a:gd name="connsiteY3555" fmla="*/ 2029968 h 2705233"/>
              <a:gd name="connsiteX3556" fmla="*/ 4740372 w 6886183"/>
              <a:gd name="connsiteY3556" fmla="*/ 2023396 h 2705233"/>
              <a:gd name="connsiteX3557" fmla="*/ 2562966 w 6886183"/>
              <a:gd name="connsiteY3557" fmla="*/ 2015681 h 2705233"/>
              <a:gd name="connsiteX3558" fmla="*/ 2605007 w 6886183"/>
              <a:gd name="connsiteY3558" fmla="*/ 2024824 h 2705233"/>
              <a:gd name="connsiteX3559" fmla="*/ 2560716 w 6886183"/>
              <a:gd name="connsiteY3559" fmla="*/ 2058829 h 2705233"/>
              <a:gd name="connsiteX3560" fmla="*/ 2458894 w 6886183"/>
              <a:gd name="connsiteY3560" fmla="*/ 2055114 h 2705233"/>
              <a:gd name="connsiteX3561" fmla="*/ 2458894 w 6886183"/>
              <a:gd name="connsiteY3561" fmla="*/ 2037016 h 2705233"/>
              <a:gd name="connsiteX3562" fmla="*/ 2501852 w 6886183"/>
              <a:gd name="connsiteY3562" fmla="*/ 2020538 h 2705233"/>
              <a:gd name="connsiteX3563" fmla="*/ 2562966 w 6886183"/>
              <a:gd name="connsiteY3563" fmla="*/ 2015681 h 2705233"/>
              <a:gd name="connsiteX3564" fmla="*/ 4864388 w 6886183"/>
              <a:gd name="connsiteY3564" fmla="*/ 2013299 h 2705233"/>
              <a:gd name="connsiteX3565" fmla="*/ 4875151 w 6886183"/>
              <a:gd name="connsiteY3565" fmla="*/ 2014633 h 2705233"/>
              <a:gd name="connsiteX3566" fmla="*/ 4853434 w 6886183"/>
              <a:gd name="connsiteY3566" fmla="*/ 2023300 h 2705233"/>
              <a:gd name="connsiteX3567" fmla="*/ 4841718 w 6886183"/>
              <a:gd name="connsiteY3567" fmla="*/ 2022824 h 2705233"/>
              <a:gd name="connsiteX3568" fmla="*/ 4864388 w 6886183"/>
              <a:gd name="connsiteY3568" fmla="*/ 2013299 h 2705233"/>
              <a:gd name="connsiteX3569" fmla="*/ 4705452 w 6886183"/>
              <a:gd name="connsiteY3569" fmla="*/ 2012941 h 2705233"/>
              <a:gd name="connsiteX3570" fmla="*/ 4707511 w 6886183"/>
              <a:gd name="connsiteY3570" fmla="*/ 2017013 h 2705233"/>
              <a:gd name="connsiteX3571" fmla="*/ 4673317 w 6886183"/>
              <a:gd name="connsiteY3571" fmla="*/ 2032920 h 2705233"/>
              <a:gd name="connsiteX3572" fmla="*/ 4663315 w 6886183"/>
              <a:gd name="connsiteY3572" fmla="*/ 2035206 h 2705233"/>
              <a:gd name="connsiteX3573" fmla="*/ 4659505 w 6886183"/>
              <a:gd name="connsiteY3573" fmla="*/ 2035206 h 2705233"/>
              <a:gd name="connsiteX3574" fmla="*/ 4657600 w 6886183"/>
              <a:gd name="connsiteY3574" fmla="*/ 2035206 h 2705233"/>
              <a:gd name="connsiteX3575" fmla="*/ 4655600 w 6886183"/>
              <a:gd name="connsiteY3575" fmla="*/ 2035206 h 2705233"/>
              <a:gd name="connsiteX3576" fmla="*/ 4653028 w 6886183"/>
              <a:gd name="connsiteY3576" fmla="*/ 2032253 h 2705233"/>
              <a:gd name="connsiteX3577" fmla="*/ 4655505 w 6886183"/>
              <a:gd name="connsiteY3577" fmla="*/ 2030158 h 2705233"/>
              <a:gd name="connsiteX3578" fmla="*/ 4657219 w 6886183"/>
              <a:gd name="connsiteY3578" fmla="*/ 2029110 h 2705233"/>
              <a:gd name="connsiteX3579" fmla="*/ 4658743 w 6886183"/>
              <a:gd name="connsiteY3579" fmla="*/ 2028062 h 2705233"/>
              <a:gd name="connsiteX3580" fmla="*/ 4666744 w 6886183"/>
              <a:gd name="connsiteY3580" fmla="*/ 2023776 h 2705233"/>
              <a:gd name="connsiteX3581" fmla="*/ 4688461 w 6886183"/>
              <a:gd name="connsiteY3581" fmla="*/ 2015870 h 2705233"/>
              <a:gd name="connsiteX3582" fmla="*/ 4705452 w 6886183"/>
              <a:gd name="connsiteY3582" fmla="*/ 2012941 h 2705233"/>
              <a:gd name="connsiteX3583" fmla="*/ 4973449 w 6886183"/>
              <a:gd name="connsiteY3583" fmla="*/ 2009775 h 2705233"/>
              <a:gd name="connsiteX3584" fmla="*/ 4980878 w 6886183"/>
              <a:gd name="connsiteY3584" fmla="*/ 2010346 h 2705233"/>
              <a:gd name="connsiteX3585" fmla="*/ 4966591 w 6886183"/>
              <a:gd name="connsiteY3585" fmla="*/ 2015680 h 2705233"/>
              <a:gd name="connsiteX3586" fmla="*/ 4959066 w 6886183"/>
              <a:gd name="connsiteY3586" fmla="*/ 2015109 h 2705233"/>
              <a:gd name="connsiteX3587" fmla="*/ 4973449 w 6886183"/>
              <a:gd name="connsiteY3587" fmla="*/ 2009775 h 2705233"/>
              <a:gd name="connsiteX3588" fmla="*/ 414706 w 6886183"/>
              <a:gd name="connsiteY3588" fmla="*/ 2008060 h 2705233"/>
              <a:gd name="connsiteX3589" fmla="*/ 422992 w 6886183"/>
              <a:gd name="connsiteY3589" fmla="*/ 2009299 h 2705233"/>
              <a:gd name="connsiteX3590" fmla="*/ 430327 w 6886183"/>
              <a:gd name="connsiteY3590" fmla="*/ 2012156 h 2705233"/>
              <a:gd name="connsiteX3591" fmla="*/ 439851 w 6886183"/>
              <a:gd name="connsiteY3591" fmla="*/ 2016442 h 2705233"/>
              <a:gd name="connsiteX3592" fmla="*/ 450996 w 6886183"/>
              <a:gd name="connsiteY3592" fmla="*/ 2022157 h 2705233"/>
              <a:gd name="connsiteX3593" fmla="*/ 456997 w 6886183"/>
              <a:gd name="connsiteY3593" fmla="*/ 2025396 h 2705233"/>
              <a:gd name="connsiteX3594" fmla="*/ 460139 w 6886183"/>
              <a:gd name="connsiteY3594" fmla="*/ 2027110 h 2705233"/>
              <a:gd name="connsiteX3595" fmla="*/ 463188 w 6886183"/>
              <a:gd name="connsiteY3595" fmla="*/ 2028730 h 2705233"/>
              <a:gd name="connsiteX3596" fmla="*/ 489000 w 6886183"/>
              <a:gd name="connsiteY3596" fmla="*/ 2043112 h 2705233"/>
              <a:gd name="connsiteX3597" fmla="*/ 513479 w 6886183"/>
              <a:gd name="connsiteY3597" fmla="*/ 2057400 h 2705233"/>
              <a:gd name="connsiteX3598" fmla="*/ 524052 w 6886183"/>
              <a:gd name="connsiteY3598" fmla="*/ 2063972 h 2705233"/>
              <a:gd name="connsiteX3599" fmla="*/ 532720 w 6886183"/>
              <a:gd name="connsiteY3599" fmla="*/ 2069782 h 2705233"/>
              <a:gd name="connsiteX3600" fmla="*/ 545959 w 6886183"/>
              <a:gd name="connsiteY3600" fmla="*/ 2083975 h 2705233"/>
              <a:gd name="connsiteX3601" fmla="*/ 524719 w 6886183"/>
              <a:gd name="connsiteY3601" fmla="*/ 2080546 h 2705233"/>
              <a:gd name="connsiteX3602" fmla="*/ 513670 w 6886183"/>
              <a:gd name="connsiteY3602" fmla="*/ 2076259 h 2705233"/>
              <a:gd name="connsiteX3603" fmla="*/ 500906 w 6886183"/>
              <a:gd name="connsiteY3603" fmla="*/ 2070449 h 2705233"/>
              <a:gd name="connsiteX3604" fmla="*/ 473379 w 6886183"/>
              <a:gd name="connsiteY3604" fmla="*/ 2055876 h 2705233"/>
              <a:gd name="connsiteX3605" fmla="*/ 459758 w 6886183"/>
              <a:gd name="connsiteY3605" fmla="*/ 2047684 h 2705233"/>
              <a:gd name="connsiteX3606" fmla="*/ 453185 w 6886183"/>
              <a:gd name="connsiteY3606" fmla="*/ 2043589 h 2705233"/>
              <a:gd name="connsiteX3607" fmla="*/ 446806 w 6886183"/>
              <a:gd name="connsiteY3607" fmla="*/ 2039302 h 2705233"/>
              <a:gd name="connsiteX3608" fmla="*/ 426039 w 6886183"/>
              <a:gd name="connsiteY3608" fmla="*/ 2023777 h 2705233"/>
              <a:gd name="connsiteX3609" fmla="*/ 422516 w 6886183"/>
              <a:gd name="connsiteY3609" fmla="*/ 2020538 h 2705233"/>
              <a:gd name="connsiteX3610" fmla="*/ 419562 w 6886183"/>
              <a:gd name="connsiteY3610" fmla="*/ 2017681 h 2705233"/>
              <a:gd name="connsiteX3611" fmla="*/ 415467 w 6886183"/>
              <a:gd name="connsiteY3611" fmla="*/ 2013013 h 2705233"/>
              <a:gd name="connsiteX3612" fmla="*/ 414706 w 6886183"/>
              <a:gd name="connsiteY3612" fmla="*/ 2008060 h 2705233"/>
              <a:gd name="connsiteX3613" fmla="*/ 3652391 w 6886183"/>
              <a:gd name="connsiteY3613" fmla="*/ 2007775 h 2705233"/>
              <a:gd name="connsiteX3614" fmla="*/ 3678811 w 6886183"/>
              <a:gd name="connsiteY3614" fmla="*/ 2015871 h 2705233"/>
              <a:gd name="connsiteX3615" fmla="*/ 3610517 w 6886183"/>
              <a:gd name="connsiteY3615" fmla="*/ 2055114 h 2705233"/>
              <a:gd name="connsiteX3616" fmla="*/ 3527083 w 6886183"/>
              <a:gd name="connsiteY3616" fmla="*/ 2057019 h 2705233"/>
              <a:gd name="connsiteX3617" fmla="*/ 3595182 w 6886183"/>
              <a:gd name="connsiteY3617" fmla="*/ 2017109 h 2705233"/>
              <a:gd name="connsiteX3618" fmla="*/ 3652391 w 6886183"/>
              <a:gd name="connsiteY3618" fmla="*/ 2007775 h 2705233"/>
              <a:gd name="connsiteX3619" fmla="*/ 4645980 w 6886183"/>
              <a:gd name="connsiteY3619" fmla="*/ 2005489 h 2705233"/>
              <a:gd name="connsiteX3620" fmla="*/ 4648457 w 6886183"/>
              <a:gd name="connsiteY3620" fmla="*/ 2005489 h 2705233"/>
              <a:gd name="connsiteX3621" fmla="*/ 4650457 w 6886183"/>
              <a:gd name="connsiteY3621" fmla="*/ 2005489 h 2705233"/>
              <a:gd name="connsiteX3622" fmla="*/ 4654076 w 6886183"/>
              <a:gd name="connsiteY3622" fmla="*/ 2010061 h 2705233"/>
              <a:gd name="connsiteX3623" fmla="*/ 4651886 w 6886183"/>
              <a:gd name="connsiteY3623" fmla="*/ 2012252 h 2705233"/>
              <a:gd name="connsiteX3624" fmla="*/ 4647885 w 6886183"/>
              <a:gd name="connsiteY3624" fmla="*/ 2014823 h 2705233"/>
              <a:gd name="connsiteX3625" fmla="*/ 4636741 w 6886183"/>
              <a:gd name="connsiteY3625" fmla="*/ 2020538 h 2705233"/>
              <a:gd name="connsiteX3626" fmla="*/ 4606356 w 6886183"/>
              <a:gd name="connsiteY3626" fmla="*/ 2031111 h 2705233"/>
              <a:gd name="connsiteX3627" fmla="*/ 4576829 w 6886183"/>
              <a:gd name="connsiteY3627" fmla="*/ 2032159 h 2705233"/>
              <a:gd name="connsiteX3628" fmla="*/ 4625406 w 6886183"/>
              <a:gd name="connsiteY3628" fmla="*/ 2010252 h 2705233"/>
              <a:gd name="connsiteX3629" fmla="*/ 4640265 w 6886183"/>
              <a:gd name="connsiteY3629" fmla="*/ 2006441 h 2705233"/>
              <a:gd name="connsiteX3630" fmla="*/ 4645980 w 6886183"/>
              <a:gd name="connsiteY3630" fmla="*/ 2005489 h 2705233"/>
              <a:gd name="connsiteX3631" fmla="*/ 4818954 w 6886183"/>
              <a:gd name="connsiteY3631" fmla="*/ 2004536 h 2705233"/>
              <a:gd name="connsiteX3632" fmla="*/ 4833622 w 6886183"/>
              <a:gd name="connsiteY3632" fmla="*/ 2005488 h 2705233"/>
              <a:gd name="connsiteX3633" fmla="*/ 4823335 w 6886183"/>
              <a:gd name="connsiteY3633" fmla="*/ 2011489 h 2705233"/>
              <a:gd name="connsiteX3634" fmla="*/ 4806476 w 6886183"/>
              <a:gd name="connsiteY3634" fmla="*/ 2017204 h 2705233"/>
              <a:gd name="connsiteX3635" fmla="*/ 4791617 w 6886183"/>
              <a:gd name="connsiteY3635" fmla="*/ 2016442 h 2705233"/>
              <a:gd name="connsiteX3636" fmla="*/ 4818954 w 6886183"/>
              <a:gd name="connsiteY3636" fmla="*/ 2004536 h 2705233"/>
              <a:gd name="connsiteX3637" fmla="*/ 3477305 w 6886183"/>
              <a:gd name="connsiteY3637" fmla="*/ 2001036 h 2705233"/>
              <a:gd name="connsiteX3638" fmla="*/ 3509176 w 6886183"/>
              <a:gd name="connsiteY3638" fmla="*/ 2008442 h 2705233"/>
              <a:gd name="connsiteX3639" fmla="*/ 3444985 w 6886183"/>
              <a:gd name="connsiteY3639" fmla="*/ 2048256 h 2705233"/>
              <a:gd name="connsiteX3640" fmla="*/ 3355477 w 6886183"/>
              <a:gd name="connsiteY3640" fmla="*/ 2049590 h 2705233"/>
              <a:gd name="connsiteX3641" fmla="*/ 3419662 w 6886183"/>
              <a:gd name="connsiteY3641" fmla="*/ 2009775 h 2705233"/>
              <a:gd name="connsiteX3642" fmla="*/ 3477305 w 6886183"/>
              <a:gd name="connsiteY3642" fmla="*/ 2001036 h 2705233"/>
              <a:gd name="connsiteX3643" fmla="*/ 4580102 w 6886183"/>
              <a:gd name="connsiteY3643" fmla="*/ 2001012 h 2705233"/>
              <a:gd name="connsiteX3644" fmla="*/ 4586925 w 6886183"/>
              <a:gd name="connsiteY3644" fmla="*/ 2005489 h 2705233"/>
              <a:gd name="connsiteX3645" fmla="*/ 4534251 w 6886183"/>
              <a:gd name="connsiteY3645" fmla="*/ 2030063 h 2705233"/>
              <a:gd name="connsiteX3646" fmla="*/ 4497675 w 6886183"/>
              <a:gd name="connsiteY3646" fmla="*/ 2032063 h 2705233"/>
              <a:gd name="connsiteX3647" fmla="*/ 4550634 w 6886183"/>
              <a:gd name="connsiteY3647" fmla="*/ 2007108 h 2705233"/>
              <a:gd name="connsiteX3648" fmla="*/ 4580102 w 6886183"/>
              <a:gd name="connsiteY3648" fmla="*/ 2001012 h 2705233"/>
              <a:gd name="connsiteX3649" fmla="*/ 4938492 w 6886183"/>
              <a:gd name="connsiteY3649" fmla="*/ 1998250 h 2705233"/>
              <a:gd name="connsiteX3650" fmla="*/ 4948684 w 6886183"/>
              <a:gd name="connsiteY3650" fmla="*/ 1999202 h 2705233"/>
              <a:gd name="connsiteX3651" fmla="*/ 4940492 w 6886183"/>
              <a:gd name="connsiteY3651" fmla="*/ 2003298 h 2705233"/>
              <a:gd name="connsiteX3652" fmla="*/ 4928014 w 6886183"/>
              <a:gd name="connsiteY3652" fmla="*/ 2007203 h 2705233"/>
              <a:gd name="connsiteX3653" fmla="*/ 4917727 w 6886183"/>
              <a:gd name="connsiteY3653" fmla="*/ 2006441 h 2705233"/>
              <a:gd name="connsiteX3654" fmla="*/ 4938492 w 6886183"/>
              <a:gd name="connsiteY3654" fmla="*/ 1998250 h 2705233"/>
              <a:gd name="connsiteX3655" fmla="*/ 4501259 w 6886183"/>
              <a:gd name="connsiteY3655" fmla="*/ 1996416 h 2705233"/>
              <a:gd name="connsiteX3656" fmla="*/ 4509581 w 6886183"/>
              <a:gd name="connsiteY3656" fmla="*/ 2001488 h 2705233"/>
              <a:gd name="connsiteX3657" fmla="*/ 4450240 w 6886183"/>
              <a:gd name="connsiteY3657" fmla="*/ 2029491 h 2705233"/>
              <a:gd name="connsiteX3658" fmla="*/ 4408711 w 6886183"/>
              <a:gd name="connsiteY3658" fmla="*/ 2031492 h 2705233"/>
              <a:gd name="connsiteX3659" fmla="*/ 4468433 w 6886183"/>
              <a:gd name="connsiteY3659" fmla="*/ 2002917 h 2705233"/>
              <a:gd name="connsiteX3660" fmla="*/ 4501259 w 6886183"/>
              <a:gd name="connsiteY3660" fmla="*/ 1996416 h 2705233"/>
              <a:gd name="connsiteX3661" fmla="*/ 5046791 w 6886183"/>
              <a:gd name="connsiteY3661" fmla="*/ 1996249 h 2705233"/>
              <a:gd name="connsiteX3662" fmla="*/ 5051935 w 6886183"/>
              <a:gd name="connsiteY3662" fmla="*/ 1997011 h 2705233"/>
              <a:gd name="connsiteX3663" fmla="*/ 5040695 w 6886183"/>
              <a:gd name="connsiteY3663" fmla="*/ 2000917 h 2705233"/>
              <a:gd name="connsiteX3664" fmla="*/ 5035552 w 6886183"/>
              <a:gd name="connsiteY3664" fmla="*/ 2000250 h 2705233"/>
              <a:gd name="connsiteX3665" fmla="*/ 5046791 w 6886183"/>
              <a:gd name="connsiteY3665" fmla="*/ 1996249 h 2705233"/>
              <a:gd name="connsiteX3666" fmla="*/ 4769900 w 6886183"/>
              <a:gd name="connsiteY3666" fmla="*/ 1995964 h 2705233"/>
              <a:gd name="connsiteX3667" fmla="*/ 4787712 w 6886183"/>
              <a:gd name="connsiteY3667" fmla="*/ 1997487 h 2705233"/>
              <a:gd name="connsiteX3668" fmla="*/ 4774853 w 6886183"/>
              <a:gd name="connsiteY3668" fmla="*/ 2004917 h 2705233"/>
              <a:gd name="connsiteX3669" fmla="*/ 4755136 w 6886183"/>
              <a:gd name="connsiteY3669" fmla="*/ 2011870 h 2705233"/>
              <a:gd name="connsiteX3670" fmla="*/ 4737134 w 6886183"/>
              <a:gd name="connsiteY3670" fmla="*/ 2010822 h 2705233"/>
              <a:gd name="connsiteX3671" fmla="*/ 4769900 w 6886183"/>
              <a:gd name="connsiteY3671" fmla="*/ 1995964 h 2705233"/>
              <a:gd name="connsiteX3672" fmla="*/ 3278713 w 6886183"/>
              <a:gd name="connsiteY3672" fmla="*/ 1995583 h 2705233"/>
              <a:gd name="connsiteX3673" fmla="*/ 3312048 w 6886183"/>
              <a:gd name="connsiteY3673" fmla="*/ 2004060 h 2705233"/>
              <a:gd name="connsiteX3674" fmla="*/ 3250045 w 6886183"/>
              <a:gd name="connsiteY3674" fmla="*/ 2043017 h 2705233"/>
              <a:gd name="connsiteX3675" fmla="*/ 3220041 w 6886183"/>
              <a:gd name="connsiteY3675" fmla="*/ 2048637 h 2705233"/>
              <a:gd name="connsiteX3676" fmla="*/ 3192228 w 6886183"/>
              <a:gd name="connsiteY3676" fmla="*/ 2050542 h 2705233"/>
              <a:gd name="connsiteX3677" fmla="*/ 3157843 w 6886183"/>
              <a:gd name="connsiteY3677" fmla="*/ 2042827 h 2705233"/>
              <a:gd name="connsiteX3678" fmla="*/ 3219278 w 6886183"/>
              <a:gd name="connsiteY3678" fmla="*/ 2003108 h 2705233"/>
              <a:gd name="connsiteX3679" fmla="*/ 3278713 w 6886183"/>
              <a:gd name="connsiteY3679" fmla="*/ 1995583 h 2705233"/>
              <a:gd name="connsiteX3680" fmla="*/ 4413141 w 6886183"/>
              <a:gd name="connsiteY3680" fmla="*/ 1993392 h 2705233"/>
              <a:gd name="connsiteX3681" fmla="*/ 4424237 w 6886183"/>
              <a:gd name="connsiteY3681" fmla="*/ 1998821 h 2705233"/>
              <a:gd name="connsiteX3682" fmla="*/ 4360420 w 6886183"/>
              <a:gd name="connsiteY3682" fmla="*/ 2029682 h 2705233"/>
              <a:gd name="connsiteX3683" fmla="*/ 4311556 w 6886183"/>
              <a:gd name="connsiteY3683" fmla="*/ 2031873 h 2705233"/>
              <a:gd name="connsiteX3684" fmla="*/ 4375755 w 6886183"/>
              <a:gd name="connsiteY3684" fmla="*/ 2000536 h 2705233"/>
              <a:gd name="connsiteX3685" fmla="*/ 4413141 w 6886183"/>
              <a:gd name="connsiteY3685" fmla="*/ 1993392 h 2705233"/>
              <a:gd name="connsiteX3686" fmla="*/ 2245885 w 6886183"/>
              <a:gd name="connsiteY3686" fmla="*/ 1990260 h 2705233"/>
              <a:gd name="connsiteX3687" fmla="*/ 2290200 w 6886183"/>
              <a:gd name="connsiteY3687" fmla="*/ 2001011 h 2705233"/>
              <a:gd name="connsiteX3688" fmla="*/ 2254767 w 6886183"/>
              <a:gd name="connsiteY3688" fmla="*/ 2032253 h 2705233"/>
              <a:gd name="connsiteX3689" fmla="*/ 2195329 w 6886183"/>
              <a:gd name="connsiteY3689" fmla="*/ 2035968 h 2705233"/>
              <a:gd name="connsiteX3690" fmla="*/ 2150562 w 6886183"/>
              <a:gd name="connsiteY3690" fmla="*/ 2025586 h 2705233"/>
              <a:gd name="connsiteX3691" fmla="*/ 2145418 w 6886183"/>
              <a:gd name="connsiteY3691" fmla="*/ 2008250 h 2705233"/>
              <a:gd name="connsiteX3692" fmla="*/ 2184852 w 6886183"/>
              <a:gd name="connsiteY3692" fmla="*/ 1993868 h 2705233"/>
              <a:gd name="connsiteX3693" fmla="*/ 2245885 w 6886183"/>
              <a:gd name="connsiteY3693" fmla="*/ 1990260 h 2705233"/>
              <a:gd name="connsiteX3694" fmla="*/ 1261681 w 6886183"/>
              <a:gd name="connsiteY3694" fmla="*/ 1988534 h 2705233"/>
              <a:gd name="connsiteX3695" fmla="*/ 1363694 w 6886183"/>
              <a:gd name="connsiteY3695" fmla="*/ 2008537 h 2705233"/>
              <a:gd name="connsiteX3696" fmla="*/ 1374266 w 6886183"/>
              <a:gd name="connsiteY3696" fmla="*/ 2022920 h 2705233"/>
              <a:gd name="connsiteX3697" fmla="*/ 1345024 w 6886183"/>
              <a:gd name="connsiteY3697" fmla="*/ 2030349 h 2705233"/>
              <a:gd name="connsiteX3698" fmla="*/ 1243108 w 6886183"/>
              <a:gd name="connsiteY3698" fmla="*/ 2011299 h 2705233"/>
              <a:gd name="connsiteX3699" fmla="*/ 1261681 w 6886183"/>
              <a:gd name="connsiteY3699" fmla="*/ 1988534 h 2705233"/>
              <a:gd name="connsiteX3700" fmla="*/ 4318522 w 6886183"/>
              <a:gd name="connsiteY3700" fmla="*/ 1988213 h 2705233"/>
              <a:gd name="connsiteX3701" fmla="*/ 4329654 w 6886183"/>
              <a:gd name="connsiteY3701" fmla="*/ 1995297 h 2705233"/>
              <a:gd name="connsiteX3702" fmla="*/ 4261170 w 6886183"/>
              <a:gd name="connsiteY3702" fmla="*/ 2028634 h 2705233"/>
              <a:gd name="connsiteX3703" fmla="*/ 4207925 w 6886183"/>
              <a:gd name="connsiteY3703" fmla="*/ 2030063 h 2705233"/>
              <a:gd name="connsiteX3704" fmla="*/ 4276886 w 6886183"/>
              <a:gd name="connsiteY3704" fmla="*/ 1996059 h 2705233"/>
              <a:gd name="connsiteX3705" fmla="*/ 4318522 w 6886183"/>
              <a:gd name="connsiteY3705" fmla="*/ 1988213 h 2705233"/>
              <a:gd name="connsiteX3706" fmla="*/ 4897154 w 6886183"/>
              <a:gd name="connsiteY3706" fmla="*/ 1988058 h 2705233"/>
              <a:gd name="connsiteX3707" fmla="*/ 4908774 w 6886183"/>
              <a:gd name="connsiteY3707" fmla="*/ 1989963 h 2705233"/>
              <a:gd name="connsiteX3708" fmla="*/ 4897725 w 6886183"/>
              <a:gd name="connsiteY3708" fmla="*/ 1995487 h 2705233"/>
              <a:gd name="connsiteX3709" fmla="*/ 4889915 w 6886183"/>
              <a:gd name="connsiteY3709" fmla="*/ 1998154 h 2705233"/>
              <a:gd name="connsiteX3710" fmla="*/ 4882104 w 6886183"/>
              <a:gd name="connsiteY3710" fmla="*/ 2000154 h 2705233"/>
              <a:gd name="connsiteX3711" fmla="*/ 4870293 w 6886183"/>
              <a:gd name="connsiteY3711" fmla="*/ 1998630 h 2705233"/>
              <a:gd name="connsiteX3712" fmla="*/ 4881342 w 6886183"/>
              <a:gd name="connsiteY3712" fmla="*/ 1992915 h 2705233"/>
              <a:gd name="connsiteX3713" fmla="*/ 4897154 w 6886183"/>
              <a:gd name="connsiteY3713" fmla="*/ 1988058 h 2705233"/>
              <a:gd name="connsiteX3714" fmla="*/ 4178398 w 6886183"/>
              <a:gd name="connsiteY3714" fmla="*/ 1987201 h 2705233"/>
              <a:gd name="connsiteX3715" fmla="*/ 4117152 w 6886183"/>
              <a:gd name="connsiteY3715" fmla="*/ 1989296 h 2705233"/>
              <a:gd name="connsiteX3716" fmla="*/ 4090482 w 6886183"/>
              <a:gd name="connsiteY3716" fmla="*/ 2005393 h 2705233"/>
              <a:gd name="connsiteX3717" fmla="*/ 4056668 w 6886183"/>
              <a:gd name="connsiteY3717" fmla="*/ 2020538 h 2705233"/>
              <a:gd name="connsiteX3718" fmla="*/ 4100102 w 6886183"/>
              <a:gd name="connsiteY3718" fmla="*/ 2022348 h 2705233"/>
              <a:gd name="connsiteX3719" fmla="*/ 4178398 w 6886183"/>
              <a:gd name="connsiteY3719" fmla="*/ 1987201 h 2705233"/>
              <a:gd name="connsiteX3720" fmla="*/ 5010978 w 6886183"/>
              <a:gd name="connsiteY3720" fmla="*/ 1985581 h 2705233"/>
              <a:gd name="connsiteX3721" fmla="*/ 5018979 w 6886183"/>
              <a:gd name="connsiteY3721" fmla="*/ 1986819 h 2705233"/>
              <a:gd name="connsiteX3722" fmla="*/ 5002215 w 6886183"/>
              <a:gd name="connsiteY3722" fmla="*/ 1992820 h 2705233"/>
              <a:gd name="connsiteX3723" fmla="*/ 4993356 w 6886183"/>
              <a:gd name="connsiteY3723" fmla="*/ 1991963 h 2705233"/>
              <a:gd name="connsiteX3724" fmla="*/ 5010978 w 6886183"/>
              <a:gd name="connsiteY3724" fmla="*/ 1985581 h 2705233"/>
              <a:gd name="connsiteX3725" fmla="*/ 3047160 w 6886183"/>
              <a:gd name="connsiteY3725" fmla="*/ 1985486 h 2705233"/>
              <a:gd name="connsiteX3726" fmla="*/ 3084599 w 6886183"/>
              <a:gd name="connsiteY3726" fmla="*/ 1994059 h 2705233"/>
              <a:gd name="connsiteX3727" fmla="*/ 3075833 w 6886183"/>
              <a:gd name="connsiteY3727" fmla="*/ 2013775 h 2705233"/>
              <a:gd name="connsiteX3728" fmla="*/ 3028208 w 6886183"/>
              <a:gd name="connsiteY3728" fmla="*/ 2032825 h 2705233"/>
              <a:gd name="connsiteX3729" fmla="*/ 2932957 w 6886183"/>
              <a:gd name="connsiteY3729" fmla="*/ 2031206 h 2705233"/>
              <a:gd name="connsiteX3730" fmla="*/ 2987442 w 6886183"/>
              <a:gd name="connsiteY3730" fmla="*/ 1992630 h 2705233"/>
              <a:gd name="connsiteX3731" fmla="*/ 3018588 w 6886183"/>
              <a:gd name="connsiteY3731" fmla="*/ 1987105 h 2705233"/>
              <a:gd name="connsiteX3732" fmla="*/ 3047160 w 6886183"/>
              <a:gd name="connsiteY3732" fmla="*/ 1985486 h 2705233"/>
              <a:gd name="connsiteX3733" fmla="*/ 4734134 w 6886183"/>
              <a:gd name="connsiteY3733" fmla="*/ 1983843 h 2705233"/>
              <a:gd name="connsiteX3734" fmla="*/ 4737229 w 6886183"/>
              <a:gd name="connsiteY3734" fmla="*/ 1988058 h 2705233"/>
              <a:gd name="connsiteX3735" fmla="*/ 4722751 w 6886183"/>
              <a:gd name="connsiteY3735" fmla="*/ 1997011 h 2705233"/>
              <a:gd name="connsiteX3736" fmla="*/ 4711702 w 6886183"/>
              <a:gd name="connsiteY3736" fmla="*/ 2001488 h 2705233"/>
              <a:gd name="connsiteX3737" fmla="*/ 4699986 w 6886183"/>
              <a:gd name="connsiteY3737" fmla="*/ 2005393 h 2705233"/>
              <a:gd name="connsiteX3738" fmla="*/ 4678174 w 6886183"/>
              <a:gd name="connsiteY3738" fmla="*/ 2004822 h 2705233"/>
              <a:gd name="connsiteX3739" fmla="*/ 4692462 w 6886183"/>
              <a:gd name="connsiteY3739" fmla="*/ 1995297 h 2705233"/>
              <a:gd name="connsiteX3740" fmla="*/ 4715607 w 6886183"/>
              <a:gd name="connsiteY3740" fmla="*/ 1986629 h 2705233"/>
              <a:gd name="connsiteX3741" fmla="*/ 4734134 w 6886183"/>
              <a:gd name="connsiteY3741" fmla="*/ 1983843 h 2705233"/>
              <a:gd name="connsiteX3742" fmla="*/ 4851339 w 6886183"/>
              <a:gd name="connsiteY3742" fmla="*/ 1977294 h 2705233"/>
              <a:gd name="connsiteX3743" fmla="*/ 4866293 w 6886183"/>
              <a:gd name="connsiteY3743" fmla="*/ 1979485 h 2705233"/>
              <a:gd name="connsiteX3744" fmla="*/ 4834575 w 6886183"/>
              <a:gd name="connsiteY3744" fmla="*/ 1992153 h 2705233"/>
              <a:gd name="connsiteX3745" fmla="*/ 4826859 w 6886183"/>
              <a:gd name="connsiteY3745" fmla="*/ 1993487 h 2705233"/>
              <a:gd name="connsiteX3746" fmla="*/ 4821525 w 6886183"/>
              <a:gd name="connsiteY3746" fmla="*/ 1993487 h 2705233"/>
              <a:gd name="connsiteX3747" fmla="*/ 4819906 w 6886183"/>
              <a:gd name="connsiteY3747" fmla="*/ 1990248 h 2705233"/>
              <a:gd name="connsiteX3748" fmla="*/ 4824764 w 6886183"/>
              <a:gd name="connsiteY3748" fmla="*/ 1986914 h 2705233"/>
              <a:gd name="connsiteX3749" fmla="*/ 4832479 w 6886183"/>
              <a:gd name="connsiteY3749" fmla="*/ 1983295 h 2705233"/>
              <a:gd name="connsiteX3750" fmla="*/ 4851339 w 6886183"/>
              <a:gd name="connsiteY3750" fmla="*/ 1977294 h 2705233"/>
              <a:gd name="connsiteX3751" fmla="*/ 1538958 w 6886183"/>
              <a:gd name="connsiteY3751" fmla="*/ 1975961 h 2705233"/>
              <a:gd name="connsiteX3752" fmla="*/ 1553341 w 6886183"/>
              <a:gd name="connsiteY3752" fmla="*/ 1975961 h 2705233"/>
              <a:gd name="connsiteX3753" fmla="*/ 1568486 w 6886183"/>
              <a:gd name="connsiteY3753" fmla="*/ 1975961 h 2705233"/>
              <a:gd name="connsiteX3754" fmla="*/ 1599251 w 6886183"/>
              <a:gd name="connsiteY3754" fmla="*/ 1979295 h 2705233"/>
              <a:gd name="connsiteX3755" fmla="*/ 1626588 w 6886183"/>
              <a:gd name="connsiteY3755" fmla="*/ 1985105 h 2705233"/>
              <a:gd name="connsiteX3756" fmla="*/ 1645637 w 6886183"/>
              <a:gd name="connsiteY3756" fmla="*/ 1992725 h 2705233"/>
              <a:gd name="connsiteX3757" fmla="*/ 1650209 w 6886183"/>
              <a:gd name="connsiteY3757" fmla="*/ 2008441 h 2705233"/>
              <a:gd name="connsiteX3758" fmla="*/ 1616968 w 6886183"/>
              <a:gd name="connsiteY3758" fmla="*/ 2017966 h 2705233"/>
              <a:gd name="connsiteX3759" fmla="*/ 1557913 w 6886183"/>
              <a:gd name="connsiteY3759" fmla="*/ 2015109 h 2705233"/>
              <a:gd name="connsiteX3760" fmla="*/ 1510955 w 6886183"/>
              <a:gd name="connsiteY3760" fmla="*/ 2001488 h 2705233"/>
              <a:gd name="connsiteX3761" fmla="*/ 1504954 w 6886183"/>
              <a:gd name="connsiteY3761" fmla="*/ 1985200 h 2705233"/>
              <a:gd name="connsiteX3762" fmla="*/ 1517527 w 6886183"/>
              <a:gd name="connsiteY3762" fmla="*/ 1979104 h 2705233"/>
              <a:gd name="connsiteX3763" fmla="*/ 1538958 w 6886183"/>
              <a:gd name="connsiteY3763" fmla="*/ 1975961 h 2705233"/>
              <a:gd name="connsiteX3764" fmla="*/ 5084225 w 6886183"/>
              <a:gd name="connsiteY3764" fmla="*/ 1973771 h 2705233"/>
              <a:gd name="connsiteX3765" fmla="*/ 5090035 w 6886183"/>
              <a:gd name="connsiteY3765" fmla="*/ 1975009 h 2705233"/>
              <a:gd name="connsiteX3766" fmla="*/ 5075272 w 6886183"/>
              <a:gd name="connsiteY3766" fmla="*/ 1979771 h 2705233"/>
              <a:gd name="connsiteX3767" fmla="*/ 5069842 w 6886183"/>
              <a:gd name="connsiteY3767" fmla="*/ 1978628 h 2705233"/>
              <a:gd name="connsiteX3768" fmla="*/ 5084225 w 6886183"/>
              <a:gd name="connsiteY3768" fmla="*/ 1973771 h 2705233"/>
              <a:gd name="connsiteX3769" fmla="*/ 4681699 w 6886183"/>
              <a:gd name="connsiteY3769" fmla="*/ 1973699 h 2705233"/>
              <a:gd name="connsiteX3770" fmla="*/ 4684842 w 6886183"/>
              <a:gd name="connsiteY3770" fmla="*/ 1979009 h 2705233"/>
              <a:gd name="connsiteX3771" fmla="*/ 4669125 w 6886183"/>
              <a:gd name="connsiteY3771" fmla="*/ 1989391 h 2705233"/>
              <a:gd name="connsiteX3772" fmla="*/ 4656838 w 6886183"/>
              <a:gd name="connsiteY3772" fmla="*/ 1994535 h 2705233"/>
              <a:gd name="connsiteX3773" fmla="*/ 4649980 w 6886183"/>
              <a:gd name="connsiteY3773" fmla="*/ 1996916 h 2705233"/>
              <a:gd name="connsiteX3774" fmla="*/ 4646075 w 6886183"/>
              <a:gd name="connsiteY3774" fmla="*/ 1998059 h 2705233"/>
              <a:gd name="connsiteX3775" fmla="*/ 4641693 w 6886183"/>
              <a:gd name="connsiteY3775" fmla="*/ 1999393 h 2705233"/>
              <a:gd name="connsiteX3776" fmla="*/ 4611975 w 6886183"/>
              <a:gd name="connsiteY3776" fmla="*/ 1999393 h 2705233"/>
              <a:gd name="connsiteX3777" fmla="*/ 4631025 w 6886183"/>
              <a:gd name="connsiteY3777" fmla="*/ 1987677 h 2705233"/>
              <a:gd name="connsiteX3778" fmla="*/ 4638360 w 6886183"/>
              <a:gd name="connsiteY3778" fmla="*/ 1984533 h 2705233"/>
              <a:gd name="connsiteX3779" fmla="*/ 4645884 w 6886183"/>
              <a:gd name="connsiteY3779" fmla="*/ 1981581 h 2705233"/>
              <a:gd name="connsiteX3780" fmla="*/ 4659981 w 6886183"/>
              <a:gd name="connsiteY3780" fmla="*/ 1977390 h 2705233"/>
              <a:gd name="connsiteX3781" fmla="*/ 4681699 w 6886183"/>
              <a:gd name="connsiteY3781" fmla="*/ 1973699 h 2705233"/>
              <a:gd name="connsiteX3782" fmla="*/ 4973258 w 6886183"/>
              <a:gd name="connsiteY3782" fmla="*/ 1973389 h 2705233"/>
              <a:gd name="connsiteX3783" fmla="*/ 4983450 w 6886183"/>
              <a:gd name="connsiteY3783" fmla="*/ 1975104 h 2705233"/>
              <a:gd name="connsiteX3784" fmla="*/ 4961161 w 6886183"/>
              <a:gd name="connsiteY3784" fmla="*/ 1983390 h 2705233"/>
              <a:gd name="connsiteX3785" fmla="*/ 4949922 w 6886183"/>
              <a:gd name="connsiteY3785" fmla="*/ 1982057 h 2705233"/>
              <a:gd name="connsiteX3786" fmla="*/ 4973258 w 6886183"/>
              <a:gd name="connsiteY3786" fmla="*/ 1973389 h 2705233"/>
              <a:gd name="connsiteX3787" fmla="*/ 954782 w 6886183"/>
              <a:gd name="connsiteY3787" fmla="*/ 1972341 h 2705233"/>
              <a:gd name="connsiteX3788" fmla="*/ 964784 w 6886183"/>
              <a:gd name="connsiteY3788" fmla="*/ 1972341 h 2705233"/>
              <a:gd name="connsiteX3789" fmla="*/ 988405 w 6886183"/>
              <a:gd name="connsiteY3789" fmla="*/ 1975865 h 2705233"/>
              <a:gd name="connsiteX3790" fmla="*/ 1015266 w 6886183"/>
              <a:gd name="connsiteY3790" fmla="*/ 1982056 h 2705233"/>
              <a:gd name="connsiteX3791" fmla="*/ 1041269 w 6886183"/>
              <a:gd name="connsiteY3791" fmla="*/ 1989867 h 2705233"/>
              <a:gd name="connsiteX3792" fmla="*/ 1062224 w 6886183"/>
              <a:gd name="connsiteY3792" fmla="*/ 1998249 h 2705233"/>
              <a:gd name="connsiteX3793" fmla="*/ 1053936 w 6886183"/>
              <a:gd name="connsiteY3793" fmla="*/ 2019966 h 2705233"/>
              <a:gd name="connsiteX3794" fmla="*/ 1001836 w 6886183"/>
              <a:gd name="connsiteY3794" fmla="*/ 2011203 h 2705233"/>
              <a:gd name="connsiteX3795" fmla="*/ 987739 w 6886183"/>
              <a:gd name="connsiteY3795" fmla="*/ 2007203 h 2705233"/>
              <a:gd name="connsiteX3796" fmla="*/ 974404 w 6886183"/>
              <a:gd name="connsiteY3796" fmla="*/ 2002726 h 2705233"/>
              <a:gd name="connsiteX3797" fmla="*/ 952592 w 6886183"/>
              <a:gd name="connsiteY3797" fmla="*/ 1993582 h 2705233"/>
              <a:gd name="connsiteX3798" fmla="*/ 938780 w 6886183"/>
              <a:gd name="connsiteY3798" fmla="*/ 1977294 h 2705233"/>
              <a:gd name="connsiteX3799" fmla="*/ 947067 w 6886183"/>
              <a:gd name="connsiteY3799" fmla="*/ 1973103 h 2705233"/>
              <a:gd name="connsiteX3800" fmla="*/ 954782 w 6886183"/>
              <a:gd name="connsiteY3800" fmla="*/ 1972341 h 2705233"/>
              <a:gd name="connsiteX3801" fmla="*/ 2793033 w 6886183"/>
              <a:gd name="connsiteY3801" fmla="*/ 1969580 h 2705233"/>
              <a:gd name="connsiteX3802" fmla="*/ 2832562 w 6886183"/>
              <a:gd name="connsiteY3802" fmla="*/ 1979105 h 2705233"/>
              <a:gd name="connsiteX3803" fmla="*/ 2783605 w 6886183"/>
              <a:gd name="connsiteY3803" fmla="*/ 2015585 h 2705233"/>
              <a:gd name="connsiteX3804" fmla="*/ 2753886 w 6886183"/>
              <a:gd name="connsiteY3804" fmla="*/ 2020348 h 2705233"/>
              <a:gd name="connsiteX3805" fmla="*/ 2724832 w 6886183"/>
              <a:gd name="connsiteY3805" fmla="*/ 2021491 h 2705233"/>
              <a:gd name="connsiteX3806" fmla="*/ 2683399 w 6886183"/>
              <a:gd name="connsiteY3806" fmla="*/ 2013109 h 2705233"/>
              <a:gd name="connsiteX3807" fmla="*/ 2732551 w 6886183"/>
              <a:gd name="connsiteY3807" fmla="*/ 1975009 h 2705233"/>
              <a:gd name="connsiteX3808" fmla="*/ 2793033 w 6886183"/>
              <a:gd name="connsiteY3808" fmla="*/ 1969580 h 2705233"/>
              <a:gd name="connsiteX3809" fmla="*/ 522147 w 6886183"/>
              <a:gd name="connsiteY3809" fmla="*/ 1968913 h 2705233"/>
              <a:gd name="connsiteX3810" fmla="*/ 544245 w 6886183"/>
              <a:gd name="connsiteY3810" fmla="*/ 1971961 h 2705233"/>
              <a:gd name="connsiteX3811" fmla="*/ 567105 w 6886183"/>
              <a:gd name="connsiteY3811" fmla="*/ 1981486 h 2705233"/>
              <a:gd name="connsiteX3812" fmla="*/ 580249 w 6886183"/>
              <a:gd name="connsiteY3812" fmla="*/ 1987772 h 2705233"/>
              <a:gd name="connsiteX3813" fmla="*/ 593586 w 6886183"/>
              <a:gd name="connsiteY3813" fmla="*/ 1994249 h 2705233"/>
              <a:gd name="connsiteX3814" fmla="*/ 606919 w 6886183"/>
              <a:gd name="connsiteY3814" fmla="*/ 2001107 h 2705233"/>
              <a:gd name="connsiteX3815" fmla="*/ 619396 w 6886183"/>
              <a:gd name="connsiteY3815" fmla="*/ 2007679 h 2705233"/>
              <a:gd name="connsiteX3816" fmla="*/ 630639 w 6886183"/>
              <a:gd name="connsiteY3816" fmla="*/ 2014061 h 2705233"/>
              <a:gd name="connsiteX3817" fmla="*/ 635687 w 6886183"/>
              <a:gd name="connsiteY3817" fmla="*/ 2017109 h 2705233"/>
              <a:gd name="connsiteX3818" fmla="*/ 640069 w 6886183"/>
              <a:gd name="connsiteY3818" fmla="*/ 2019871 h 2705233"/>
              <a:gd name="connsiteX3819" fmla="*/ 654070 w 6886183"/>
              <a:gd name="connsiteY3819" fmla="*/ 2034921 h 2705233"/>
              <a:gd name="connsiteX3820" fmla="*/ 632925 w 6886183"/>
              <a:gd name="connsiteY3820" fmla="*/ 2034921 h 2705233"/>
              <a:gd name="connsiteX3821" fmla="*/ 627877 w 6886183"/>
              <a:gd name="connsiteY3821" fmla="*/ 2033397 h 2705233"/>
              <a:gd name="connsiteX3822" fmla="*/ 622444 w 6886183"/>
              <a:gd name="connsiteY3822" fmla="*/ 2031587 h 2705233"/>
              <a:gd name="connsiteX3823" fmla="*/ 610443 w 6886183"/>
              <a:gd name="connsiteY3823" fmla="*/ 2027015 h 2705233"/>
              <a:gd name="connsiteX3824" fmla="*/ 604062 w 6886183"/>
              <a:gd name="connsiteY3824" fmla="*/ 2024443 h 2705233"/>
              <a:gd name="connsiteX3825" fmla="*/ 600823 w 6886183"/>
              <a:gd name="connsiteY3825" fmla="*/ 2023015 h 2705233"/>
              <a:gd name="connsiteX3826" fmla="*/ 597396 w 6886183"/>
              <a:gd name="connsiteY3826" fmla="*/ 2021491 h 2705233"/>
              <a:gd name="connsiteX3827" fmla="*/ 583869 w 6886183"/>
              <a:gd name="connsiteY3827" fmla="*/ 2015014 h 2705233"/>
              <a:gd name="connsiteX3828" fmla="*/ 570534 w 6886183"/>
              <a:gd name="connsiteY3828" fmla="*/ 2008156 h 2705233"/>
              <a:gd name="connsiteX3829" fmla="*/ 557771 w 6886183"/>
              <a:gd name="connsiteY3829" fmla="*/ 2000821 h 2705233"/>
              <a:gd name="connsiteX3830" fmla="*/ 546339 w 6886183"/>
              <a:gd name="connsiteY3830" fmla="*/ 1993678 h 2705233"/>
              <a:gd name="connsiteX3831" fmla="*/ 541293 w 6886183"/>
              <a:gd name="connsiteY3831" fmla="*/ 1990153 h 2705233"/>
              <a:gd name="connsiteX3832" fmla="*/ 536720 w 6886183"/>
              <a:gd name="connsiteY3832" fmla="*/ 1986629 h 2705233"/>
              <a:gd name="connsiteX3833" fmla="*/ 522147 w 6886183"/>
              <a:gd name="connsiteY3833" fmla="*/ 1968913 h 2705233"/>
              <a:gd name="connsiteX3834" fmla="*/ 4615404 w 6886183"/>
              <a:gd name="connsiteY3834" fmla="*/ 1966329 h 2705233"/>
              <a:gd name="connsiteX3835" fmla="*/ 4621215 w 6886183"/>
              <a:gd name="connsiteY3835" fmla="*/ 1971579 h 2705233"/>
              <a:gd name="connsiteX3836" fmla="*/ 4564065 w 6886183"/>
              <a:gd name="connsiteY3836" fmla="*/ 1998154 h 2705233"/>
              <a:gd name="connsiteX3837" fmla="*/ 4527584 w 6886183"/>
              <a:gd name="connsiteY3837" fmla="*/ 1999392 h 2705233"/>
              <a:gd name="connsiteX3838" fmla="*/ 4584734 w 6886183"/>
              <a:gd name="connsiteY3838" fmla="*/ 1972437 h 2705233"/>
              <a:gd name="connsiteX3839" fmla="*/ 4615404 w 6886183"/>
              <a:gd name="connsiteY3839" fmla="*/ 1966329 h 2705233"/>
              <a:gd name="connsiteX3840" fmla="*/ 3822507 w 6886183"/>
              <a:gd name="connsiteY3840" fmla="*/ 1964364 h 2705233"/>
              <a:gd name="connsiteX3841" fmla="*/ 3845308 w 6886183"/>
              <a:gd name="connsiteY3841" fmla="*/ 1973580 h 2705233"/>
              <a:gd name="connsiteX3842" fmla="*/ 3772727 w 6886183"/>
              <a:gd name="connsiteY3842" fmla="*/ 2013966 h 2705233"/>
              <a:gd name="connsiteX3843" fmla="*/ 3694622 w 6886183"/>
              <a:gd name="connsiteY3843" fmla="*/ 2014728 h 2705233"/>
              <a:gd name="connsiteX3844" fmla="*/ 3767203 w 6886183"/>
              <a:gd name="connsiteY3844" fmla="*/ 1973580 h 2705233"/>
              <a:gd name="connsiteX3845" fmla="*/ 3822507 w 6886183"/>
              <a:gd name="connsiteY3845" fmla="*/ 1964364 h 2705233"/>
              <a:gd name="connsiteX3846" fmla="*/ 4820954 w 6886183"/>
              <a:gd name="connsiteY3846" fmla="*/ 1963293 h 2705233"/>
              <a:gd name="connsiteX3847" fmla="*/ 4823906 w 6886183"/>
              <a:gd name="connsiteY3847" fmla="*/ 1967103 h 2705233"/>
              <a:gd name="connsiteX3848" fmla="*/ 4810571 w 6886183"/>
              <a:gd name="connsiteY3848" fmla="*/ 1975199 h 2705233"/>
              <a:gd name="connsiteX3849" fmla="*/ 4788950 w 6886183"/>
              <a:gd name="connsiteY3849" fmla="*/ 1982819 h 2705233"/>
              <a:gd name="connsiteX3850" fmla="*/ 4768661 w 6886183"/>
              <a:gd name="connsiteY3850" fmla="*/ 1981486 h 2705233"/>
              <a:gd name="connsiteX3851" fmla="*/ 4804475 w 6886183"/>
              <a:gd name="connsiteY3851" fmla="*/ 1965674 h 2705233"/>
              <a:gd name="connsiteX3852" fmla="*/ 4820954 w 6886183"/>
              <a:gd name="connsiteY3852" fmla="*/ 1963293 h 2705233"/>
              <a:gd name="connsiteX3853" fmla="*/ 4930586 w 6886183"/>
              <a:gd name="connsiteY3853" fmla="*/ 1961769 h 2705233"/>
              <a:gd name="connsiteX3854" fmla="*/ 4943731 w 6886183"/>
              <a:gd name="connsiteY3854" fmla="*/ 1963769 h 2705233"/>
              <a:gd name="connsiteX3855" fmla="*/ 4932777 w 6886183"/>
              <a:gd name="connsiteY3855" fmla="*/ 1969389 h 2705233"/>
              <a:gd name="connsiteX3856" fmla="*/ 4916299 w 6886183"/>
              <a:gd name="connsiteY3856" fmla="*/ 1974532 h 2705233"/>
              <a:gd name="connsiteX3857" fmla="*/ 4902011 w 6886183"/>
              <a:gd name="connsiteY3857" fmla="*/ 1973199 h 2705233"/>
              <a:gd name="connsiteX3858" fmla="*/ 4930586 w 6886183"/>
              <a:gd name="connsiteY3858" fmla="*/ 1961769 h 2705233"/>
              <a:gd name="connsiteX3859" fmla="*/ 5048506 w 6886183"/>
              <a:gd name="connsiteY3859" fmla="*/ 1961198 h 2705233"/>
              <a:gd name="connsiteX3860" fmla="*/ 5056412 w 6886183"/>
              <a:gd name="connsiteY3860" fmla="*/ 1962912 h 2705233"/>
              <a:gd name="connsiteX3861" fmla="*/ 5048125 w 6886183"/>
              <a:gd name="connsiteY3861" fmla="*/ 1966627 h 2705233"/>
              <a:gd name="connsiteX3862" fmla="*/ 5036600 w 6886183"/>
              <a:gd name="connsiteY3862" fmla="*/ 1969580 h 2705233"/>
              <a:gd name="connsiteX3863" fmla="*/ 5028599 w 6886183"/>
              <a:gd name="connsiteY3863" fmla="*/ 1967960 h 2705233"/>
              <a:gd name="connsiteX3864" fmla="*/ 5036886 w 6886183"/>
              <a:gd name="connsiteY3864" fmla="*/ 1964150 h 2705233"/>
              <a:gd name="connsiteX3865" fmla="*/ 5048506 w 6886183"/>
              <a:gd name="connsiteY3865" fmla="*/ 1961198 h 2705233"/>
              <a:gd name="connsiteX3866" fmla="*/ 4533930 w 6886183"/>
              <a:gd name="connsiteY3866" fmla="*/ 1960447 h 2705233"/>
              <a:gd name="connsiteX3867" fmla="*/ 4541872 w 6886183"/>
              <a:gd name="connsiteY3867" fmla="*/ 1966436 h 2705233"/>
              <a:gd name="connsiteX3868" fmla="*/ 4479673 w 6886183"/>
              <a:gd name="connsiteY3868" fmla="*/ 1996059 h 2705233"/>
              <a:gd name="connsiteX3869" fmla="*/ 4436906 w 6886183"/>
              <a:gd name="connsiteY3869" fmla="*/ 1997106 h 2705233"/>
              <a:gd name="connsiteX3870" fmla="*/ 4499485 w 6886183"/>
              <a:gd name="connsiteY3870" fmla="*/ 1967103 h 2705233"/>
              <a:gd name="connsiteX3871" fmla="*/ 4533930 w 6886183"/>
              <a:gd name="connsiteY3871" fmla="*/ 1960447 h 2705233"/>
              <a:gd name="connsiteX3872" fmla="*/ 3655367 w 6886183"/>
              <a:gd name="connsiteY3872" fmla="*/ 1959423 h 2705233"/>
              <a:gd name="connsiteX3873" fmla="*/ 3682621 w 6886183"/>
              <a:gd name="connsiteY3873" fmla="*/ 1968246 h 2705233"/>
              <a:gd name="connsiteX3874" fmla="*/ 3663571 w 6886183"/>
              <a:gd name="connsiteY3874" fmla="*/ 1989010 h 2705233"/>
              <a:gd name="connsiteX3875" fmla="*/ 3611755 w 6886183"/>
              <a:gd name="connsiteY3875" fmla="*/ 2009775 h 2705233"/>
              <a:gd name="connsiteX3876" fmla="*/ 3527556 w 6886183"/>
              <a:gd name="connsiteY3876" fmla="*/ 2009775 h 2705233"/>
              <a:gd name="connsiteX3877" fmla="*/ 3598324 w 6886183"/>
              <a:gd name="connsiteY3877" fmla="*/ 1967674 h 2705233"/>
              <a:gd name="connsiteX3878" fmla="*/ 3655367 w 6886183"/>
              <a:gd name="connsiteY3878" fmla="*/ 1959423 h 2705233"/>
              <a:gd name="connsiteX3879" fmla="*/ 4759994 w 6886183"/>
              <a:gd name="connsiteY3879" fmla="*/ 1953101 h 2705233"/>
              <a:gd name="connsiteX3880" fmla="*/ 4768376 w 6886183"/>
              <a:gd name="connsiteY3880" fmla="*/ 1953101 h 2705233"/>
              <a:gd name="connsiteX3881" fmla="*/ 4771805 w 6886183"/>
              <a:gd name="connsiteY3881" fmla="*/ 1957863 h 2705233"/>
              <a:gd name="connsiteX3882" fmla="*/ 4765995 w 6886183"/>
              <a:gd name="connsiteY3882" fmla="*/ 1962245 h 2705233"/>
              <a:gd name="connsiteX3883" fmla="*/ 4756470 w 6886183"/>
              <a:gd name="connsiteY3883" fmla="*/ 1967103 h 2705233"/>
              <a:gd name="connsiteX3884" fmla="*/ 4732562 w 6886183"/>
              <a:gd name="connsiteY3884" fmla="*/ 1976056 h 2705233"/>
              <a:gd name="connsiteX3885" fmla="*/ 4708178 w 6886183"/>
              <a:gd name="connsiteY3885" fmla="*/ 1974627 h 2705233"/>
              <a:gd name="connsiteX3886" fmla="*/ 4748469 w 6886183"/>
              <a:gd name="connsiteY3886" fmla="*/ 1955577 h 2705233"/>
              <a:gd name="connsiteX3887" fmla="*/ 4759994 w 6886183"/>
              <a:gd name="connsiteY3887" fmla="*/ 1953101 h 2705233"/>
              <a:gd name="connsiteX3888" fmla="*/ 4448693 w 6886183"/>
              <a:gd name="connsiteY3888" fmla="*/ 1952804 h 2705233"/>
              <a:gd name="connsiteX3889" fmla="*/ 4459671 w 6886183"/>
              <a:gd name="connsiteY3889" fmla="*/ 1959197 h 2705233"/>
              <a:gd name="connsiteX3890" fmla="*/ 4392424 w 6886183"/>
              <a:gd name="connsiteY3890" fmla="*/ 1992154 h 2705233"/>
              <a:gd name="connsiteX3891" fmla="*/ 4342513 w 6886183"/>
              <a:gd name="connsiteY3891" fmla="*/ 1993487 h 2705233"/>
              <a:gd name="connsiteX3892" fmla="*/ 4410141 w 6886183"/>
              <a:gd name="connsiteY3892" fmla="*/ 1960055 h 2705233"/>
              <a:gd name="connsiteX3893" fmla="*/ 4448693 w 6886183"/>
              <a:gd name="connsiteY3893" fmla="*/ 1952804 h 2705233"/>
              <a:gd name="connsiteX3894" fmla="*/ 3468439 w 6886183"/>
              <a:gd name="connsiteY3894" fmla="*/ 1950506 h 2705233"/>
              <a:gd name="connsiteX3895" fmla="*/ 3495937 w 6886183"/>
              <a:gd name="connsiteY3895" fmla="*/ 1960817 h 2705233"/>
              <a:gd name="connsiteX3896" fmla="*/ 3478225 w 6886183"/>
              <a:gd name="connsiteY3896" fmla="*/ 1981390 h 2705233"/>
              <a:gd name="connsiteX3897" fmla="*/ 3428227 w 6886183"/>
              <a:gd name="connsiteY3897" fmla="*/ 2000440 h 2705233"/>
              <a:gd name="connsiteX3898" fmla="*/ 3341193 w 6886183"/>
              <a:gd name="connsiteY3898" fmla="*/ 1999583 h 2705233"/>
              <a:gd name="connsiteX3899" fmla="*/ 3357193 w 6886183"/>
              <a:gd name="connsiteY3899" fmla="*/ 1978342 h 2705233"/>
              <a:gd name="connsiteX3900" fmla="*/ 3410232 w 6886183"/>
              <a:gd name="connsiteY3900" fmla="*/ 1957769 h 2705233"/>
              <a:gd name="connsiteX3901" fmla="*/ 3468439 w 6886183"/>
              <a:gd name="connsiteY3901" fmla="*/ 1950506 h 2705233"/>
              <a:gd name="connsiteX3902" fmla="*/ 1864712 w 6886183"/>
              <a:gd name="connsiteY3902" fmla="*/ 1950148 h 2705233"/>
              <a:gd name="connsiteX3903" fmla="*/ 1911384 w 6886183"/>
              <a:gd name="connsiteY3903" fmla="*/ 1962150 h 2705233"/>
              <a:gd name="connsiteX3904" fmla="*/ 1920909 w 6886183"/>
              <a:gd name="connsiteY3904" fmla="*/ 1979104 h 2705233"/>
              <a:gd name="connsiteX3905" fmla="*/ 1885858 w 6886183"/>
              <a:gd name="connsiteY3905" fmla="*/ 1991677 h 2705233"/>
              <a:gd name="connsiteX3906" fmla="*/ 1871665 w 6886183"/>
              <a:gd name="connsiteY3906" fmla="*/ 1993392 h 2705233"/>
              <a:gd name="connsiteX3907" fmla="*/ 1857187 w 6886183"/>
              <a:gd name="connsiteY3907" fmla="*/ 1994058 h 2705233"/>
              <a:gd name="connsiteX3908" fmla="*/ 1828612 w 6886183"/>
              <a:gd name="connsiteY3908" fmla="*/ 1993011 h 2705233"/>
              <a:gd name="connsiteX3909" fmla="*/ 1781940 w 6886183"/>
              <a:gd name="connsiteY3909" fmla="*/ 1981200 h 2705233"/>
              <a:gd name="connsiteX3910" fmla="*/ 1770415 w 6886183"/>
              <a:gd name="connsiteY3910" fmla="*/ 1963674 h 2705233"/>
              <a:gd name="connsiteX3911" fmla="*/ 1806038 w 6886183"/>
              <a:gd name="connsiteY3911" fmla="*/ 1951196 h 2705233"/>
              <a:gd name="connsiteX3912" fmla="*/ 1864712 w 6886183"/>
              <a:gd name="connsiteY3912" fmla="*/ 1950148 h 2705233"/>
              <a:gd name="connsiteX3913" fmla="*/ 2463082 w 6886183"/>
              <a:gd name="connsiteY3913" fmla="*/ 1949958 h 2705233"/>
              <a:gd name="connsiteX3914" fmla="*/ 2493277 w 6886183"/>
              <a:gd name="connsiteY3914" fmla="*/ 1949958 h 2705233"/>
              <a:gd name="connsiteX3915" fmla="*/ 2535567 w 6886183"/>
              <a:gd name="connsiteY3915" fmla="*/ 1960626 h 2705233"/>
              <a:gd name="connsiteX3916" fmla="*/ 2533568 w 6886183"/>
              <a:gd name="connsiteY3916" fmla="*/ 1979676 h 2705233"/>
              <a:gd name="connsiteX3917" fmla="*/ 2491468 w 6886183"/>
              <a:gd name="connsiteY3917" fmla="*/ 1995869 h 2705233"/>
              <a:gd name="connsiteX3918" fmla="*/ 2431746 w 6886183"/>
              <a:gd name="connsiteY3918" fmla="*/ 1999869 h 2705233"/>
              <a:gd name="connsiteX3919" fmla="*/ 2388692 w 6886183"/>
              <a:gd name="connsiteY3919" fmla="*/ 1989582 h 2705233"/>
              <a:gd name="connsiteX3920" fmla="*/ 2431936 w 6886183"/>
              <a:gd name="connsiteY3920" fmla="*/ 1953768 h 2705233"/>
              <a:gd name="connsiteX3921" fmla="*/ 2463082 w 6886183"/>
              <a:gd name="connsiteY3921" fmla="*/ 1949958 h 2705233"/>
              <a:gd name="connsiteX3922" fmla="*/ 5126802 w 6886183"/>
              <a:gd name="connsiteY3922" fmla="*/ 1949577 h 2705233"/>
              <a:gd name="connsiteX3923" fmla="*/ 5132707 w 6886183"/>
              <a:gd name="connsiteY3923" fmla="*/ 1950910 h 2705233"/>
              <a:gd name="connsiteX3924" fmla="*/ 5116420 w 6886183"/>
              <a:gd name="connsiteY3924" fmla="*/ 1956244 h 2705233"/>
              <a:gd name="connsiteX3925" fmla="*/ 5110133 w 6886183"/>
              <a:gd name="connsiteY3925" fmla="*/ 1954720 h 2705233"/>
              <a:gd name="connsiteX3926" fmla="*/ 5126802 w 6886183"/>
              <a:gd name="connsiteY3926" fmla="*/ 1949577 h 2705233"/>
              <a:gd name="connsiteX3927" fmla="*/ 4887820 w 6886183"/>
              <a:gd name="connsiteY3927" fmla="*/ 1948433 h 2705233"/>
              <a:gd name="connsiteX3928" fmla="*/ 4903917 w 6886183"/>
              <a:gd name="connsiteY3928" fmla="*/ 1950910 h 2705233"/>
              <a:gd name="connsiteX3929" fmla="*/ 4890772 w 6886183"/>
              <a:gd name="connsiteY3929" fmla="*/ 1957863 h 2705233"/>
              <a:gd name="connsiteX3930" fmla="*/ 4881247 w 6886183"/>
              <a:gd name="connsiteY3930" fmla="*/ 1961197 h 2705233"/>
              <a:gd name="connsiteX3931" fmla="*/ 4876199 w 6886183"/>
              <a:gd name="connsiteY3931" fmla="*/ 1962626 h 2705233"/>
              <a:gd name="connsiteX3932" fmla="*/ 4871151 w 6886183"/>
              <a:gd name="connsiteY3932" fmla="*/ 1963959 h 2705233"/>
              <a:gd name="connsiteX3933" fmla="*/ 4854768 w 6886183"/>
              <a:gd name="connsiteY3933" fmla="*/ 1961864 h 2705233"/>
              <a:gd name="connsiteX3934" fmla="*/ 4887820 w 6886183"/>
              <a:gd name="connsiteY3934" fmla="*/ 1948433 h 2705233"/>
              <a:gd name="connsiteX3935" fmla="*/ 5012502 w 6886183"/>
              <a:gd name="connsiteY3935" fmla="*/ 1947005 h 2705233"/>
              <a:gd name="connsiteX3936" fmla="*/ 5023837 w 6886183"/>
              <a:gd name="connsiteY3936" fmla="*/ 1948910 h 2705233"/>
              <a:gd name="connsiteX3937" fmla="*/ 4999643 w 6886183"/>
              <a:gd name="connsiteY3937" fmla="*/ 1957673 h 2705233"/>
              <a:gd name="connsiteX3938" fmla="*/ 4988213 w 6886183"/>
              <a:gd name="connsiteY3938" fmla="*/ 1955768 h 2705233"/>
              <a:gd name="connsiteX3939" fmla="*/ 5012502 w 6886183"/>
              <a:gd name="connsiteY3939" fmla="*/ 1947005 h 2705233"/>
              <a:gd name="connsiteX3940" fmla="*/ 4350835 w 6886183"/>
              <a:gd name="connsiteY3940" fmla="*/ 1946993 h 2705233"/>
              <a:gd name="connsiteX3941" fmla="*/ 4361753 w 6886183"/>
              <a:gd name="connsiteY3941" fmla="*/ 1954815 h 2705233"/>
              <a:gd name="connsiteX3942" fmla="*/ 4289744 w 6886183"/>
              <a:gd name="connsiteY3942" fmla="*/ 1990534 h 2705233"/>
              <a:gd name="connsiteX3943" fmla="*/ 4235547 w 6886183"/>
              <a:gd name="connsiteY3943" fmla="*/ 1991296 h 2705233"/>
              <a:gd name="connsiteX3944" fmla="*/ 4308127 w 6886183"/>
              <a:gd name="connsiteY3944" fmla="*/ 1954815 h 2705233"/>
              <a:gd name="connsiteX3945" fmla="*/ 4350835 w 6886183"/>
              <a:gd name="connsiteY3945" fmla="*/ 1946993 h 2705233"/>
              <a:gd name="connsiteX3946" fmla="*/ 5199096 w 6886183"/>
              <a:gd name="connsiteY3946" fmla="*/ 1941195 h 2705233"/>
              <a:gd name="connsiteX3947" fmla="*/ 5203668 w 6886183"/>
              <a:gd name="connsiteY3947" fmla="*/ 1942433 h 2705233"/>
              <a:gd name="connsiteX3948" fmla="*/ 5190905 w 6886183"/>
              <a:gd name="connsiteY3948" fmla="*/ 1945957 h 2705233"/>
              <a:gd name="connsiteX3949" fmla="*/ 5187380 w 6886183"/>
              <a:gd name="connsiteY3949" fmla="*/ 1944433 h 2705233"/>
              <a:gd name="connsiteX3950" fmla="*/ 5199096 w 6886183"/>
              <a:gd name="connsiteY3950" fmla="*/ 1941195 h 2705233"/>
              <a:gd name="connsiteX3951" fmla="*/ 4711321 w 6886183"/>
              <a:gd name="connsiteY3951" fmla="*/ 1940909 h 2705233"/>
              <a:gd name="connsiteX3952" fmla="*/ 4716274 w 6886183"/>
              <a:gd name="connsiteY3952" fmla="*/ 1946148 h 2705233"/>
              <a:gd name="connsiteX3953" fmla="*/ 4699225 w 6886183"/>
              <a:gd name="connsiteY3953" fmla="*/ 1957292 h 2705233"/>
              <a:gd name="connsiteX3954" fmla="*/ 4671126 w 6886183"/>
              <a:gd name="connsiteY3954" fmla="*/ 1968246 h 2705233"/>
              <a:gd name="connsiteX3955" fmla="*/ 4643408 w 6886183"/>
              <a:gd name="connsiteY3955" fmla="*/ 1967103 h 2705233"/>
              <a:gd name="connsiteX3956" fmla="*/ 4688842 w 6886183"/>
              <a:gd name="connsiteY3956" fmla="*/ 1944338 h 2705233"/>
              <a:gd name="connsiteX3957" fmla="*/ 4701796 w 6886183"/>
              <a:gd name="connsiteY3957" fmla="*/ 1941481 h 2705233"/>
              <a:gd name="connsiteX3958" fmla="*/ 4711321 w 6886183"/>
              <a:gd name="connsiteY3958" fmla="*/ 1940909 h 2705233"/>
              <a:gd name="connsiteX3959" fmla="*/ 3256619 w 6886183"/>
              <a:gd name="connsiteY3959" fmla="*/ 1937349 h 2705233"/>
              <a:gd name="connsiteX3960" fmla="*/ 3290333 w 6886183"/>
              <a:gd name="connsiteY3960" fmla="*/ 1946815 h 2705233"/>
              <a:gd name="connsiteX3961" fmla="*/ 3231283 w 6886183"/>
              <a:gd name="connsiteY3961" fmla="*/ 1986915 h 2705233"/>
              <a:gd name="connsiteX3962" fmla="*/ 3137937 w 6886183"/>
              <a:gd name="connsiteY3962" fmla="*/ 1986248 h 2705233"/>
              <a:gd name="connsiteX3963" fmla="*/ 3196324 w 6886183"/>
              <a:gd name="connsiteY3963" fmla="*/ 1945386 h 2705233"/>
              <a:gd name="connsiteX3964" fmla="*/ 3256619 w 6886183"/>
              <a:gd name="connsiteY3964" fmla="*/ 1937349 h 2705233"/>
              <a:gd name="connsiteX3965" fmla="*/ 5093369 w 6886183"/>
              <a:gd name="connsiteY3965" fmla="*/ 1934147 h 2705233"/>
              <a:gd name="connsiteX3966" fmla="*/ 5100608 w 6886183"/>
              <a:gd name="connsiteY3966" fmla="*/ 1936528 h 2705233"/>
              <a:gd name="connsiteX3967" fmla="*/ 5078510 w 6886183"/>
              <a:gd name="connsiteY3967" fmla="*/ 1943672 h 2705233"/>
              <a:gd name="connsiteX3968" fmla="*/ 5070699 w 6886183"/>
              <a:gd name="connsiteY3968" fmla="*/ 1941386 h 2705233"/>
              <a:gd name="connsiteX3969" fmla="*/ 5080224 w 6886183"/>
              <a:gd name="connsiteY3969" fmla="*/ 1937195 h 2705233"/>
              <a:gd name="connsiteX3970" fmla="*/ 5086606 w 6886183"/>
              <a:gd name="connsiteY3970" fmla="*/ 1935480 h 2705233"/>
              <a:gd name="connsiteX3971" fmla="*/ 5093369 w 6886183"/>
              <a:gd name="connsiteY3971" fmla="*/ 1934147 h 2705233"/>
              <a:gd name="connsiteX3972" fmla="*/ 4855768 w 6886183"/>
              <a:gd name="connsiteY3972" fmla="*/ 1933087 h 2705233"/>
              <a:gd name="connsiteX3973" fmla="*/ 4857530 w 6886183"/>
              <a:gd name="connsiteY3973" fmla="*/ 1937861 h 2705233"/>
              <a:gd name="connsiteX3974" fmla="*/ 4818573 w 6886183"/>
              <a:gd name="connsiteY3974" fmla="*/ 1954149 h 2705233"/>
              <a:gd name="connsiteX3975" fmla="*/ 4799808 w 6886183"/>
              <a:gd name="connsiteY3975" fmla="*/ 1951768 h 2705233"/>
              <a:gd name="connsiteX3976" fmla="*/ 4814477 w 6886183"/>
              <a:gd name="connsiteY3976" fmla="*/ 1942910 h 2705233"/>
              <a:gd name="connsiteX3977" fmla="*/ 4837432 w 6886183"/>
              <a:gd name="connsiteY3977" fmla="*/ 1935385 h 2705233"/>
              <a:gd name="connsiteX3978" fmla="*/ 4855768 w 6886183"/>
              <a:gd name="connsiteY3978" fmla="*/ 1933087 h 2705233"/>
              <a:gd name="connsiteX3979" fmla="*/ 4120819 w 6886183"/>
              <a:gd name="connsiteY3979" fmla="*/ 1932634 h 2705233"/>
              <a:gd name="connsiteX3980" fmla="*/ 4135059 w 6886183"/>
              <a:gd name="connsiteY3980" fmla="*/ 1941290 h 2705233"/>
              <a:gd name="connsiteX3981" fmla="*/ 4067622 w 6886183"/>
              <a:gd name="connsiteY3981" fmla="*/ 1978819 h 2705233"/>
              <a:gd name="connsiteX3982" fmla="*/ 3988850 w 6886183"/>
              <a:gd name="connsiteY3982" fmla="*/ 1984153 h 2705233"/>
              <a:gd name="connsiteX3983" fmla="*/ 3965228 w 6886183"/>
              <a:gd name="connsiteY3983" fmla="*/ 1999774 h 2705233"/>
              <a:gd name="connsiteX3984" fmla="*/ 3930271 w 6886183"/>
              <a:gd name="connsiteY3984" fmla="*/ 2015871 h 2705233"/>
              <a:gd name="connsiteX3985" fmla="*/ 3960466 w 6886183"/>
              <a:gd name="connsiteY3985" fmla="*/ 2014347 h 2705233"/>
              <a:gd name="connsiteX3986" fmla="*/ 3977992 w 6886183"/>
              <a:gd name="connsiteY3986" fmla="*/ 2018443 h 2705233"/>
              <a:gd name="connsiteX3987" fmla="*/ 4060097 w 6886183"/>
              <a:gd name="connsiteY3987" fmla="*/ 1983486 h 2705233"/>
              <a:gd name="connsiteX3988" fmla="*/ 4118962 w 6886183"/>
              <a:gd name="connsiteY3988" fmla="*/ 1985677 h 2705233"/>
              <a:gd name="connsiteX3989" fmla="*/ 4147537 w 6886183"/>
              <a:gd name="connsiteY3989" fmla="*/ 1965674 h 2705233"/>
              <a:gd name="connsiteX3990" fmla="*/ 4199353 w 6886183"/>
              <a:gd name="connsiteY3990" fmla="*/ 1946624 h 2705233"/>
              <a:gd name="connsiteX3991" fmla="*/ 4255455 w 6886183"/>
              <a:gd name="connsiteY3991" fmla="*/ 1946624 h 2705233"/>
              <a:gd name="connsiteX3992" fmla="*/ 4183827 w 6886183"/>
              <a:gd name="connsiteY3992" fmla="*/ 1985962 h 2705233"/>
              <a:gd name="connsiteX3993" fmla="*/ 4231452 w 6886183"/>
              <a:gd name="connsiteY3993" fmla="*/ 1990725 h 2705233"/>
              <a:gd name="connsiteX3994" fmla="*/ 4163158 w 6886183"/>
              <a:gd name="connsiteY3994" fmla="*/ 2024920 h 2705233"/>
              <a:gd name="connsiteX3995" fmla="*/ 4203639 w 6886183"/>
              <a:gd name="connsiteY3995" fmla="*/ 2031397 h 2705233"/>
              <a:gd name="connsiteX3996" fmla="*/ 4143346 w 6886183"/>
              <a:gd name="connsiteY3996" fmla="*/ 2059972 h 2705233"/>
              <a:gd name="connsiteX3997" fmla="*/ 4075909 w 6886183"/>
              <a:gd name="connsiteY3997" fmla="*/ 2068449 h 2705233"/>
              <a:gd name="connsiteX3998" fmla="*/ 4025521 w 6886183"/>
              <a:gd name="connsiteY3998" fmla="*/ 2091880 h 2705233"/>
              <a:gd name="connsiteX3999" fmla="*/ 4062478 w 6886183"/>
              <a:gd name="connsiteY3999" fmla="*/ 2092928 h 2705233"/>
              <a:gd name="connsiteX4000" fmla="*/ 4148203 w 6886183"/>
              <a:gd name="connsiteY4000" fmla="*/ 2060734 h 2705233"/>
              <a:gd name="connsiteX4001" fmla="*/ 4184875 w 6886183"/>
              <a:gd name="connsiteY4001" fmla="*/ 2063782 h 2705233"/>
              <a:gd name="connsiteX4002" fmla="*/ 4119152 w 6886183"/>
              <a:gd name="connsiteY4002" fmla="*/ 2095976 h 2705233"/>
              <a:gd name="connsiteX4003" fmla="*/ 4155157 w 6886183"/>
              <a:gd name="connsiteY4003" fmla="*/ 2092166 h 2705233"/>
              <a:gd name="connsiteX4004" fmla="*/ 4159824 w 6886183"/>
              <a:gd name="connsiteY4004" fmla="*/ 2098262 h 2705233"/>
              <a:gd name="connsiteX4005" fmla="*/ 4106389 w 6886183"/>
              <a:gd name="connsiteY4005" fmla="*/ 2124170 h 2705233"/>
              <a:gd name="connsiteX4006" fmla="*/ 4039714 w 6886183"/>
              <a:gd name="connsiteY4006" fmla="*/ 2132362 h 2705233"/>
              <a:gd name="connsiteX4007" fmla="*/ 3987136 w 6886183"/>
              <a:gd name="connsiteY4007" fmla="*/ 2155888 h 2705233"/>
              <a:gd name="connsiteX4008" fmla="*/ 4021426 w 6886183"/>
              <a:gd name="connsiteY4008" fmla="*/ 2152459 h 2705233"/>
              <a:gd name="connsiteX4009" fmla="*/ 4024378 w 6886183"/>
              <a:gd name="connsiteY4009" fmla="*/ 2160651 h 2705233"/>
              <a:gd name="connsiteX4010" fmla="*/ 3967228 w 6886183"/>
              <a:gd name="connsiteY4010" fmla="*/ 2184844 h 2705233"/>
              <a:gd name="connsiteX4011" fmla="*/ 3913031 w 6886183"/>
              <a:gd name="connsiteY4011" fmla="*/ 2190845 h 2705233"/>
              <a:gd name="connsiteX4012" fmla="*/ 3959132 w 6886183"/>
              <a:gd name="connsiteY4012" fmla="*/ 2163223 h 2705233"/>
              <a:gd name="connsiteX4013" fmla="*/ 3919413 w 6886183"/>
              <a:gd name="connsiteY4013" fmla="*/ 2165509 h 2705233"/>
              <a:gd name="connsiteX4014" fmla="*/ 3872550 w 6886183"/>
              <a:gd name="connsiteY4014" fmla="*/ 2186464 h 2705233"/>
              <a:gd name="connsiteX4015" fmla="*/ 3906649 w 6886183"/>
              <a:gd name="connsiteY4015" fmla="*/ 2190559 h 2705233"/>
              <a:gd name="connsiteX4016" fmla="*/ 3854548 w 6886183"/>
              <a:gd name="connsiteY4016" fmla="*/ 2214848 h 2705233"/>
              <a:gd name="connsiteX4017" fmla="*/ 3896934 w 6886183"/>
              <a:gd name="connsiteY4017" fmla="*/ 2215515 h 2705233"/>
              <a:gd name="connsiteX4018" fmla="*/ 3849309 w 6886183"/>
              <a:gd name="connsiteY4018" fmla="*/ 2237803 h 2705233"/>
              <a:gd name="connsiteX4019" fmla="*/ 3808351 w 6886183"/>
              <a:gd name="connsiteY4019" fmla="*/ 2246662 h 2705233"/>
              <a:gd name="connsiteX4020" fmla="*/ 3782824 w 6886183"/>
              <a:gd name="connsiteY4020" fmla="*/ 2246662 h 2705233"/>
              <a:gd name="connsiteX4021" fmla="*/ 3726722 w 6886183"/>
              <a:gd name="connsiteY4021" fmla="*/ 2269712 h 2705233"/>
              <a:gd name="connsiteX4022" fmla="*/ 3669572 w 6886183"/>
              <a:gd name="connsiteY4022" fmla="*/ 2274379 h 2705233"/>
              <a:gd name="connsiteX4023" fmla="*/ 3610136 w 6886183"/>
              <a:gd name="connsiteY4023" fmla="*/ 2298859 h 2705233"/>
              <a:gd name="connsiteX4024" fmla="*/ 3555847 w 6886183"/>
              <a:gd name="connsiteY4024" fmla="*/ 2303716 h 2705233"/>
              <a:gd name="connsiteX4025" fmla="*/ 3593944 w 6886183"/>
              <a:gd name="connsiteY4025" fmla="*/ 2281142 h 2705233"/>
              <a:gd name="connsiteX4026" fmla="*/ 3566798 w 6886183"/>
              <a:gd name="connsiteY4026" fmla="*/ 2284190 h 2705233"/>
              <a:gd name="connsiteX4027" fmla="*/ 3547748 w 6886183"/>
              <a:gd name="connsiteY4027" fmla="*/ 2284190 h 2705233"/>
              <a:gd name="connsiteX4028" fmla="*/ 3491650 w 6886183"/>
              <a:gd name="connsiteY4028" fmla="*/ 2306860 h 2705233"/>
              <a:gd name="connsiteX4029" fmla="*/ 3519271 w 6886183"/>
              <a:gd name="connsiteY4029" fmla="*/ 2302192 h 2705233"/>
              <a:gd name="connsiteX4030" fmla="*/ 3539177 w 6886183"/>
              <a:gd name="connsiteY4030" fmla="*/ 2301430 h 2705233"/>
              <a:gd name="connsiteX4031" fmla="*/ 3546036 w 6886183"/>
              <a:gd name="connsiteY4031" fmla="*/ 2305526 h 2705233"/>
              <a:gd name="connsiteX4032" fmla="*/ 3498414 w 6886183"/>
              <a:gd name="connsiteY4032" fmla="*/ 2327148 h 2705233"/>
              <a:gd name="connsiteX4033" fmla="*/ 3436706 w 6886183"/>
              <a:gd name="connsiteY4033" fmla="*/ 2334006 h 2705233"/>
              <a:gd name="connsiteX4034" fmla="*/ 3480414 w 6886183"/>
              <a:gd name="connsiteY4034" fmla="*/ 2309622 h 2705233"/>
              <a:gd name="connsiteX4035" fmla="*/ 3426895 w 6886183"/>
              <a:gd name="connsiteY4035" fmla="*/ 2312003 h 2705233"/>
              <a:gd name="connsiteX4036" fmla="*/ 3367574 w 6886183"/>
              <a:gd name="connsiteY4036" fmla="*/ 2335911 h 2705233"/>
              <a:gd name="connsiteX4037" fmla="*/ 3307189 w 6886183"/>
              <a:gd name="connsiteY4037" fmla="*/ 2340673 h 2705233"/>
              <a:gd name="connsiteX4038" fmla="*/ 3346716 w 6886183"/>
              <a:gd name="connsiteY4038" fmla="*/ 2316956 h 2705233"/>
              <a:gd name="connsiteX4039" fmla="*/ 3289574 w 6886183"/>
              <a:gd name="connsiteY4039" fmla="*/ 2318004 h 2705233"/>
              <a:gd name="connsiteX4040" fmla="*/ 3270525 w 6886183"/>
              <a:gd name="connsiteY4040" fmla="*/ 2330958 h 2705233"/>
              <a:gd name="connsiteX4041" fmla="*/ 3230712 w 6886183"/>
              <a:gd name="connsiteY4041" fmla="*/ 2343245 h 2705233"/>
              <a:gd name="connsiteX4042" fmla="*/ 3164702 w 6886183"/>
              <a:gd name="connsiteY4042" fmla="*/ 2348389 h 2705233"/>
              <a:gd name="connsiteX4043" fmla="*/ 3170513 w 6886183"/>
              <a:gd name="connsiteY4043" fmla="*/ 2336959 h 2705233"/>
              <a:gd name="connsiteX4044" fmla="*/ 3207658 w 6886183"/>
              <a:gd name="connsiteY4044" fmla="*/ 2322385 h 2705233"/>
              <a:gd name="connsiteX4045" fmla="*/ 3146414 w 6886183"/>
              <a:gd name="connsiteY4045" fmla="*/ 2324100 h 2705233"/>
              <a:gd name="connsiteX4046" fmla="*/ 3193183 w 6886183"/>
              <a:gd name="connsiteY4046" fmla="*/ 2297716 h 2705233"/>
              <a:gd name="connsiteX4047" fmla="*/ 3144128 w 6886183"/>
              <a:gd name="connsiteY4047" fmla="*/ 2303050 h 2705233"/>
              <a:gd name="connsiteX4048" fmla="*/ 3122981 w 6886183"/>
              <a:gd name="connsiteY4048" fmla="*/ 2299144 h 2705233"/>
              <a:gd name="connsiteX4049" fmla="*/ 3177178 w 6886183"/>
              <a:gd name="connsiteY4049" fmla="*/ 2270569 h 2705233"/>
              <a:gd name="connsiteX4050" fmla="*/ 3116789 w 6886183"/>
              <a:gd name="connsiteY4050" fmla="*/ 2276665 h 2705233"/>
              <a:gd name="connsiteX4051" fmla="*/ 3098788 w 6886183"/>
              <a:gd name="connsiteY4051" fmla="*/ 2270569 h 2705233"/>
              <a:gd name="connsiteX4052" fmla="*/ 3112029 w 6886183"/>
              <a:gd name="connsiteY4052" fmla="*/ 2257425 h 2705233"/>
              <a:gd name="connsiteX4053" fmla="*/ 3154699 w 6886183"/>
              <a:gd name="connsiteY4053" fmla="*/ 2242852 h 2705233"/>
              <a:gd name="connsiteX4054" fmla="*/ 3238140 w 6886183"/>
              <a:gd name="connsiteY4054" fmla="*/ 2236756 h 2705233"/>
              <a:gd name="connsiteX4055" fmla="*/ 3194230 w 6886183"/>
              <a:gd name="connsiteY4055" fmla="*/ 2266855 h 2705233"/>
              <a:gd name="connsiteX4056" fmla="*/ 3231757 w 6886183"/>
              <a:gd name="connsiteY4056" fmla="*/ 2262854 h 2705233"/>
              <a:gd name="connsiteX4057" fmla="*/ 3260334 w 6886183"/>
              <a:gd name="connsiteY4057" fmla="*/ 2263616 h 2705233"/>
              <a:gd name="connsiteX4058" fmla="*/ 3318334 w 6886183"/>
              <a:gd name="connsiteY4058" fmla="*/ 2238565 h 2705233"/>
              <a:gd name="connsiteX4059" fmla="*/ 3361574 w 6886183"/>
              <a:gd name="connsiteY4059" fmla="*/ 2230183 h 2705233"/>
              <a:gd name="connsiteX4060" fmla="*/ 3393949 w 6886183"/>
              <a:gd name="connsiteY4060" fmla="*/ 2229421 h 2705233"/>
              <a:gd name="connsiteX4061" fmla="*/ 3432800 w 6886183"/>
              <a:gd name="connsiteY4061" fmla="*/ 2210371 h 2705233"/>
              <a:gd name="connsiteX4062" fmla="*/ 3411948 w 6886183"/>
              <a:gd name="connsiteY4062" fmla="*/ 2211133 h 2705233"/>
              <a:gd name="connsiteX4063" fmla="*/ 3392613 w 6886183"/>
              <a:gd name="connsiteY4063" fmla="*/ 2209800 h 2705233"/>
              <a:gd name="connsiteX4064" fmla="*/ 3359953 w 6886183"/>
              <a:gd name="connsiteY4064" fmla="*/ 2226850 h 2705233"/>
              <a:gd name="connsiteX4065" fmla="*/ 3311382 w 6886183"/>
              <a:gd name="connsiteY4065" fmla="*/ 2239423 h 2705233"/>
              <a:gd name="connsiteX4066" fmla="*/ 3269763 w 6886183"/>
              <a:gd name="connsiteY4066" fmla="*/ 2243804 h 2705233"/>
              <a:gd name="connsiteX4067" fmla="*/ 3249475 w 6886183"/>
              <a:gd name="connsiteY4067" fmla="*/ 2238946 h 2705233"/>
              <a:gd name="connsiteX4068" fmla="*/ 3299192 w 6886183"/>
              <a:gd name="connsiteY4068" fmla="*/ 2208657 h 2705233"/>
              <a:gd name="connsiteX4069" fmla="*/ 3229568 w 6886183"/>
              <a:gd name="connsiteY4069" fmla="*/ 2206942 h 2705233"/>
              <a:gd name="connsiteX4070" fmla="*/ 3283954 w 6886183"/>
              <a:gd name="connsiteY4070" fmla="*/ 2176177 h 2705233"/>
              <a:gd name="connsiteX4071" fmla="*/ 3380140 w 6886183"/>
              <a:gd name="connsiteY4071" fmla="*/ 2167795 h 2705233"/>
              <a:gd name="connsiteX4072" fmla="*/ 3439561 w 6886183"/>
              <a:gd name="connsiteY4072" fmla="*/ 2139220 h 2705233"/>
              <a:gd name="connsiteX4073" fmla="*/ 3419948 w 6886183"/>
              <a:gd name="connsiteY4073" fmla="*/ 2141410 h 2705233"/>
              <a:gd name="connsiteX4074" fmla="*/ 3374047 w 6886183"/>
              <a:gd name="connsiteY4074" fmla="*/ 2133028 h 2705233"/>
              <a:gd name="connsiteX4075" fmla="*/ 3434991 w 6886183"/>
              <a:gd name="connsiteY4075" fmla="*/ 2100548 h 2705233"/>
              <a:gd name="connsiteX4076" fmla="*/ 3517652 w 6886183"/>
              <a:gd name="connsiteY4076" fmla="*/ 2091023 h 2705233"/>
              <a:gd name="connsiteX4077" fmla="*/ 3528891 w 6886183"/>
              <a:gd name="connsiteY4077" fmla="*/ 2093881 h 2705233"/>
              <a:gd name="connsiteX4078" fmla="*/ 3604040 w 6886183"/>
              <a:gd name="connsiteY4078" fmla="*/ 2058162 h 2705233"/>
              <a:gd name="connsiteX4079" fmla="*/ 3684526 w 6886183"/>
              <a:gd name="connsiteY4079" fmla="*/ 2054638 h 2705233"/>
              <a:gd name="connsiteX4080" fmla="*/ 3768156 w 6886183"/>
              <a:gd name="connsiteY4080" fmla="*/ 2016538 h 2705233"/>
              <a:gd name="connsiteX4081" fmla="*/ 3837974 w 6886183"/>
              <a:gd name="connsiteY4081" fmla="*/ 2017300 h 2705233"/>
              <a:gd name="connsiteX4082" fmla="*/ 3919413 w 6886183"/>
              <a:gd name="connsiteY4082" fmla="*/ 1979200 h 2705233"/>
              <a:gd name="connsiteX4083" fmla="*/ 3989707 w 6886183"/>
              <a:gd name="connsiteY4083" fmla="*/ 1980724 h 2705233"/>
              <a:gd name="connsiteX4084" fmla="*/ 4076290 w 6886183"/>
              <a:gd name="connsiteY4084" fmla="*/ 1938623 h 2705233"/>
              <a:gd name="connsiteX4085" fmla="*/ 4120819 w 6886183"/>
              <a:gd name="connsiteY4085" fmla="*/ 1932634 h 2705233"/>
              <a:gd name="connsiteX4086" fmla="*/ 4980212 w 6886183"/>
              <a:gd name="connsiteY4086" fmla="*/ 1930908 h 2705233"/>
              <a:gd name="connsiteX4087" fmla="*/ 4985355 w 6886183"/>
              <a:gd name="connsiteY4087" fmla="*/ 1930908 h 2705233"/>
              <a:gd name="connsiteX4088" fmla="*/ 4985355 w 6886183"/>
              <a:gd name="connsiteY4088" fmla="*/ 1934718 h 2705233"/>
              <a:gd name="connsiteX4089" fmla="*/ 4973068 w 6886183"/>
              <a:gd name="connsiteY4089" fmla="*/ 1940909 h 2705233"/>
              <a:gd name="connsiteX4090" fmla="*/ 4955066 w 6886183"/>
              <a:gd name="connsiteY4090" fmla="*/ 1946148 h 2705233"/>
              <a:gd name="connsiteX4091" fmla="*/ 4941635 w 6886183"/>
              <a:gd name="connsiteY4091" fmla="*/ 1943672 h 2705233"/>
              <a:gd name="connsiteX4092" fmla="*/ 4971925 w 6886183"/>
              <a:gd name="connsiteY4092" fmla="*/ 1932242 h 2705233"/>
              <a:gd name="connsiteX4093" fmla="*/ 4980212 w 6886183"/>
              <a:gd name="connsiteY4093" fmla="*/ 1930908 h 2705233"/>
              <a:gd name="connsiteX4094" fmla="*/ 4648837 w 6886183"/>
              <a:gd name="connsiteY4094" fmla="*/ 1929669 h 2705233"/>
              <a:gd name="connsiteX4095" fmla="*/ 4653695 w 6886183"/>
              <a:gd name="connsiteY4095" fmla="*/ 1936146 h 2705233"/>
              <a:gd name="connsiteX4096" fmla="*/ 4635693 w 6886183"/>
              <a:gd name="connsiteY4096" fmla="*/ 1948910 h 2705233"/>
              <a:gd name="connsiteX4097" fmla="*/ 4633978 w 6886183"/>
              <a:gd name="connsiteY4097" fmla="*/ 1949672 h 2705233"/>
              <a:gd name="connsiteX4098" fmla="*/ 4633026 w 6886183"/>
              <a:gd name="connsiteY4098" fmla="*/ 1949672 h 2705233"/>
              <a:gd name="connsiteX4099" fmla="*/ 4631978 w 6886183"/>
              <a:gd name="connsiteY4099" fmla="*/ 1949672 h 2705233"/>
              <a:gd name="connsiteX4100" fmla="*/ 4627597 w 6886183"/>
              <a:gd name="connsiteY4100" fmla="*/ 1951577 h 2705233"/>
              <a:gd name="connsiteX4101" fmla="*/ 4618072 w 6886183"/>
              <a:gd name="connsiteY4101" fmla="*/ 1955196 h 2705233"/>
              <a:gd name="connsiteX4102" fmla="*/ 4597879 w 6886183"/>
              <a:gd name="connsiteY4102" fmla="*/ 1961959 h 2705233"/>
              <a:gd name="connsiteX4103" fmla="*/ 4560541 w 6886183"/>
              <a:gd name="connsiteY4103" fmla="*/ 1961959 h 2705233"/>
              <a:gd name="connsiteX4104" fmla="*/ 4620739 w 6886183"/>
              <a:gd name="connsiteY4104" fmla="*/ 1934146 h 2705233"/>
              <a:gd name="connsiteX4105" fmla="*/ 4625977 w 6886183"/>
              <a:gd name="connsiteY4105" fmla="*/ 1932622 h 2705233"/>
              <a:gd name="connsiteX4106" fmla="*/ 4628549 w 6886183"/>
              <a:gd name="connsiteY4106" fmla="*/ 1931955 h 2705233"/>
              <a:gd name="connsiteX4107" fmla="*/ 4630549 w 6886183"/>
              <a:gd name="connsiteY4107" fmla="*/ 1931955 h 2705233"/>
              <a:gd name="connsiteX4108" fmla="*/ 4637884 w 6886183"/>
              <a:gd name="connsiteY4108" fmla="*/ 1930431 h 2705233"/>
              <a:gd name="connsiteX4109" fmla="*/ 4648837 w 6886183"/>
              <a:gd name="connsiteY4109" fmla="*/ 1929669 h 2705233"/>
              <a:gd name="connsiteX4110" fmla="*/ 5169950 w 6886183"/>
              <a:gd name="connsiteY4110" fmla="*/ 1924812 h 2705233"/>
              <a:gd name="connsiteX4111" fmla="*/ 5176046 w 6886183"/>
              <a:gd name="connsiteY4111" fmla="*/ 1926621 h 2705233"/>
              <a:gd name="connsiteX4112" fmla="*/ 5157758 w 6886183"/>
              <a:gd name="connsiteY4112" fmla="*/ 1932241 h 2705233"/>
              <a:gd name="connsiteX4113" fmla="*/ 5150900 w 6886183"/>
              <a:gd name="connsiteY4113" fmla="*/ 1930336 h 2705233"/>
              <a:gd name="connsiteX4114" fmla="*/ 5169950 w 6886183"/>
              <a:gd name="connsiteY4114" fmla="*/ 1924812 h 2705233"/>
              <a:gd name="connsiteX4115" fmla="*/ 3983731 w 6886183"/>
              <a:gd name="connsiteY4115" fmla="*/ 1924657 h 2705233"/>
              <a:gd name="connsiteX4116" fmla="*/ 4003423 w 6886183"/>
              <a:gd name="connsiteY4116" fmla="*/ 1934432 h 2705233"/>
              <a:gd name="connsiteX4117" fmla="*/ 3928366 w 6886183"/>
              <a:gd name="connsiteY4117" fmla="*/ 1975008 h 2705233"/>
              <a:gd name="connsiteX4118" fmla="*/ 3855119 w 6886183"/>
              <a:gd name="connsiteY4118" fmla="*/ 1975008 h 2705233"/>
              <a:gd name="connsiteX4119" fmla="*/ 3930462 w 6886183"/>
              <a:gd name="connsiteY4119" fmla="*/ 1933384 h 2705233"/>
              <a:gd name="connsiteX4120" fmla="*/ 3983731 w 6886183"/>
              <a:gd name="connsiteY4120" fmla="*/ 1924657 h 2705233"/>
              <a:gd name="connsiteX4121" fmla="*/ 3013098 w 6886183"/>
              <a:gd name="connsiteY4121" fmla="*/ 1924216 h 2705233"/>
              <a:gd name="connsiteX4122" fmla="*/ 3049733 w 6886183"/>
              <a:gd name="connsiteY4122" fmla="*/ 1935099 h 2705233"/>
              <a:gd name="connsiteX4123" fmla="*/ 2994679 w 6886183"/>
              <a:gd name="connsiteY4123" fmla="*/ 1973770 h 2705233"/>
              <a:gd name="connsiteX4124" fmla="*/ 2899140 w 6886183"/>
              <a:gd name="connsiteY4124" fmla="*/ 1971008 h 2705233"/>
              <a:gd name="connsiteX4125" fmla="*/ 2950959 w 6886183"/>
              <a:gd name="connsiteY4125" fmla="*/ 1931479 h 2705233"/>
              <a:gd name="connsiteX4126" fmla="*/ 3013098 w 6886183"/>
              <a:gd name="connsiteY4126" fmla="*/ 1924216 h 2705233"/>
              <a:gd name="connsiteX4127" fmla="*/ 4802582 w 6886183"/>
              <a:gd name="connsiteY4127" fmla="*/ 1920096 h 2705233"/>
              <a:gd name="connsiteX4128" fmla="*/ 4805714 w 6886183"/>
              <a:gd name="connsiteY4128" fmla="*/ 1925383 h 2705233"/>
              <a:gd name="connsiteX4129" fmla="*/ 4761708 w 6886183"/>
              <a:gd name="connsiteY4129" fmla="*/ 1945195 h 2705233"/>
              <a:gd name="connsiteX4130" fmla="*/ 4755422 w 6886183"/>
              <a:gd name="connsiteY4130" fmla="*/ 1946529 h 2705233"/>
              <a:gd name="connsiteX4131" fmla="*/ 4749897 w 6886183"/>
              <a:gd name="connsiteY4131" fmla="*/ 1947576 h 2705233"/>
              <a:gd name="connsiteX4132" fmla="*/ 4741610 w 6886183"/>
              <a:gd name="connsiteY4132" fmla="*/ 1947576 h 2705233"/>
              <a:gd name="connsiteX4133" fmla="*/ 4738562 w 6886183"/>
              <a:gd name="connsiteY4133" fmla="*/ 1942433 h 2705233"/>
              <a:gd name="connsiteX4134" fmla="*/ 4755231 w 6886183"/>
              <a:gd name="connsiteY4134" fmla="*/ 1931860 h 2705233"/>
              <a:gd name="connsiteX4135" fmla="*/ 4781806 w 6886183"/>
              <a:gd name="connsiteY4135" fmla="*/ 1922811 h 2705233"/>
              <a:gd name="connsiteX4136" fmla="*/ 4802582 w 6886183"/>
              <a:gd name="connsiteY4136" fmla="*/ 1920096 h 2705233"/>
              <a:gd name="connsiteX4137" fmla="*/ 4574435 w 6886183"/>
              <a:gd name="connsiteY4137" fmla="*/ 1919882 h 2705233"/>
              <a:gd name="connsiteX4138" fmla="*/ 4581496 w 6886183"/>
              <a:gd name="connsiteY4138" fmla="*/ 1926526 h 2705233"/>
              <a:gd name="connsiteX4139" fmla="*/ 4515678 w 6886183"/>
              <a:gd name="connsiteY4139" fmla="*/ 1958054 h 2705233"/>
              <a:gd name="connsiteX4140" fmla="*/ 4472053 w 6886183"/>
              <a:gd name="connsiteY4140" fmla="*/ 1958625 h 2705233"/>
              <a:gd name="connsiteX4141" fmla="*/ 4538728 w 6886183"/>
              <a:gd name="connsiteY4141" fmla="*/ 1926526 h 2705233"/>
              <a:gd name="connsiteX4142" fmla="*/ 4574435 w 6886183"/>
              <a:gd name="connsiteY4142" fmla="*/ 1919882 h 2705233"/>
              <a:gd name="connsiteX4143" fmla="*/ 5052125 w 6886183"/>
              <a:gd name="connsiteY4143" fmla="*/ 1919192 h 2705233"/>
              <a:gd name="connsiteX4144" fmla="*/ 5065174 w 6886183"/>
              <a:gd name="connsiteY4144" fmla="*/ 1921669 h 2705233"/>
              <a:gd name="connsiteX4145" fmla="*/ 5037171 w 6886183"/>
              <a:gd name="connsiteY4145" fmla="*/ 1931194 h 2705233"/>
              <a:gd name="connsiteX4146" fmla="*/ 5025741 w 6886183"/>
              <a:gd name="connsiteY4146" fmla="*/ 1932146 h 2705233"/>
              <a:gd name="connsiteX4147" fmla="*/ 5024503 w 6886183"/>
              <a:gd name="connsiteY4147" fmla="*/ 1929289 h 2705233"/>
              <a:gd name="connsiteX4148" fmla="*/ 5028598 w 6886183"/>
              <a:gd name="connsiteY4148" fmla="*/ 1926622 h 2705233"/>
              <a:gd name="connsiteX4149" fmla="*/ 5035266 w 6886183"/>
              <a:gd name="connsiteY4149" fmla="*/ 1923764 h 2705233"/>
              <a:gd name="connsiteX4150" fmla="*/ 5052125 w 6886183"/>
              <a:gd name="connsiteY4150" fmla="*/ 1919192 h 2705233"/>
              <a:gd name="connsiteX4151" fmla="*/ 4925157 w 6886183"/>
              <a:gd name="connsiteY4151" fmla="*/ 1918239 h 2705233"/>
              <a:gd name="connsiteX4152" fmla="*/ 4941540 w 6886183"/>
              <a:gd name="connsiteY4152" fmla="*/ 1921383 h 2705233"/>
              <a:gd name="connsiteX4153" fmla="*/ 4927348 w 6886183"/>
              <a:gd name="connsiteY4153" fmla="*/ 1928812 h 2705233"/>
              <a:gd name="connsiteX4154" fmla="*/ 4906107 w 6886183"/>
              <a:gd name="connsiteY4154" fmla="*/ 1935289 h 2705233"/>
              <a:gd name="connsiteX4155" fmla="*/ 4889438 w 6886183"/>
              <a:gd name="connsiteY4155" fmla="*/ 1932622 h 2705233"/>
              <a:gd name="connsiteX4156" fmla="*/ 4925157 w 6886183"/>
              <a:gd name="connsiteY4156" fmla="*/ 1918239 h 2705233"/>
              <a:gd name="connsiteX4157" fmla="*/ 5246626 w 6886183"/>
              <a:gd name="connsiteY4157" fmla="*/ 1916430 h 2705233"/>
              <a:gd name="connsiteX4158" fmla="*/ 5250245 w 6886183"/>
              <a:gd name="connsiteY4158" fmla="*/ 1918145 h 2705233"/>
              <a:gd name="connsiteX4159" fmla="*/ 5235577 w 6886183"/>
              <a:gd name="connsiteY4159" fmla="*/ 1921955 h 2705233"/>
              <a:gd name="connsiteX4160" fmla="*/ 5231862 w 6886183"/>
              <a:gd name="connsiteY4160" fmla="*/ 1920240 h 2705233"/>
              <a:gd name="connsiteX4161" fmla="*/ 5246626 w 6886183"/>
              <a:gd name="connsiteY4161" fmla="*/ 1916430 h 2705233"/>
              <a:gd name="connsiteX4162" fmla="*/ 3827865 w 6886183"/>
              <a:gd name="connsiteY4162" fmla="*/ 1916025 h 2705233"/>
              <a:gd name="connsiteX4163" fmla="*/ 3851594 w 6886183"/>
              <a:gd name="connsiteY4163" fmla="*/ 1925574 h 2705233"/>
              <a:gd name="connsiteX4164" fmla="*/ 3776918 w 6886183"/>
              <a:gd name="connsiteY4164" fmla="*/ 1967960 h 2705233"/>
              <a:gd name="connsiteX4165" fmla="*/ 3697861 w 6886183"/>
              <a:gd name="connsiteY4165" fmla="*/ 1967389 h 2705233"/>
              <a:gd name="connsiteX4166" fmla="*/ 3772632 w 6886183"/>
              <a:gd name="connsiteY4166" fmla="*/ 1924050 h 2705233"/>
              <a:gd name="connsiteX4167" fmla="*/ 3827865 w 6886183"/>
              <a:gd name="connsiteY4167" fmla="*/ 1916025 h 2705233"/>
              <a:gd name="connsiteX4168" fmla="*/ 2136010 w 6886183"/>
              <a:gd name="connsiteY4168" fmla="*/ 1915859 h 2705233"/>
              <a:gd name="connsiteX4169" fmla="*/ 2183515 w 6886183"/>
              <a:gd name="connsiteY4169" fmla="*/ 1927479 h 2705233"/>
              <a:gd name="connsiteX4170" fmla="*/ 2152846 w 6886183"/>
              <a:gd name="connsiteY4170" fmla="*/ 1960531 h 2705233"/>
              <a:gd name="connsiteX4171" fmla="*/ 2043975 w 6886183"/>
              <a:gd name="connsiteY4171" fmla="*/ 1952625 h 2705233"/>
              <a:gd name="connsiteX4172" fmla="*/ 2074360 w 6886183"/>
              <a:gd name="connsiteY4172" fmla="*/ 1917954 h 2705233"/>
              <a:gd name="connsiteX4173" fmla="*/ 2136010 w 6886183"/>
              <a:gd name="connsiteY4173" fmla="*/ 1915859 h 2705233"/>
              <a:gd name="connsiteX4174" fmla="*/ 4482424 w 6886183"/>
              <a:gd name="connsiteY4174" fmla="*/ 1911560 h 2705233"/>
              <a:gd name="connsiteX4175" fmla="*/ 4491770 w 6886183"/>
              <a:gd name="connsiteY4175" fmla="*/ 1919287 h 2705233"/>
              <a:gd name="connsiteX4176" fmla="*/ 4420142 w 6886183"/>
              <a:gd name="connsiteY4176" fmla="*/ 1954244 h 2705233"/>
              <a:gd name="connsiteX4177" fmla="*/ 4370898 w 6886183"/>
              <a:gd name="connsiteY4177" fmla="*/ 1954244 h 2705233"/>
              <a:gd name="connsiteX4178" fmla="*/ 4442431 w 6886183"/>
              <a:gd name="connsiteY4178" fmla="*/ 1918621 h 2705233"/>
              <a:gd name="connsiteX4179" fmla="*/ 4482424 w 6886183"/>
              <a:gd name="connsiteY4179" fmla="*/ 1911560 h 2705233"/>
              <a:gd name="connsiteX4180" fmla="*/ 636644 w 6886183"/>
              <a:gd name="connsiteY4180" fmla="*/ 1909762 h 2705233"/>
              <a:gd name="connsiteX4181" fmla="*/ 655122 w 6886183"/>
              <a:gd name="connsiteY4181" fmla="*/ 1913953 h 2705233"/>
              <a:gd name="connsiteX4182" fmla="*/ 660932 w 6886183"/>
              <a:gd name="connsiteY4182" fmla="*/ 1915858 h 2705233"/>
              <a:gd name="connsiteX4183" fmla="*/ 667028 w 6886183"/>
              <a:gd name="connsiteY4183" fmla="*/ 1918049 h 2705233"/>
              <a:gd name="connsiteX4184" fmla="*/ 679792 w 6886183"/>
              <a:gd name="connsiteY4184" fmla="*/ 1922907 h 2705233"/>
              <a:gd name="connsiteX4185" fmla="*/ 693032 w 6886183"/>
              <a:gd name="connsiteY4185" fmla="*/ 1928527 h 2705233"/>
              <a:gd name="connsiteX4186" fmla="*/ 706176 w 6886183"/>
              <a:gd name="connsiteY4186" fmla="*/ 1934432 h 2705233"/>
              <a:gd name="connsiteX4187" fmla="*/ 719034 w 6886183"/>
              <a:gd name="connsiteY4187" fmla="*/ 1940719 h 2705233"/>
              <a:gd name="connsiteX4188" fmla="*/ 730941 w 6886183"/>
              <a:gd name="connsiteY4188" fmla="*/ 1946815 h 2705233"/>
              <a:gd name="connsiteX4189" fmla="*/ 749991 w 6886183"/>
              <a:gd name="connsiteY4189" fmla="*/ 1958435 h 2705233"/>
              <a:gd name="connsiteX4190" fmla="*/ 759516 w 6886183"/>
              <a:gd name="connsiteY4190" fmla="*/ 1973389 h 2705233"/>
              <a:gd name="connsiteX4191" fmla="*/ 749991 w 6886183"/>
              <a:gd name="connsiteY4191" fmla="*/ 1975009 h 2705233"/>
              <a:gd name="connsiteX4192" fmla="*/ 741704 w 6886183"/>
              <a:gd name="connsiteY4192" fmla="*/ 1974151 h 2705233"/>
              <a:gd name="connsiteX4193" fmla="*/ 731322 w 6886183"/>
              <a:gd name="connsiteY4193" fmla="*/ 1971961 h 2705233"/>
              <a:gd name="connsiteX4194" fmla="*/ 720083 w 6886183"/>
              <a:gd name="connsiteY4194" fmla="*/ 1968722 h 2705233"/>
              <a:gd name="connsiteX4195" fmla="*/ 707986 w 6886183"/>
              <a:gd name="connsiteY4195" fmla="*/ 1964626 h 2705233"/>
              <a:gd name="connsiteX4196" fmla="*/ 683030 w 6886183"/>
              <a:gd name="connsiteY4196" fmla="*/ 1954149 h 2705233"/>
              <a:gd name="connsiteX4197" fmla="*/ 659599 w 6886183"/>
              <a:gd name="connsiteY4197" fmla="*/ 1941766 h 2705233"/>
              <a:gd name="connsiteX4198" fmla="*/ 656932 w 6886183"/>
              <a:gd name="connsiteY4198" fmla="*/ 1940147 h 2705233"/>
              <a:gd name="connsiteX4199" fmla="*/ 654360 w 6886183"/>
              <a:gd name="connsiteY4199" fmla="*/ 1938528 h 2705233"/>
              <a:gd name="connsiteX4200" fmla="*/ 649407 w 6886183"/>
              <a:gd name="connsiteY4200" fmla="*/ 1935289 h 2705233"/>
              <a:gd name="connsiteX4201" fmla="*/ 640644 w 6886183"/>
              <a:gd name="connsiteY4201" fmla="*/ 1929003 h 2705233"/>
              <a:gd name="connsiteX4202" fmla="*/ 633500 w 6886183"/>
              <a:gd name="connsiteY4202" fmla="*/ 1922907 h 2705233"/>
              <a:gd name="connsiteX4203" fmla="*/ 628928 w 6886183"/>
              <a:gd name="connsiteY4203" fmla="*/ 1917763 h 2705233"/>
              <a:gd name="connsiteX4204" fmla="*/ 627881 w 6886183"/>
              <a:gd name="connsiteY4204" fmla="*/ 1911096 h 2705233"/>
              <a:gd name="connsiteX4205" fmla="*/ 636644 w 6886183"/>
              <a:gd name="connsiteY4205" fmla="*/ 1909762 h 2705233"/>
              <a:gd name="connsiteX4206" fmla="*/ 5135374 w 6886183"/>
              <a:gd name="connsiteY4206" fmla="*/ 1907476 h 2705233"/>
              <a:gd name="connsiteX4207" fmla="*/ 5144899 w 6886183"/>
              <a:gd name="connsiteY4207" fmla="*/ 1910143 h 2705233"/>
              <a:gd name="connsiteX4208" fmla="*/ 5134708 w 6886183"/>
              <a:gd name="connsiteY4208" fmla="*/ 1914334 h 2705233"/>
              <a:gd name="connsiteX4209" fmla="*/ 5121087 w 6886183"/>
              <a:gd name="connsiteY4209" fmla="*/ 1917858 h 2705233"/>
              <a:gd name="connsiteX4210" fmla="*/ 5110323 w 6886183"/>
              <a:gd name="connsiteY4210" fmla="*/ 1915763 h 2705233"/>
              <a:gd name="connsiteX4211" fmla="*/ 5120801 w 6886183"/>
              <a:gd name="connsiteY4211" fmla="*/ 1911191 h 2705233"/>
              <a:gd name="connsiteX4212" fmla="*/ 5128135 w 6886183"/>
              <a:gd name="connsiteY4212" fmla="*/ 1909000 h 2705233"/>
              <a:gd name="connsiteX4213" fmla="*/ 5135374 w 6886183"/>
              <a:gd name="connsiteY4213" fmla="*/ 1907476 h 2705233"/>
              <a:gd name="connsiteX4214" fmla="*/ 4744754 w 6886183"/>
              <a:gd name="connsiteY4214" fmla="*/ 1904810 h 2705233"/>
              <a:gd name="connsiteX4215" fmla="*/ 4749041 w 6886183"/>
              <a:gd name="connsiteY4215" fmla="*/ 1904810 h 2705233"/>
              <a:gd name="connsiteX4216" fmla="*/ 4752089 w 6886183"/>
              <a:gd name="connsiteY4216" fmla="*/ 1911287 h 2705233"/>
              <a:gd name="connsiteX4217" fmla="*/ 4733039 w 6886183"/>
              <a:gd name="connsiteY4217" fmla="*/ 1923288 h 2705233"/>
              <a:gd name="connsiteX4218" fmla="*/ 4704464 w 6886183"/>
              <a:gd name="connsiteY4218" fmla="*/ 1933861 h 2705233"/>
              <a:gd name="connsiteX4219" fmla="*/ 4690843 w 6886183"/>
              <a:gd name="connsiteY4219" fmla="*/ 1936718 h 2705233"/>
              <a:gd name="connsiteX4220" fmla="*/ 4680842 w 6886183"/>
              <a:gd name="connsiteY4220" fmla="*/ 1937290 h 2705233"/>
              <a:gd name="connsiteX4221" fmla="*/ 4676174 w 6886183"/>
              <a:gd name="connsiteY4221" fmla="*/ 1931765 h 2705233"/>
              <a:gd name="connsiteX4222" fmla="*/ 4683318 w 6886183"/>
              <a:gd name="connsiteY4222" fmla="*/ 1925765 h 2705233"/>
              <a:gd name="connsiteX4223" fmla="*/ 4688747 w 6886183"/>
              <a:gd name="connsiteY4223" fmla="*/ 1922431 h 2705233"/>
              <a:gd name="connsiteX4224" fmla="*/ 4695224 w 6886183"/>
              <a:gd name="connsiteY4224" fmla="*/ 1919097 h 2705233"/>
              <a:gd name="connsiteX4225" fmla="*/ 4725419 w 6886183"/>
              <a:gd name="connsiteY4225" fmla="*/ 1908048 h 2705233"/>
              <a:gd name="connsiteX4226" fmla="*/ 4739325 w 6886183"/>
              <a:gd name="connsiteY4226" fmla="*/ 1905286 h 2705233"/>
              <a:gd name="connsiteX4227" fmla="*/ 4744754 w 6886183"/>
              <a:gd name="connsiteY4227" fmla="*/ 1904810 h 2705233"/>
              <a:gd name="connsiteX4228" fmla="*/ 3651176 w 6886183"/>
              <a:gd name="connsiteY4228" fmla="*/ 1904774 h 2705233"/>
              <a:gd name="connsiteX4229" fmla="*/ 3677477 w 6886183"/>
              <a:gd name="connsiteY4229" fmla="*/ 1915001 h 2705233"/>
              <a:gd name="connsiteX4230" fmla="*/ 3606897 w 6886183"/>
              <a:gd name="connsiteY4230" fmla="*/ 1957292 h 2705233"/>
              <a:gd name="connsiteX4231" fmla="*/ 3523367 w 6886183"/>
              <a:gd name="connsiteY4231" fmla="*/ 1956149 h 2705233"/>
              <a:gd name="connsiteX4232" fmla="*/ 3593943 w 6886183"/>
              <a:gd name="connsiteY4232" fmla="*/ 1912906 h 2705233"/>
              <a:gd name="connsiteX4233" fmla="*/ 3651176 w 6886183"/>
              <a:gd name="connsiteY4233" fmla="*/ 1904774 h 2705233"/>
              <a:gd name="connsiteX4234" fmla="*/ 4378434 w 6886183"/>
              <a:gd name="connsiteY4234" fmla="*/ 1904226 h 2705233"/>
              <a:gd name="connsiteX4235" fmla="*/ 4391567 w 6886183"/>
              <a:gd name="connsiteY4235" fmla="*/ 1912334 h 2705233"/>
              <a:gd name="connsiteX4236" fmla="*/ 4318701 w 6886183"/>
              <a:gd name="connsiteY4236" fmla="*/ 1949481 h 2705233"/>
              <a:gd name="connsiteX4237" fmla="*/ 4260789 w 6886183"/>
              <a:gd name="connsiteY4237" fmla="*/ 1950434 h 2705233"/>
              <a:gd name="connsiteX4238" fmla="*/ 4333941 w 6886183"/>
              <a:gd name="connsiteY4238" fmla="*/ 1912334 h 2705233"/>
              <a:gd name="connsiteX4239" fmla="*/ 4378434 w 6886183"/>
              <a:gd name="connsiteY4239" fmla="*/ 1904226 h 2705233"/>
              <a:gd name="connsiteX4240" fmla="*/ 2727312 w 6886183"/>
              <a:gd name="connsiteY4240" fmla="*/ 1903476 h 2705233"/>
              <a:gd name="connsiteX4241" fmla="*/ 2767886 w 6886183"/>
              <a:gd name="connsiteY4241" fmla="*/ 1914239 h 2705233"/>
              <a:gd name="connsiteX4242" fmla="*/ 2722831 w 6886183"/>
              <a:gd name="connsiteY4242" fmla="*/ 1952339 h 2705233"/>
              <a:gd name="connsiteX4243" fmla="*/ 2692065 w 6886183"/>
              <a:gd name="connsiteY4243" fmla="*/ 1957387 h 2705233"/>
              <a:gd name="connsiteX4244" fmla="*/ 2663489 w 6886183"/>
              <a:gd name="connsiteY4244" fmla="*/ 1958340 h 2705233"/>
              <a:gd name="connsiteX4245" fmla="*/ 2622055 w 6886183"/>
              <a:gd name="connsiteY4245" fmla="*/ 1947672 h 2705233"/>
              <a:gd name="connsiteX4246" fmla="*/ 2621484 w 6886183"/>
              <a:gd name="connsiteY4246" fmla="*/ 1927479 h 2705233"/>
              <a:gd name="connsiteX4247" fmla="*/ 2638630 w 6886183"/>
              <a:gd name="connsiteY4247" fmla="*/ 1917954 h 2705233"/>
              <a:gd name="connsiteX4248" fmla="*/ 2665965 w 6886183"/>
              <a:gd name="connsiteY4248" fmla="*/ 1909476 h 2705233"/>
              <a:gd name="connsiteX4249" fmla="*/ 2727312 w 6886183"/>
              <a:gd name="connsiteY4249" fmla="*/ 1903476 h 2705233"/>
              <a:gd name="connsiteX4250" fmla="*/ 5013263 w 6886183"/>
              <a:gd name="connsiteY4250" fmla="*/ 1902047 h 2705233"/>
              <a:gd name="connsiteX4251" fmla="*/ 5026217 w 6886183"/>
              <a:gd name="connsiteY4251" fmla="*/ 1905762 h 2705233"/>
              <a:gd name="connsiteX4252" fmla="*/ 4993261 w 6886183"/>
              <a:gd name="connsiteY4252" fmla="*/ 1917668 h 2705233"/>
              <a:gd name="connsiteX4253" fmla="*/ 4978878 w 6886183"/>
              <a:gd name="connsiteY4253" fmla="*/ 1914525 h 2705233"/>
              <a:gd name="connsiteX4254" fmla="*/ 5013263 w 6886183"/>
              <a:gd name="connsiteY4254" fmla="*/ 1902047 h 2705233"/>
              <a:gd name="connsiteX4255" fmla="*/ 4896761 w 6886183"/>
              <a:gd name="connsiteY4255" fmla="*/ 1900070 h 2705233"/>
              <a:gd name="connsiteX4256" fmla="*/ 4898011 w 6886183"/>
              <a:gd name="connsiteY4256" fmla="*/ 1905380 h 2705233"/>
              <a:gd name="connsiteX4257" fmla="*/ 4882390 w 6886183"/>
              <a:gd name="connsiteY4257" fmla="*/ 1914239 h 2705233"/>
              <a:gd name="connsiteX4258" fmla="*/ 4858768 w 6886183"/>
              <a:gd name="connsiteY4258" fmla="*/ 1921954 h 2705233"/>
              <a:gd name="connsiteX4259" fmla="*/ 4837051 w 6886183"/>
              <a:gd name="connsiteY4259" fmla="*/ 1919668 h 2705233"/>
              <a:gd name="connsiteX4260" fmla="*/ 4852767 w 6886183"/>
              <a:gd name="connsiteY4260" fmla="*/ 1910143 h 2705233"/>
              <a:gd name="connsiteX4261" fmla="*/ 4864673 w 6886183"/>
              <a:gd name="connsiteY4261" fmla="*/ 1905571 h 2705233"/>
              <a:gd name="connsiteX4262" fmla="*/ 4877722 w 6886183"/>
              <a:gd name="connsiteY4262" fmla="*/ 1902047 h 2705233"/>
              <a:gd name="connsiteX4263" fmla="*/ 4896761 w 6886183"/>
              <a:gd name="connsiteY4263" fmla="*/ 1900070 h 2705233"/>
              <a:gd name="connsiteX4264" fmla="*/ 5215479 w 6886183"/>
              <a:gd name="connsiteY4264" fmla="*/ 1898808 h 2705233"/>
              <a:gd name="connsiteX4265" fmla="*/ 5222433 w 6886183"/>
              <a:gd name="connsiteY4265" fmla="*/ 1901285 h 2705233"/>
              <a:gd name="connsiteX4266" fmla="*/ 5200716 w 6886183"/>
              <a:gd name="connsiteY4266" fmla="*/ 1907571 h 2705233"/>
              <a:gd name="connsiteX4267" fmla="*/ 5193762 w 6886183"/>
              <a:gd name="connsiteY4267" fmla="*/ 1905000 h 2705233"/>
              <a:gd name="connsiteX4268" fmla="*/ 5215479 w 6886183"/>
              <a:gd name="connsiteY4268" fmla="*/ 1898808 h 2705233"/>
              <a:gd name="connsiteX4269" fmla="*/ 4270695 w 6886183"/>
              <a:gd name="connsiteY4269" fmla="*/ 1892963 h 2705233"/>
              <a:gd name="connsiteX4270" fmla="*/ 4284316 w 6886183"/>
              <a:gd name="connsiteY4270" fmla="*/ 1902809 h 2705233"/>
              <a:gd name="connsiteX4271" fmla="*/ 4207163 w 6886183"/>
              <a:gd name="connsiteY4271" fmla="*/ 1942338 h 2705233"/>
              <a:gd name="connsiteX4272" fmla="*/ 4146394 w 6886183"/>
              <a:gd name="connsiteY4272" fmla="*/ 1941576 h 2705233"/>
              <a:gd name="connsiteX4273" fmla="*/ 4223070 w 6886183"/>
              <a:gd name="connsiteY4273" fmla="*/ 1901190 h 2705233"/>
              <a:gd name="connsiteX4274" fmla="*/ 4270695 w 6886183"/>
              <a:gd name="connsiteY4274" fmla="*/ 1892963 h 2705233"/>
              <a:gd name="connsiteX4275" fmla="*/ 3456736 w 6886183"/>
              <a:gd name="connsiteY4275" fmla="*/ 1892033 h 2705233"/>
              <a:gd name="connsiteX4276" fmla="*/ 3486793 w 6886183"/>
              <a:gd name="connsiteY4276" fmla="*/ 1902618 h 2705233"/>
              <a:gd name="connsiteX4277" fmla="*/ 3423469 w 6886183"/>
              <a:gd name="connsiteY4277" fmla="*/ 1943957 h 2705233"/>
              <a:gd name="connsiteX4278" fmla="*/ 3334052 w 6886183"/>
              <a:gd name="connsiteY4278" fmla="*/ 1942623 h 2705233"/>
              <a:gd name="connsiteX4279" fmla="*/ 3396900 w 6886183"/>
              <a:gd name="connsiteY4279" fmla="*/ 1900523 h 2705233"/>
              <a:gd name="connsiteX4280" fmla="*/ 3456736 w 6886183"/>
              <a:gd name="connsiteY4280" fmla="*/ 1892033 h 2705233"/>
              <a:gd name="connsiteX4281" fmla="*/ 5297585 w 6886183"/>
              <a:gd name="connsiteY4281" fmla="*/ 1890902 h 2705233"/>
              <a:gd name="connsiteX4282" fmla="*/ 5303681 w 6886183"/>
              <a:gd name="connsiteY4282" fmla="*/ 1892617 h 2705233"/>
              <a:gd name="connsiteX4283" fmla="*/ 5287107 w 6886183"/>
              <a:gd name="connsiteY4283" fmla="*/ 1897189 h 2705233"/>
              <a:gd name="connsiteX4284" fmla="*/ 5280440 w 6886183"/>
              <a:gd name="connsiteY4284" fmla="*/ 1895474 h 2705233"/>
              <a:gd name="connsiteX4285" fmla="*/ 5297585 w 6886183"/>
              <a:gd name="connsiteY4285" fmla="*/ 1890902 h 2705233"/>
              <a:gd name="connsiteX4286" fmla="*/ 4684591 w 6886183"/>
              <a:gd name="connsiteY4286" fmla="*/ 1890534 h 2705233"/>
              <a:gd name="connsiteX4287" fmla="*/ 4688556 w 6886183"/>
              <a:gd name="connsiteY4287" fmla="*/ 1898047 h 2705233"/>
              <a:gd name="connsiteX4288" fmla="*/ 4681222 w 6886183"/>
              <a:gd name="connsiteY4288" fmla="*/ 1904524 h 2705233"/>
              <a:gd name="connsiteX4289" fmla="*/ 4669506 w 6886183"/>
              <a:gd name="connsiteY4289" fmla="*/ 1911382 h 2705233"/>
              <a:gd name="connsiteX4290" fmla="*/ 4637788 w 6886183"/>
              <a:gd name="connsiteY4290" fmla="*/ 1924050 h 2705233"/>
              <a:gd name="connsiteX4291" fmla="*/ 4629310 w 6886183"/>
              <a:gd name="connsiteY4291" fmla="*/ 1926336 h 2705233"/>
              <a:gd name="connsiteX4292" fmla="*/ 4625119 w 6886183"/>
              <a:gd name="connsiteY4292" fmla="*/ 1927289 h 2705233"/>
              <a:gd name="connsiteX4293" fmla="*/ 4620738 w 6886183"/>
              <a:gd name="connsiteY4293" fmla="*/ 1928146 h 2705233"/>
              <a:gd name="connsiteX4294" fmla="*/ 4607022 w 6886183"/>
              <a:gd name="connsiteY4294" fmla="*/ 1929765 h 2705233"/>
              <a:gd name="connsiteX4295" fmla="*/ 4600831 w 6886183"/>
              <a:gd name="connsiteY4295" fmla="*/ 1922907 h 2705233"/>
              <a:gd name="connsiteX4296" fmla="*/ 4609403 w 6886183"/>
              <a:gd name="connsiteY4296" fmla="*/ 1915668 h 2705233"/>
              <a:gd name="connsiteX4297" fmla="*/ 4616071 w 6886183"/>
              <a:gd name="connsiteY4297" fmla="*/ 1911668 h 2705233"/>
              <a:gd name="connsiteX4298" fmla="*/ 4619881 w 6886183"/>
              <a:gd name="connsiteY4298" fmla="*/ 1909667 h 2705233"/>
              <a:gd name="connsiteX4299" fmla="*/ 4621881 w 6886183"/>
              <a:gd name="connsiteY4299" fmla="*/ 1908620 h 2705233"/>
              <a:gd name="connsiteX4300" fmla="*/ 4623595 w 6886183"/>
              <a:gd name="connsiteY4300" fmla="*/ 1907762 h 2705233"/>
              <a:gd name="connsiteX4301" fmla="*/ 4657123 w 6886183"/>
              <a:gd name="connsiteY4301" fmla="*/ 1894808 h 2705233"/>
              <a:gd name="connsiteX4302" fmla="*/ 4684591 w 6886183"/>
              <a:gd name="connsiteY4302" fmla="*/ 1890534 h 2705233"/>
              <a:gd name="connsiteX4303" fmla="*/ 5101751 w 6886183"/>
              <a:gd name="connsiteY4303" fmla="*/ 1889664 h 2705233"/>
              <a:gd name="connsiteX4304" fmla="*/ 5112038 w 6886183"/>
              <a:gd name="connsiteY4304" fmla="*/ 1893379 h 2705233"/>
              <a:gd name="connsiteX4305" fmla="*/ 5081367 w 6886183"/>
              <a:gd name="connsiteY4305" fmla="*/ 1903380 h 2705233"/>
              <a:gd name="connsiteX4306" fmla="*/ 5069747 w 6886183"/>
              <a:gd name="connsiteY4306" fmla="*/ 1900237 h 2705233"/>
              <a:gd name="connsiteX4307" fmla="*/ 5075271 w 6886183"/>
              <a:gd name="connsiteY4307" fmla="*/ 1897189 h 2705233"/>
              <a:gd name="connsiteX4308" fmla="*/ 5079176 w 6886183"/>
              <a:gd name="connsiteY4308" fmla="*/ 1895570 h 2705233"/>
              <a:gd name="connsiteX4309" fmla="*/ 5083463 w 6886183"/>
              <a:gd name="connsiteY4309" fmla="*/ 1894141 h 2705233"/>
              <a:gd name="connsiteX4310" fmla="*/ 5101751 w 6886183"/>
              <a:gd name="connsiteY4310" fmla="*/ 1889664 h 2705233"/>
              <a:gd name="connsiteX4311" fmla="*/ 4985499 w 6886183"/>
              <a:gd name="connsiteY4311" fmla="*/ 1884652 h 2705233"/>
              <a:gd name="connsiteX4312" fmla="*/ 4985832 w 6886183"/>
              <a:gd name="connsiteY4312" fmla="*/ 1889569 h 2705233"/>
              <a:gd name="connsiteX4313" fmla="*/ 4970306 w 6886183"/>
              <a:gd name="connsiteY4313" fmla="*/ 1897665 h 2705233"/>
              <a:gd name="connsiteX4314" fmla="*/ 4947065 w 6886183"/>
              <a:gd name="connsiteY4314" fmla="*/ 1904428 h 2705233"/>
              <a:gd name="connsiteX4315" fmla="*/ 4930682 w 6886183"/>
              <a:gd name="connsiteY4315" fmla="*/ 1900809 h 2705233"/>
              <a:gd name="connsiteX4316" fmla="*/ 4968592 w 6886183"/>
              <a:gd name="connsiteY4316" fmla="*/ 1885950 h 2705233"/>
              <a:gd name="connsiteX4317" fmla="*/ 4985499 w 6886183"/>
              <a:gd name="connsiteY4317" fmla="*/ 1884652 h 2705233"/>
              <a:gd name="connsiteX4318" fmla="*/ 4844373 w 6886183"/>
              <a:gd name="connsiteY4318" fmla="*/ 1883509 h 2705233"/>
              <a:gd name="connsiteX4319" fmla="*/ 4847052 w 6886183"/>
              <a:gd name="connsiteY4319" fmla="*/ 1889284 h 2705233"/>
              <a:gd name="connsiteX4320" fmla="*/ 4829050 w 6886183"/>
              <a:gd name="connsiteY4320" fmla="*/ 1900238 h 2705233"/>
              <a:gd name="connsiteX4321" fmla="*/ 4815524 w 6886183"/>
              <a:gd name="connsiteY4321" fmla="*/ 1905476 h 2705233"/>
              <a:gd name="connsiteX4322" fmla="*/ 4800951 w 6886183"/>
              <a:gd name="connsiteY4322" fmla="*/ 1909763 h 2705233"/>
              <a:gd name="connsiteX4323" fmla="*/ 4775995 w 6886183"/>
              <a:gd name="connsiteY4323" fmla="*/ 1907191 h 2705233"/>
              <a:gd name="connsiteX4324" fmla="*/ 4822477 w 6886183"/>
              <a:gd name="connsiteY4324" fmla="*/ 1885950 h 2705233"/>
              <a:gd name="connsiteX4325" fmla="*/ 4844373 w 6886183"/>
              <a:gd name="connsiteY4325" fmla="*/ 1883509 h 2705233"/>
              <a:gd name="connsiteX4326" fmla="*/ 4141369 w 6886183"/>
              <a:gd name="connsiteY4326" fmla="*/ 1882723 h 2705233"/>
              <a:gd name="connsiteX4327" fmla="*/ 4159728 w 6886183"/>
              <a:gd name="connsiteY4327" fmla="*/ 1892045 h 2705233"/>
              <a:gd name="connsiteX4328" fmla="*/ 4083528 w 6886183"/>
              <a:gd name="connsiteY4328" fmla="*/ 1933860 h 2705233"/>
              <a:gd name="connsiteX4329" fmla="*/ 4013805 w 6886183"/>
              <a:gd name="connsiteY4329" fmla="*/ 1934241 h 2705233"/>
              <a:gd name="connsiteX4330" fmla="*/ 4090005 w 6886183"/>
              <a:gd name="connsiteY4330" fmla="*/ 1891474 h 2705233"/>
              <a:gd name="connsiteX4331" fmla="*/ 4141369 w 6886183"/>
              <a:gd name="connsiteY4331" fmla="*/ 1882723 h 2705233"/>
              <a:gd name="connsiteX4332" fmla="*/ 5186237 w 6886183"/>
              <a:gd name="connsiteY4332" fmla="*/ 1878997 h 2705233"/>
              <a:gd name="connsiteX4333" fmla="*/ 5194429 w 6886183"/>
              <a:gd name="connsiteY4333" fmla="*/ 1882712 h 2705233"/>
              <a:gd name="connsiteX4334" fmla="*/ 5182237 w 6886183"/>
              <a:gd name="connsiteY4334" fmla="*/ 1887284 h 2705233"/>
              <a:gd name="connsiteX4335" fmla="*/ 5174617 w 6886183"/>
              <a:gd name="connsiteY4335" fmla="*/ 1889188 h 2705233"/>
              <a:gd name="connsiteX4336" fmla="*/ 5167378 w 6886183"/>
              <a:gd name="connsiteY4336" fmla="*/ 1890617 h 2705233"/>
              <a:gd name="connsiteX4337" fmla="*/ 5158996 w 6886183"/>
              <a:gd name="connsiteY4337" fmla="*/ 1887093 h 2705233"/>
              <a:gd name="connsiteX4338" fmla="*/ 5171188 w 6886183"/>
              <a:gd name="connsiteY4338" fmla="*/ 1882235 h 2705233"/>
              <a:gd name="connsiteX4339" fmla="*/ 5178903 w 6886183"/>
              <a:gd name="connsiteY4339" fmla="*/ 1880235 h 2705233"/>
              <a:gd name="connsiteX4340" fmla="*/ 5186237 w 6886183"/>
              <a:gd name="connsiteY4340" fmla="*/ 1878997 h 2705233"/>
              <a:gd name="connsiteX4341" fmla="*/ 1369123 w 6886183"/>
              <a:gd name="connsiteY4341" fmla="*/ 1878044 h 2705233"/>
              <a:gd name="connsiteX4342" fmla="*/ 1397698 w 6886183"/>
              <a:gd name="connsiteY4342" fmla="*/ 1878044 h 2705233"/>
              <a:gd name="connsiteX4343" fmla="*/ 1426940 w 6886183"/>
              <a:gd name="connsiteY4343" fmla="*/ 1881854 h 2705233"/>
              <a:gd name="connsiteX4344" fmla="*/ 1453800 w 6886183"/>
              <a:gd name="connsiteY4344" fmla="*/ 1888617 h 2705233"/>
              <a:gd name="connsiteX4345" fmla="*/ 1475231 w 6886183"/>
              <a:gd name="connsiteY4345" fmla="*/ 1898142 h 2705233"/>
              <a:gd name="connsiteX4346" fmla="*/ 1484756 w 6886183"/>
              <a:gd name="connsiteY4346" fmla="*/ 1914811 h 2705233"/>
              <a:gd name="connsiteX4347" fmla="*/ 1473803 w 6886183"/>
              <a:gd name="connsiteY4347" fmla="*/ 1920811 h 2705233"/>
              <a:gd name="connsiteX4348" fmla="*/ 1453419 w 6886183"/>
              <a:gd name="connsiteY4348" fmla="*/ 1924050 h 2705233"/>
              <a:gd name="connsiteX4349" fmla="*/ 1399317 w 6886183"/>
              <a:gd name="connsiteY4349" fmla="*/ 1920430 h 2705233"/>
              <a:gd name="connsiteX4350" fmla="*/ 1352645 w 6886183"/>
              <a:gd name="connsiteY4350" fmla="*/ 1905095 h 2705233"/>
              <a:gd name="connsiteX4351" fmla="*/ 1339215 w 6886183"/>
              <a:gd name="connsiteY4351" fmla="*/ 1887283 h 2705233"/>
              <a:gd name="connsiteX4352" fmla="*/ 1348740 w 6886183"/>
              <a:gd name="connsiteY4352" fmla="*/ 1881282 h 2705233"/>
              <a:gd name="connsiteX4353" fmla="*/ 1369123 w 6886183"/>
              <a:gd name="connsiteY4353" fmla="*/ 1878044 h 2705233"/>
              <a:gd name="connsiteX4354" fmla="*/ 4610928 w 6886183"/>
              <a:gd name="connsiteY4354" fmla="*/ 1877568 h 2705233"/>
              <a:gd name="connsiteX4355" fmla="*/ 4612356 w 6886183"/>
              <a:gd name="connsiteY4355" fmla="*/ 1877568 h 2705233"/>
              <a:gd name="connsiteX4356" fmla="*/ 4613595 w 6886183"/>
              <a:gd name="connsiteY4356" fmla="*/ 1877568 h 2705233"/>
              <a:gd name="connsiteX4357" fmla="*/ 4615595 w 6886183"/>
              <a:gd name="connsiteY4357" fmla="*/ 1878044 h 2705233"/>
              <a:gd name="connsiteX4358" fmla="*/ 4618357 w 6886183"/>
              <a:gd name="connsiteY4358" fmla="*/ 1879664 h 2705233"/>
              <a:gd name="connsiteX4359" fmla="*/ 4618357 w 6886183"/>
              <a:gd name="connsiteY4359" fmla="*/ 1884997 h 2705233"/>
              <a:gd name="connsiteX4360" fmla="*/ 4617119 w 6886183"/>
              <a:gd name="connsiteY4360" fmla="*/ 1886807 h 2705233"/>
              <a:gd name="connsiteX4361" fmla="*/ 4616357 w 6886183"/>
              <a:gd name="connsiteY4361" fmla="*/ 1887664 h 2705233"/>
              <a:gd name="connsiteX4362" fmla="*/ 4615309 w 6886183"/>
              <a:gd name="connsiteY4362" fmla="*/ 1888617 h 2705233"/>
              <a:gd name="connsiteX4363" fmla="*/ 4609594 w 6886183"/>
              <a:gd name="connsiteY4363" fmla="*/ 1892808 h 2705233"/>
              <a:gd name="connsiteX4364" fmla="*/ 4593402 w 6886183"/>
              <a:gd name="connsiteY4364" fmla="*/ 1901857 h 2705233"/>
              <a:gd name="connsiteX4365" fmla="*/ 4550158 w 6886183"/>
              <a:gd name="connsiteY4365" fmla="*/ 1918526 h 2705233"/>
              <a:gd name="connsiteX4366" fmla="*/ 4505295 w 6886183"/>
              <a:gd name="connsiteY4366" fmla="*/ 1918526 h 2705233"/>
              <a:gd name="connsiteX4367" fmla="*/ 4573685 w 6886183"/>
              <a:gd name="connsiteY4367" fmla="*/ 1884426 h 2705233"/>
              <a:gd name="connsiteX4368" fmla="*/ 4610928 w 6886183"/>
              <a:gd name="connsiteY4368" fmla="*/ 1877568 h 2705233"/>
              <a:gd name="connsiteX4369" fmla="*/ 3227080 w 6886183"/>
              <a:gd name="connsiteY4369" fmla="*/ 1875579 h 2705233"/>
              <a:gd name="connsiteX4370" fmla="*/ 3260334 w 6886183"/>
              <a:gd name="connsiteY4370" fmla="*/ 1886140 h 2705233"/>
              <a:gd name="connsiteX4371" fmla="*/ 3202421 w 6886183"/>
              <a:gd name="connsiteY4371" fmla="*/ 1927669 h 2705233"/>
              <a:gd name="connsiteX4372" fmla="*/ 3143555 w 6886183"/>
              <a:gd name="connsiteY4372" fmla="*/ 1935289 h 2705233"/>
              <a:gd name="connsiteX4373" fmla="*/ 3108886 w 6886183"/>
              <a:gd name="connsiteY4373" fmla="*/ 1925097 h 2705233"/>
              <a:gd name="connsiteX4374" fmla="*/ 3168321 w 6886183"/>
              <a:gd name="connsiteY4374" fmla="*/ 1882806 h 2705233"/>
              <a:gd name="connsiteX4375" fmla="*/ 3227080 w 6886183"/>
              <a:gd name="connsiteY4375" fmla="*/ 1875579 h 2705233"/>
              <a:gd name="connsiteX4376" fmla="*/ 3997887 w 6886183"/>
              <a:gd name="connsiteY4376" fmla="*/ 1873353 h 2705233"/>
              <a:gd name="connsiteX4377" fmla="*/ 4017711 w 6886183"/>
              <a:gd name="connsiteY4377" fmla="*/ 1883759 h 2705233"/>
              <a:gd name="connsiteX4378" fmla="*/ 3939511 w 6886183"/>
              <a:gd name="connsiteY4378" fmla="*/ 1927003 h 2705233"/>
              <a:gd name="connsiteX4379" fmla="*/ 3866644 w 6886183"/>
              <a:gd name="connsiteY4379" fmla="*/ 1925860 h 2705233"/>
              <a:gd name="connsiteX4380" fmla="*/ 3943987 w 6886183"/>
              <a:gd name="connsiteY4380" fmla="*/ 1881378 h 2705233"/>
              <a:gd name="connsiteX4381" fmla="*/ 3997887 w 6886183"/>
              <a:gd name="connsiteY4381" fmla="*/ 1873353 h 2705233"/>
              <a:gd name="connsiteX4382" fmla="*/ 2398320 w 6886183"/>
              <a:gd name="connsiteY4382" fmla="*/ 1872699 h 2705233"/>
              <a:gd name="connsiteX4383" fmla="*/ 2440121 w 6886183"/>
              <a:gd name="connsiteY4383" fmla="*/ 1884998 h 2705233"/>
              <a:gd name="connsiteX4384" fmla="*/ 2399545 w 6886183"/>
              <a:gd name="connsiteY4384" fmla="*/ 1920907 h 2705233"/>
              <a:gd name="connsiteX4385" fmla="*/ 2296484 w 6886183"/>
              <a:gd name="connsiteY4385" fmla="*/ 1912144 h 2705233"/>
              <a:gd name="connsiteX4386" fmla="*/ 2294674 w 6886183"/>
              <a:gd name="connsiteY4386" fmla="*/ 1891856 h 2705233"/>
              <a:gd name="connsiteX4387" fmla="*/ 2339156 w 6886183"/>
              <a:gd name="connsiteY4387" fmla="*/ 1875473 h 2705233"/>
              <a:gd name="connsiteX4388" fmla="*/ 2398320 w 6886183"/>
              <a:gd name="connsiteY4388" fmla="*/ 1872699 h 2705233"/>
              <a:gd name="connsiteX4389" fmla="*/ 5267486 w 6886183"/>
              <a:gd name="connsiteY4389" fmla="*/ 1871662 h 2705233"/>
              <a:gd name="connsiteX4390" fmla="*/ 5272820 w 6886183"/>
              <a:gd name="connsiteY4390" fmla="*/ 1871662 h 2705233"/>
              <a:gd name="connsiteX4391" fmla="*/ 5276058 w 6886183"/>
              <a:gd name="connsiteY4391" fmla="*/ 1872233 h 2705233"/>
              <a:gd name="connsiteX4392" fmla="*/ 5275106 w 6886183"/>
              <a:gd name="connsiteY4392" fmla="*/ 1874900 h 2705233"/>
              <a:gd name="connsiteX4393" fmla="*/ 5252531 w 6886183"/>
              <a:gd name="connsiteY4393" fmla="*/ 1881187 h 2705233"/>
              <a:gd name="connsiteX4394" fmla="*/ 5244912 w 6886183"/>
              <a:gd name="connsiteY4394" fmla="*/ 1877948 h 2705233"/>
              <a:gd name="connsiteX4395" fmla="*/ 5267486 w 6886183"/>
              <a:gd name="connsiteY4395" fmla="*/ 1871662 h 2705233"/>
              <a:gd name="connsiteX4396" fmla="*/ 5060507 w 6886183"/>
              <a:gd name="connsiteY4396" fmla="*/ 1870615 h 2705233"/>
              <a:gd name="connsiteX4397" fmla="*/ 5074985 w 6886183"/>
              <a:gd name="connsiteY4397" fmla="*/ 1870615 h 2705233"/>
              <a:gd name="connsiteX4398" fmla="*/ 5073747 w 6886183"/>
              <a:gd name="connsiteY4398" fmla="*/ 1875663 h 2705233"/>
              <a:gd name="connsiteX4399" fmla="*/ 5036599 w 6886183"/>
              <a:gd name="connsiteY4399" fmla="*/ 1887760 h 2705233"/>
              <a:gd name="connsiteX4400" fmla="*/ 5023645 w 6886183"/>
              <a:gd name="connsiteY4400" fmla="*/ 1883378 h 2705233"/>
              <a:gd name="connsiteX4401" fmla="*/ 5060507 w 6886183"/>
              <a:gd name="connsiteY4401" fmla="*/ 1870615 h 2705233"/>
              <a:gd name="connsiteX4402" fmla="*/ 1061652 w 6886183"/>
              <a:gd name="connsiteY4402" fmla="*/ 1870234 h 2705233"/>
              <a:gd name="connsiteX4403" fmla="*/ 1085845 w 6886183"/>
              <a:gd name="connsiteY4403" fmla="*/ 1872519 h 2705233"/>
              <a:gd name="connsiteX4404" fmla="*/ 1092799 w 6886183"/>
              <a:gd name="connsiteY4404" fmla="*/ 1873758 h 2705233"/>
              <a:gd name="connsiteX4405" fmla="*/ 1100037 w 6886183"/>
              <a:gd name="connsiteY4405" fmla="*/ 1875091 h 2705233"/>
              <a:gd name="connsiteX4406" fmla="*/ 1114611 w 6886183"/>
              <a:gd name="connsiteY4406" fmla="*/ 1878425 h 2705233"/>
              <a:gd name="connsiteX4407" fmla="*/ 1143186 w 6886183"/>
              <a:gd name="connsiteY4407" fmla="*/ 1886617 h 2705233"/>
              <a:gd name="connsiteX4408" fmla="*/ 1165951 w 6886183"/>
              <a:gd name="connsiteY4408" fmla="*/ 1896142 h 2705233"/>
              <a:gd name="connsiteX4409" fmla="*/ 1154616 w 6886183"/>
              <a:gd name="connsiteY4409" fmla="*/ 1921478 h 2705233"/>
              <a:gd name="connsiteX4410" fmla="*/ 1129851 w 6886183"/>
              <a:gd name="connsiteY4410" fmla="*/ 1919478 h 2705233"/>
              <a:gd name="connsiteX4411" fmla="*/ 1115659 w 6886183"/>
              <a:gd name="connsiteY4411" fmla="*/ 1916906 h 2705233"/>
              <a:gd name="connsiteX4412" fmla="*/ 1101180 w 6886183"/>
              <a:gd name="connsiteY4412" fmla="*/ 1913572 h 2705233"/>
              <a:gd name="connsiteX4413" fmla="*/ 1073558 w 6886183"/>
              <a:gd name="connsiteY4413" fmla="*/ 1905000 h 2705233"/>
              <a:gd name="connsiteX4414" fmla="*/ 1061652 w 6886183"/>
              <a:gd name="connsiteY4414" fmla="*/ 1900142 h 2705233"/>
              <a:gd name="connsiteX4415" fmla="*/ 1052127 w 6886183"/>
              <a:gd name="connsiteY4415" fmla="*/ 1895094 h 2705233"/>
              <a:gd name="connsiteX4416" fmla="*/ 1061652 w 6886183"/>
              <a:gd name="connsiteY4416" fmla="*/ 1870234 h 2705233"/>
              <a:gd name="connsiteX4417" fmla="*/ 4784854 w 6886183"/>
              <a:gd name="connsiteY4417" fmla="*/ 1867792 h 2705233"/>
              <a:gd name="connsiteX4418" fmla="*/ 4788569 w 6886183"/>
              <a:gd name="connsiteY4418" fmla="*/ 1874710 h 2705233"/>
              <a:gd name="connsiteX4419" fmla="*/ 4768662 w 6886183"/>
              <a:gd name="connsiteY4419" fmla="*/ 1887283 h 2705233"/>
              <a:gd name="connsiteX4420" fmla="*/ 4753898 w 6886183"/>
              <a:gd name="connsiteY4420" fmla="*/ 1893284 h 2705233"/>
              <a:gd name="connsiteX4421" fmla="*/ 4738372 w 6886183"/>
              <a:gd name="connsiteY4421" fmla="*/ 1898237 h 2705233"/>
              <a:gd name="connsiteX4422" fmla="*/ 4708273 w 6886183"/>
              <a:gd name="connsiteY4422" fmla="*/ 1895475 h 2705233"/>
              <a:gd name="connsiteX4423" fmla="*/ 4759994 w 6886183"/>
              <a:gd name="connsiteY4423" fmla="*/ 1870519 h 2705233"/>
              <a:gd name="connsiteX4424" fmla="*/ 4784854 w 6886183"/>
              <a:gd name="connsiteY4424" fmla="*/ 1867792 h 2705233"/>
              <a:gd name="connsiteX4425" fmla="*/ 4938111 w 6886183"/>
              <a:gd name="connsiteY4425" fmla="*/ 1866221 h 2705233"/>
              <a:gd name="connsiteX4426" fmla="*/ 4939254 w 6886183"/>
              <a:gd name="connsiteY4426" fmla="*/ 1872043 h 2705233"/>
              <a:gd name="connsiteX4427" fmla="*/ 4896487 w 6886183"/>
              <a:gd name="connsiteY4427" fmla="*/ 1889665 h 2705233"/>
              <a:gd name="connsiteX4428" fmla="*/ 4874675 w 6886183"/>
              <a:gd name="connsiteY4428" fmla="*/ 1885950 h 2705233"/>
              <a:gd name="connsiteX4429" fmla="*/ 4891439 w 6886183"/>
              <a:gd name="connsiteY4429" fmla="*/ 1876425 h 2705233"/>
              <a:gd name="connsiteX4430" fmla="*/ 4904012 w 6886183"/>
              <a:gd name="connsiteY4430" fmla="*/ 1871758 h 2705233"/>
              <a:gd name="connsiteX4431" fmla="*/ 4910775 w 6886183"/>
              <a:gd name="connsiteY4431" fmla="*/ 1869757 h 2705233"/>
              <a:gd name="connsiteX4432" fmla="*/ 4917823 w 6886183"/>
              <a:gd name="connsiteY4432" fmla="*/ 1868043 h 2705233"/>
              <a:gd name="connsiteX4433" fmla="*/ 4938111 w 6886183"/>
              <a:gd name="connsiteY4433" fmla="*/ 1866221 h 2705233"/>
              <a:gd name="connsiteX4434" fmla="*/ 5350354 w 6886183"/>
              <a:gd name="connsiteY4434" fmla="*/ 1865566 h 2705233"/>
              <a:gd name="connsiteX4435" fmla="*/ 5355592 w 6886183"/>
              <a:gd name="connsiteY4435" fmla="*/ 1867947 h 2705233"/>
              <a:gd name="connsiteX4436" fmla="*/ 5335876 w 6886183"/>
              <a:gd name="connsiteY4436" fmla="*/ 1872615 h 2705233"/>
              <a:gd name="connsiteX4437" fmla="*/ 5331875 w 6886183"/>
              <a:gd name="connsiteY4437" fmla="*/ 1869948 h 2705233"/>
              <a:gd name="connsiteX4438" fmla="*/ 5350354 w 6886183"/>
              <a:gd name="connsiteY4438" fmla="*/ 1865566 h 2705233"/>
              <a:gd name="connsiteX4439" fmla="*/ 4522440 w 6886183"/>
              <a:gd name="connsiteY4439" fmla="*/ 1865340 h 2705233"/>
              <a:gd name="connsiteX4440" fmla="*/ 4530822 w 6886183"/>
              <a:gd name="connsiteY4440" fmla="*/ 1874043 h 2705233"/>
              <a:gd name="connsiteX4441" fmla="*/ 4458623 w 6886183"/>
              <a:gd name="connsiteY4441" fmla="*/ 1910143 h 2705233"/>
              <a:gd name="connsiteX4442" fmla="*/ 4408712 w 6886183"/>
              <a:gd name="connsiteY4442" fmla="*/ 1909572 h 2705233"/>
              <a:gd name="connsiteX4443" fmla="*/ 4481483 w 6886183"/>
              <a:gd name="connsiteY4443" fmla="*/ 1872710 h 2705233"/>
              <a:gd name="connsiteX4444" fmla="*/ 4522440 w 6886183"/>
              <a:gd name="connsiteY4444" fmla="*/ 1865340 h 2705233"/>
              <a:gd name="connsiteX4445" fmla="*/ 3839367 w 6886183"/>
              <a:gd name="connsiteY4445" fmla="*/ 1858911 h 2705233"/>
              <a:gd name="connsiteX4446" fmla="*/ 3862549 w 6886183"/>
              <a:gd name="connsiteY4446" fmla="*/ 1869662 h 2705233"/>
              <a:gd name="connsiteX4447" fmla="*/ 3788825 w 6886183"/>
              <a:gd name="connsiteY4447" fmla="*/ 1913191 h 2705233"/>
              <a:gd name="connsiteX4448" fmla="*/ 3710149 w 6886183"/>
              <a:gd name="connsiteY4448" fmla="*/ 1911572 h 2705233"/>
              <a:gd name="connsiteX4449" fmla="*/ 3783967 w 6886183"/>
              <a:gd name="connsiteY4449" fmla="*/ 1867090 h 2705233"/>
              <a:gd name="connsiteX4450" fmla="*/ 3839367 w 6886183"/>
              <a:gd name="connsiteY4450" fmla="*/ 1858911 h 2705233"/>
              <a:gd name="connsiteX4451" fmla="*/ 5150900 w 6886183"/>
              <a:gd name="connsiteY4451" fmla="*/ 1858327 h 2705233"/>
              <a:gd name="connsiteX4452" fmla="*/ 5161187 w 6886183"/>
              <a:gd name="connsiteY4452" fmla="*/ 1862709 h 2705233"/>
              <a:gd name="connsiteX4453" fmla="*/ 5126992 w 6886183"/>
              <a:gd name="connsiteY4453" fmla="*/ 1873186 h 2705233"/>
              <a:gd name="connsiteX4454" fmla="*/ 5116610 w 6886183"/>
              <a:gd name="connsiteY4454" fmla="*/ 1869091 h 2705233"/>
              <a:gd name="connsiteX4455" fmla="*/ 5150900 w 6886183"/>
              <a:gd name="connsiteY4455" fmla="*/ 1858327 h 2705233"/>
              <a:gd name="connsiteX4456" fmla="*/ 2964534 w 6886183"/>
              <a:gd name="connsiteY4456" fmla="*/ 1856708 h 2705233"/>
              <a:gd name="connsiteX4457" fmla="*/ 3003157 w 6886183"/>
              <a:gd name="connsiteY4457" fmla="*/ 1868423 h 2705233"/>
              <a:gd name="connsiteX4458" fmla="*/ 2993630 w 6886183"/>
              <a:gd name="connsiteY4458" fmla="*/ 1890045 h 2705233"/>
              <a:gd name="connsiteX4459" fmla="*/ 2947722 w 6886183"/>
              <a:gd name="connsiteY4459" fmla="*/ 1909095 h 2705233"/>
              <a:gd name="connsiteX4460" fmla="*/ 2850279 w 6886183"/>
              <a:gd name="connsiteY4460" fmla="*/ 1904332 h 2705233"/>
              <a:gd name="connsiteX4461" fmla="*/ 2855708 w 6886183"/>
              <a:gd name="connsiteY4461" fmla="*/ 1882711 h 2705233"/>
              <a:gd name="connsiteX4462" fmla="*/ 2901905 w 6886183"/>
              <a:gd name="connsiteY4462" fmla="*/ 1862708 h 2705233"/>
              <a:gd name="connsiteX4463" fmla="*/ 2964534 w 6886183"/>
              <a:gd name="connsiteY4463" fmla="*/ 1856708 h 2705233"/>
              <a:gd name="connsiteX4464" fmla="*/ 1698405 w 6886183"/>
              <a:gd name="connsiteY4464" fmla="*/ 1855375 h 2705233"/>
              <a:gd name="connsiteX4465" fmla="*/ 1730218 w 6886183"/>
              <a:gd name="connsiteY4465" fmla="*/ 1858423 h 2705233"/>
              <a:gd name="connsiteX4466" fmla="*/ 1779367 w 6886183"/>
              <a:gd name="connsiteY4466" fmla="*/ 1873091 h 2705233"/>
              <a:gd name="connsiteX4467" fmla="*/ 1750221 w 6886183"/>
              <a:gd name="connsiteY4467" fmla="*/ 1903572 h 2705233"/>
              <a:gd name="connsiteX4468" fmla="*/ 1722122 w 6886183"/>
              <a:gd name="connsiteY4468" fmla="*/ 1904429 h 2705233"/>
              <a:gd name="connsiteX4469" fmla="*/ 1692309 w 6886183"/>
              <a:gd name="connsiteY4469" fmla="*/ 1901762 h 2705233"/>
              <a:gd name="connsiteX4470" fmla="*/ 1644875 w 6886183"/>
              <a:gd name="connsiteY4470" fmla="*/ 1887951 h 2705233"/>
              <a:gd name="connsiteX4471" fmla="*/ 1635350 w 6886183"/>
              <a:gd name="connsiteY4471" fmla="*/ 1868901 h 2705233"/>
              <a:gd name="connsiteX4472" fmla="*/ 1668497 w 6886183"/>
              <a:gd name="connsiteY4472" fmla="*/ 1856327 h 2705233"/>
              <a:gd name="connsiteX4473" fmla="*/ 1698405 w 6886183"/>
              <a:gd name="connsiteY4473" fmla="*/ 1855375 h 2705233"/>
              <a:gd name="connsiteX4474" fmla="*/ 4418130 w 6886183"/>
              <a:gd name="connsiteY4474" fmla="*/ 1853827 h 2705233"/>
              <a:gd name="connsiteX4475" fmla="*/ 4428714 w 6886183"/>
              <a:gd name="connsiteY4475" fmla="*/ 1863566 h 2705233"/>
              <a:gd name="connsiteX4476" fmla="*/ 4352514 w 6886183"/>
              <a:gd name="connsiteY4476" fmla="*/ 1902523 h 2705233"/>
              <a:gd name="connsiteX4477" fmla="*/ 4295364 w 6886183"/>
              <a:gd name="connsiteY4477" fmla="*/ 1901380 h 2705233"/>
              <a:gd name="connsiteX4478" fmla="*/ 4374041 w 6886183"/>
              <a:gd name="connsiteY4478" fmla="*/ 1860804 h 2705233"/>
              <a:gd name="connsiteX4479" fmla="*/ 4418130 w 6886183"/>
              <a:gd name="connsiteY4479" fmla="*/ 1853827 h 2705233"/>
              <a:gd name="connsiteX4480" fmla="*/ 4719096 w 6886183"/>
              <a:gd name="connsiteY4480" fmla="*/ 1850053 h 2705233"/>
              <a:gd name="connsiteX4481" fmla="*/ 4723418 w 6886183"/>
              <a:gd name="connsiteY4481" fmla="*/ 1858137 h 2705233"/>
              <a:gd name="connsiteX4482" fmla="*/ 4703225 w 6886183"/>
              <a:gd name="connsiteY4482" fmla="*/ 1872615 h 2705233"/>
              <a:gd name="connsiteX4483" fmla="*/ 4687033 w 6886183"/>
              <a:gd name="connsiteY4483" fmla="*/ 1879568 h 2705233"/>
              <a:gd name="connsiteX4484" fmla="*/ 4678079 w 6886183"/>
              <a:gd name="connsiteY4484" fmla="*/ 1882616 h 2705233"/>
              <a:gd name="connsiteX4485" fmla="*/ 4668554 w 6886183"/>
              <a:gd name="connsiteY4485" fmla="*/ 1885569 h 2705233"/>
              <a:gd name="connsiteX4486" fmla="*/ 4635407 w 6886183"/>
              <a:gd name="connsiteY4486" fmla="*/ 1882901 h 2705233"/>
              <a:gd name="connsiteX4487" fmla="*/ 4654933 w 6886183"/>
              <a:gd name="connsiteY4487" fmla="*/ 1867947 h 2705233"/>
              <a:gd name="connsiteX4488" fmla="*/ 4671316 w 6886183"/>
              <a:gd name="connsiteY4488" fmla="*/ 1860423 h 2705233"/>
              <a:gd name="connsiteX4489" fmla="*/ 4689985 w 6886183"/>
              <a:gd name="connsiteY4489" fmla="*/ 1854326 h 2705233"/>
              <a:gd name="connsiteX4490" fmla="*/ 4719096 w 6886183"/>
              <a:gd name="connsiteY4490" fmla="*/ 1850053 h 2705233"/>
              <a:gd name="connsiteX4491" fmla="*/ 5235767 w 6886183"/>
              <a:gd name="connsiteY4491" fmla="*/ 1849946 h 2705233"/>
              <a:gd name="connsiteX4492" fmla="*/ 5246340 w 6886183"/>
              <a:gd name="connsiteY4492" fmla="*/ 1853565 h 2705233"/>
              <a:gd name="connsiteX4493" fmla="*/ 5233577 w 6886183"/>
              <a:gd name="connsiteY4493" fmla="*/ 1858518 h 2705233"/>
              <a:gd name="connsiteX4494" fmla="*/ 5225195 w 6886183"/>
              <a:gd name="connsiteY4494" fmla="*/ 1860614 h 2705233"/>
              <a:gd name="connsiteX4495" fmla="*/ 5216813 w 6886183"/>
              <a:gd name="connsiteY4495" fmla="*/ 1862138 h 2705233"/>
              <a:gd name="connsiteX4496" fmla="*/ 5206526 w 6886183"/>
              <a:gd name="connsiteY4496" fmla="*/ 1858899 h 2705233"/>
              <a:gd name="connsiteX4497" fmla="*/ 5218718 w 6886183"/>
              <a:gd name="connsiteY4497" fmla="*/ 1853660 h 2705233"/>
              <a:gd name="connsiteX4498" fmla="*/ 5222909 w 6886183"/>
              <a:gd name="connsiteY4498" fmla="*/ 1852517 h 2705233"/>
              <a:gd name="connsiteX4499" fmla="*/ 5227195 w 6886183"/>
              <a:gd name="connsiteY4499" fmla="*/ 1851470 h 2705233"/>
              <a:gd name="connsiteX4500" fmla="*/ 5235767 w 6886183"/>
              <a:gd name="connsiteY4500" fmla="*/ 1849946 h 2705233"/>
              <a:gd name="connsiteX4501" fmla="*/ 5025361 w 6886183"/>
              <a:gd name="connsiteY4501" fmla="*/ 1849278 h 2705233"/>
              <a:gd name="connsiteX4502" fmla="*/ 5032219 w 6886183"/>
              <a:gd name="connsiteY4502" fmla="*/ 1849278 h 2705233"/>
              <a:gd name="connsiteX4503" fmla="*/ 5032219 w 6886183"/>
              <a:gd name="connsiteY4503" fmla="*/ 1854803 h 2705233"/>
              <a:gd name="connsiteX4504" fmla="*/ 5025075 w 6886183"/>
              <a:gd name="connsiteY4504" fmla="*/ 1859089 h 2705233"/>
              <a:gd name="connsiteX4505" fmla="*/ 5020217 w 6886183"/>
              <a:gd name="connsiteY4505" fmla="*/ 1861185 h 2705233"/>
              <a:gd name="connsiteX4506" fmla="*/ 5014693 w 6886183"/>
              <a:gd name="connsiteY4506" fmla="*/ 1863375 h 2705233"/>
              <a:gd name="connsiteX4507" fmla="*/ 4990594 w 6886183"/>
              <a:gd name="connsiteY4507" fmla="*/ 1870805 h 2705233"/>
              <a:gd name="connsiteX4508" fmla="*/ 4972783 w 6886183"/>
              <a:gd name="connsiteY4508" fmla="*/ 1866423 h 2705233"/>
              <a:gd name="connsiteX4509" fmla="*/ 5014788 w 6886183"/>
              <a:gd name="connsiteY4509" fmla="*/ 1850517 h 2705233"/>
              <a:gd name="connsiteX4510" fmla="*/ 5025361 w 6886183"/>
              <a:gd name="connsiteY4510" fmla="*/ 1849278 h 2705233"/>
              <a:gd name="connsiteX4511" fmla="*/ 4885176 w 6886183"/>
              <a:gd name="connsiteY4511" fmla="*/ 1846445 h 2705233"/>
              <a:gd name="connsiteX4512" fmla="*/ 4886772 w 6886183"/>
              <a:gd name="connsiteY4512" fmla="*/ 1853374 h 2705233"/>
              <a:gd name="connsiteX4513" fmla="*/ 4867722 w 6886183"/>
              <a:gd name="connsiteY4513" fmla="*/ 1864519 h 2705233"/>
              <a:gd name="connsiteX4514" fmla="*/ 4853910 w 6886183"/>
              <a:gd name="connsiteY4514" fmla="*/ 1869757 h 2705233"/>
              <a:gd name="connsiteX4515" fmla="*/ 4839051 w 6886183"/>
              <a:gd name="connsiteY4515" fmla="*/ 1874139 h 2705233"/>
              <a:gd name="connsiteX4516" fmla="*/ 4812953 w 6886183"/>
              <a:gd name="connsiteY4516" fmla="*/ 1870519 h 2705233"/>
              <a:gd name="connsiteX4517" fmla="*/ 4832003 w 6886183"/>
              <a:gd name="connsiteY4517" fmla="*/ 1858613 h 2705233"/>
              <a:gd name="connsiteX4518" fmla="*/ 4846576 w 6886183"/>
              <a:gd name="connsiteY4518" fmla="*/ 1852898 h 2705233"/>
              <a:gd name="connsiteX4519" fmla="*/ 4850386 w 6886183"/>
              <a:gd name="connsiteY4519" fmla="*/ 1851564 h 2705233"/>
              <a:gd name="connsiteX4520" fmla="*/ 4854387 w 6886183"/>
              <a:gd name="connsiteY4520" fmla="*/ 1850422 h 2705233"/>
              <a:gd name="connsiteX4521" fmla="*/ 4862292 w 6886183"/>
              <a:gd name="connsiteY4521" fmla="*/ 1848517 h 2705233"/>
              <a:gd name="connsiteX4522" fmla="*/ 4885176 w 6886183"/>
              <a:gd name="connsiteY4522" fmla="*/ 1846445 h 2705233"/>
              <a:gd name="connsiteX4523" fmla="*/ 3652415 w 6886183"/>
              <a:gd name="connsiteY4523" fmla="*/ 1843945 h 2705233"/>
              <a:gd name="connsiteX4524" fmla="*/ 3678811 w 6886183"/>
              <a:gd name="connsiteY4524" fmla="*/ 1855279 h 2705233"/>
              <a:gd name="connsiteX4525" fmla="*/ 3612136 w 6886183"/>
              <a:gd name="connsiteY4525" fmla="*/ 1897951 h 2705233"/>
              <a:gd name="connsiteX4526" fmla="*/ 3526605 w 6886183"/>
              <a:gd name="connsiteY4526" fmla="*/ 1896904 h 2705233"/>
              <a:gd name="connsiteX4527" fmla="*/ 3594515 w 6886183"/>
              <a:gd name="connsiteY4527" fmla="*/ 1852327 h 2705233"/>
              <a:gd name="connsiteX4528" fmla="*/ 3652415 w 6886183"/>
              <a:gd name="connsiteY4528" fmla="*/ 1843945 h 2705233"/>
              <a:gd name="connsiteX4529" fmla="*/ 4298889 w 6886183"/>
              <a:gd name="connsiteY4529" fmla="*/ 1843028 h 2705233"/>
              <a:gd name="connsiteX4530" fmla="*/ 4312128 w 6886183"/>
              <a:gd name="connsiteY4530" fmla="*/ 1853564 h 2705233"/>
              <a:gd name="connsiteX4531" fmla="*/ 4234023 w 6886183"/>
              <a:gd name="connsiteY4531" fmla="*/ 1894712 h 2705233"/>
              <a:gd name="connsiteX4532" fmla="*/ 4171063 w 6886183"/>
              <a:gd name="connsiteY4532" fmla="*/ 1893379 h 2705233"/>
              <a:gd name="connsiteX4533" fmla="*/ 4251359 w 6886183"/>
              <a:gd name="connsiteY4533" fmla="*/ 1850421 h 2705233"/>
              <a:gd name="connsiteX4534" fmla="*/ 4298889 w 6886183"/>
              <a:gd name="connsiteY4534" fmla="*/ 1843028 h 2705233"/>
              <a:gd name="connsiteX4535" fmla="*/ 5323683 w 6886183"/>
              <a:gd name="connsiteY4535" fmla="*/ 1842707 h 2705233"/>
              <a:gd name="connsiteX4536" fmla="*/ 5331113 w 6886183"/>
              <a:gd name="connsiteY4536" fmla="*/ 1846136 h 2705233"/>
              <a:gd name="connsiteX4537" fmla="*/ 5320159 w 6886183"/>
              <a:gd name="connsiteY4537" fmla="*/ 1849946 h 2705233"/>
              <a:gd name="connsiteX4538" fmla="*/ 5306157 w 6886183"/>
              <a:gd name="connsiteY4538" fmla="*/ 1852613 h 2705233"/>
              <a:gd name="connsiteX4539" fmla="*/ 5298537 w 6886183"/>
              <a:gd name="connsiteY4539" fmla="*/ 1849374 h 2705233"/>
              <a:gd name="connsiteX4540" fmla="*/ 5309491 w 6886183"/>
              <a:gd name="connsiteY4540" fmla="*/ 1845278 h 2705233"/>
              <a:gd name="connsiteX4541" fmla="*/ 5316635 w 6886183"/>
              <a:gd name="connsiteY4541" fmla="*/ 1843659 h 2705233"/>
              <a:gd name="connsiteX4542" fmla="*/ 5323683 w 6886183"/>
              <a:gd name="connsiteY4542" fmla="*/ 1842707 h 2705233"/>
              <a:gd name="connsiteX4543" fmla="*/ 5411694 w 6886183"/>
              <a:gd name="connsiteY4543" fmla="*/ 1838706 h 2705233"/>
              <a:gd name="connsiteX4544" fmla="*/ 5416362 w 6886183"/>
              <a:gd name="connsiteY4544" fmla="*/ 1841659 h 2705233"/>
              <a:gd name="connsiteX4545" fmla="*/ 5406837 w 6886183"/>
              <a:gd name="connsiteY4545" fmla="*/ 1844516 h 2705233"/>
              <a:gd name="connsiteX4546" fmla="*/ 5395407 w 6886183"/>
              <a:gd name="connsiteY4546" fmla="*/ 1846326 h 2705233"/>
              <a:gd name="connsiteX4547" fmla="*/ 5390644 w 6886183"/>
              <a:gd name="connsiteY4547" fmla="*/ 1843469 h 2705233"/>
              <a:gd name="connsiteX4548" fmla="*/ 5400169 w 6886183"/>
              <a:gd name="connsiteY4548" fmla="*/ 1840516 h 2705233"/>
              <a:gd name="connsiteX4549" fmla="*/ 5411694 w 6886183"/>
              <a:gd name="connsiteY4549" fmla="*/ 1838706 h 2705233"/>
              <a:gd name="connsiteX4550" fmla="*/ 5123182 w 6886183"/>
              <a:gd name="connsiteY4550" fmla="*/ 1837468 h 2705233"/>
              <a:gd name="connsiteX4551" fmla="*/ 5122610 w 6886183"/>
              <a:gd name="connsiteY4551" fmla="*/ 1842611 h 2705233"/>
              <a:gd name="connsiteX4552" fmla="*/ 5084224 w 6886183"/>
              <a:gd name="connsiteY4552" fmla="*/ 1855660 h 2705233"/>
              <a:gd name="connsiteX4553" fmla="*/ 5069080 w 6886183"/>
              <a:gd name="connsiteY4553" fmla="*/ 1851088 h 2705233"/>
              <a:gd name="connsiteX4554" fmla="*/ 5107751 w 6886183"/>
              <a:gd name="connsiteY4554" fmla="*/ 1837753 h 2705233"/>
              <a:gd name="connsiteX4555" fmla="*/ 5123182 w 6886183"/>
              <a:gd name="connsiteY4555" fmla="*/ 1837468 h 2705233"/>
              <a:gd name="connsiteX4556" fmla="*/ 5494372 w 6886183"/>
              <a:gd name="connsiteY4556" fmla="*/ 1836610 h 2705233"/>
              <a:gd name="connsiteX4557" fmla="*/ 5498753 w 6886183"/>
              <a:gd name="connsiteY4557" fmla="*/ 1838896 h 2705233"/>
              <a:gd name="connsiteX4558" fmla="*/ 5483989 w 6886183"/>
              <a:gd name="connsiteY4558" fmla="*/ 1841753 h 2705233"/>
              <a:gd name="connsiteX4559" fmla="*/ 5479798 w 6886183"/>
              <a:gd name="connsiteY4559" fmla="*/ 1839848 h 2705233"/>
              <a:gd name="connsiteX4560" fmla="*/ 5494372 w 6886183"/>
              <a:gd name="connsiteY4560" fmla="*/ 1836610 h 2705233"/>
              <a:gd name="connsiteX4561" fmla="*/ 4649159 w 6886183"/>
              <a:gd name="connsiteY4561" fmla="*/ 1831622 h 2705233"/>
              <a:gd name="connsiteX4562" fmla="*/ 4655790 w 6886183"/>
              <a:gd name="connsiteY4562" fmla="*/ 1840421 h 2705233"/>
              <a:gd name="connsiteX4563" fmla="*/ 4633026 w 6886183"/>
              <a:gd name="connsiteY4563" fmla="*/ 1856994 h 2705233"/>
              <a:gd name="connsiteX4564" fmla="*/ 4615309 w 6886183"/>
              <a:gd name="connsiteY4564" fmla="*/ 1865185 h 2705233"/>
              <a:gd name="connsiteX4565" fmla="*/ 4610547 w 6886183"/>
              <a:gd name="connsiteY4565" fmla="*/ 1866995 h 2705233"/>
              <a:gd name="connsiteX4566" fmla="*/ 4607880 w 6886183"/>
              <a:gd name="connsiteY4566" fmla="*/ 1867947 h 2705233"/>
              <a:gd name="connsiteX4567" fmla="*/ 4605022 w 6886183"/>
              <a:gd name="connsiteY4567" fmla="*/ 1868995 h 2705233"/>
              <a:gd name="connsiteX4568" fmla="*/ 4593592 w 6886183"/>
              <a:gd name="connsiteY4568" fmla="*/ 1872615 h 2705233"/>
              <a:gd name="connsiteX4569" fmla="*/ 4548253 w 6886183"/>
              <a:gd name="connsiteY4569" fmla="*/ 1871281 h 2705233"/>
              <a:gd name="connsiteX4570" fmla="*/ 4574447 w 6886183"/>
              <a:gd name="connsiteY4570" fmla="*/ 1853088 h 2705233"/>
              <a:gd name="connsiteX4571" fmla="*/ 4595973 w 6886183"/>
              <a:gd name="connsiteY4571" fmla="*/ 1843563 h 2705233"/>
              <a:gd name="connsiteX4572" fmla="*/ 4601784 w 6886183"/>
              <a:gd name="connsiteY4572" fmla="*/ 1841373 h 2705233"/>
              <a:gd name="connsiteX4573" fmla="*/ 4606737 w 6886183"/>
              <a:gd name="connsiteY4573" fmla="*/ 1839563 h 2705233"/>
              <a:gd name="connsiteX4574" fmla="*/ 4616738 w 6886183"/>
              <a:gd name="connsiteY4574" fmla="*/ 1836324 h 2705233"/>
              <a:gd name="connsiteX4575" fmla="*/ 4649159 w 6886183"/>
              <a:gd name="connsiteY4575" fmla="*/ 1831622 h 2705233"/>
              <a:gd name="connsiteX4576" fmla="*/ 4163122 w 6886183"/>
              <a:gd name="connsiteY4576" fmla="*/ 1829538 h 2705233"/>
              <a:gd name="connsiteX4577" fmla="*/ 4180017 w 6886183"/>
              <a:gd name="connsiteY4577" fmla="*/ 1840135 h 2705233"/>
              <a:gd name="connsiteX4578" fmla="*/ 4104103 w 6886183"/>
              <a:gd name="connsiteY4578" fmla="*/ 1882902 h 2705233"/>
              <a:gd name="connsiteX4579" fmla="*/ 4035523 w 6886183"/>
              <a:gd name="connsiteY4579" fmla="*/ 1881949 h 2705233"/>
              <a:gd name="connsiteX4580" fmla="*/ 4111723 w 6886183"/>
              <a:gd name="connsiteY4580" fmla="*/ 1838230 h 2705233"/>
              <a:gd name="connsiteX4581" fmla="*/ 4163122 w 6886183"/>
              <a:gd name="connsiteY4581" fmla="*/ 1829538 h 2705233"/>
              <a:gd name="connsiteX4582" fmla="*/ 4983665 w 6886183"/>
              <a:gd name="connsiteY4582" fmla="*/ 1829097 h 2705233"/>
              <a:gd name="connsiteX4583" fmla="*/ 4982974 w 6886183"/>
              <a:gd name="connsiteY4583" fmla="*/ 1836134 h 2705233"/>
              <a:gd name="connsiteX4584" fmla="*/ 4963924 w 6886183"/>
              <a:gd name="connsiteY4584" fmla="*/ 1845659 h 2705233"/>
              <a:gd name="connsiteX4585" fmla="*/ 4936492 w 6886183"/>
              <a:gd name="connsiteY4585" fmla="*/ 1853755 h 2705233"/>
              <a:gd name="connsiteX4586" fmla="*/ 4916299 w 6886183"/>
              <a:gd name="connsiteY4586" fmla="*/ 1849469 h 2705233"/>
              <a:gd name="connsiteX4587" fmla="*/ 4962781 w 6886183"/>
              <a:gd name="connsiteY4587" fmla="*/ 1830419 h 2705233"/>
              <a:gd name="connsiteX4588" fmla="*/ 4983665 w 6886183"/>
              <a:gd name="connsiteY4588" fmla="*/ 1829097 h 2705233"/>
              <a:gd name="connsiteX4589" fmla="*/ 3440622 w 6886183"/>
              <a:gd name="connsiteY4589" fmla="*/ 1828098 h 2705233"/>
              <a:gd name="connsiteX4590" fmla="*/ 3471749 w 6886183"/>
              <a:gd name="connsiteY4590" fmla="*/ 1839659 h 2705233"/>
              <a:gd name="connsiteX4591" fmla="*/ 3407090 w 6886183"/>
              <a:gd name="connsiteY4591" fmla="*/ 1883188 h 2705233"/>
              <a:gd name="connsiteX4592" fmla="*/ 3315574 w 6886183"/>
              <a:gd name="connsiteY4592" fmla="*/ 1880426 h 2705233"/>
              <a:gd name="connsiteX4593" fmla="*/ 3381282 w 6886183"/>
              <a:gd name="connsiteY4593" fmla="*/ 1834896 h 2705233"/>
              <a:gd name="connsiteX4594" fmla="*/ 3440622 w 6886183"/>
              <a:gd name="connsiteY4594" fmla="*/ 1828098 h 2705233"/>
              <a:gd name="connsiteX4595" fmla="*/ 747990 w 6886183"/>
              <a:gd name="connsiteY4595" fmla="*/ 1827371 h 2705233"/>
              <a:gd name="connsiteX4596" fmla="*/ 765611 w 6886183"/>
              <a:gd name="connsiteY4596" fmla="*/ 1829752 h 2705233"/>
              <a:gd name="connsiteX4597" fmla="*/ 770754 w 6886183"/>
              <a:gd name="connsiteY4597" fmla="*/ 1831085 h 2705233"/>
              <a:gd name="connsiteX4598" fmla="*/ 776280 w 6886183"/>
              <a:gd name="connsiteY4598" fmla="*/ 1832609 h 2705233"/>
              <a:gd name="connsiteX4599" fmla="*/ 787804 w 6886183"/>
              <a:gd name="connsiteY4599" fmla="*/ 1836324 h 2705233"/>
              <a:gd name="connsiteX4600" fmla="*/ 799806 w 6886183"/>
              <a:gd name="connsiteY4600" fmla="*/ 1840706 h 2705233"/>
              <a:gd name="connsiteX4601" fmla="*/ 811998 w 6886183"/>
              <a:gd name="connsiteY4601" fmla="*/ 1845563 h 2705233"/>
              <a:gd name="connsiteX4602" fmla="*/ 823904 w 6886183"/>
              <a:gd name="connsiteY4602" fmla="*/ 1850897 h 2705233"/>
              <a:gd name="connsiteX4603" fmla="*/ 835239 w 6886183"/>
              <a:gd name="connsiteY4603" fmla="*/ 1856327 h 2705233"/>
              <a:gd name="connsiteX4604" fmla="*/ 845526 w 6886183"/>
              <a:gd name="connsiteY4604" fmla="*/ 1861946 h 2705233"/>
              <a:gd name="connsiteX4605" fmla="*/ 850288 w 6886183"/>
              <a:gd name="connsiteY4605" fmla="*/ 1864709 h 2705233"/>
              <a:gd name="connsiteX4606" fmla="*/ 854479 w 6886183"/>
              <a:gd name="connsiteY4606" fmla="*/ 1867376 h 2705233"/>
              <a:gd name="connsiteX4607" fmla="*/ 869243 w 6886183"/>
              <a:gd name="connsiteY4607" fmla="*/ 1885092 h 2705233"/>
              <a:gd name="connsiteX4608" fmla="*/ 845621 w 6886183"/>
              <a:gd name="connsiteY4608" fmla="*/ 1888616 h 2705233"/>
              <a:gd name="connsiteX4609" fmla="*/ 822095 w 6886183"/>
              <a:gd name="connsiteY4609" fmla="*/ 1883187 h 2705233"/>
              <a:gd name="connsiteX4610" fmla="*/ 809331 w 6886183"/>
              <a:gd name="connsiteY4610" fmla="*/ 1878901 h 2705233"/>
              <a:gd name="connsiteX4611" fmla="*/ 796376 w 6886183"/>
              <a:gd name="connsiteY4611" fmla="*/ 1873853 h 2705233"/>
              <a:gd name="connsiteX4612" fmla="*/ 751895 w 6886183"/>
              <a:gd name="connsiteY4612" fmla="*/ 1848992 h 2705233"/>
              <a:gd name="connsiteX4613" fmla="*/ 740560 w 6886183"/>
              <a:gd name="connsiteY4613" fmla="*/ 1837657 h 2705233"/>
              <a:gd name="connsiteX4614" fmla="*/ 739512 w 6886183"/>
              <a:gd name="connsiteY4614" fmla="*/ 1830133 h 2705233"/>
              <a:gd name="connsiteX4615" fmla="*/ 747990 w 6886183"/>
              <a:gd name="connsiteY4615" fmla="*/ 1827371 h 2705233"/>
              <a:gd name="connsiteX4616" fmla="*/ 4828586 w 6886183"/>
              <a:gd name="connsiteY4616" fmla="*/ 1826788 h 2705233"/>
              <a:gd name="connsiteX4617" fmla="*/ 4832193 w 6886183"/>
              <a:gd name="connsiteY4617" fmla="*/ 1834229 h 2705233"/>
              <a:gd name="connsiteX4618" fmla="*/ 4809714 w 6886183"/>
              <a:gd name="connsiteY4618" fmla="*/ 1847851 h 2705233"/>
              <a:gd name="connsiteX4619" fmla="*/ 4793521 w 6886183"/>
              <a:gd name="connsiteY4619" fmla="*/ 1854327 h 2705233"/>
              <a:gd name="connsiteX4620" fmla="*/ 4776853 w 6886183"/>
              <a:gd name="connsiteY4620" fmla="*/ 1859375 h 2705233"/>
              <a:gd name="connsiteX4621" fmla="*/ 4748182 w 6886183"/>
              <a:gd name="connsiteY4621" fmla="*/ 1854899 h 2705233"/>
              <a:gd name="connsiteX4622" fmla="*/ 4769899 w 6886183"/>
              <a:gd name="connsiteY4622" fmla="*/ 1840897 h 2705233"/>
              <a:gd name="connsiteX4623" fmla="*/ 4786378 w 6886183"/>
              <a:gd name="connsiteY4623" fmla="*/ 1833943 h 2705233"/>
              <a:gd name="connsiteX4624" fmla="*/ 4803618 w 6886183"/>
              <a:gd name="connsiteY4624" fmla="*/ 1828991 h 2705233"/>
              <a:gd name="connsiteX4625" fmla="*/ 4828586 w 6886183"/>
              <a:gd name="connsiteY4625" fmla="*/ 1826788 h 2705233"/>
              <a:gd name="connsiteX4626" fmla="*/ 2021256 w 6886183"/>
              <a:gd name="connsiteY4626" fmla="*/ 1826347 h 2705233"/>
              <a:gd name="connsiteX4627" fmla="*/ 2067690 w 6886183"/>
              <a:gd name="connsiteY4627" fmla="*/ 1840611 h 2705233"/>
              <a:gd name="connsiteX4628" fmla="*/ 2072357 w 6886183"/>
              <a:gd name="connsiteY4628" fmla="*/ 1860518 h 2705233"/>
              <a:gd name="connsiteX4629" fmla="*/ 2057308 w 6886183"/>
              <a:gd name="connsiteY4629" fmla="*/ 1868805 h 2705233"/>
              <a:gd name="connsiteX4630" fmla="*/ 2032067 w 6886183"/>
              <a:gd name="connsiteY4630" fmla="*/ 1874615 h 2705233"/>
              <a:gd name="connsiteX4631" fmla="*/ 2003492 w 6886183"/>
              <a:gd name="connsiteY4631" fmla="*/ 1876711 h 2705233"/>
              <a:gd name="connsiteX4632" fmla="*/ 1974917 w 6886183"/>
              <a:gd name="connsiteY4632" fmla="*/ 1874901 h 2705233"/>
              <a:gd name="connsiteX4633" fmla="*/ 1930531 w 6886183"/>
              <a:gd name="connsiteY4633" fmla="*/ 1861280 h 2705233"/>
              <a:gd name="connsiteX4634" fmla="*/ 1960249 w 6886183"/>
              <a:gd name="connsiteY4634" fmla="*/ 1827371 h 2705233"/>
              <a:gd name="connsiteX4635" fmla="*/ 2021256 w 6886183"/>
              <a:gd name="connsiteY4635" fmla="*/ 1826347 h 2705233"/>
              <a:gd name="connsiteX4636" fmla="*/ 5204526 w 6886183"/>
              <a:gd name="connsiteY4636" fmla="*/ 1826228 h 2705233"/>
              <a:gd name="connsiteX4637" fmla="*/ 5217194 w 6886183"/>
              <a:gd name="connsiteY4637" fmla="*/ 1830800 h 2705233"/>
              <a:gd name="connsiteX4638" fmla="*/ 5183095 w 6886183"/>
              <a:gd name="connsiteY4638" fmla="*/ 1841468 h 2705233"/>
              <a:gd name="connsiteX4639" fmla="*/ 5168998 w 6886183"/>
              <a:gd name="connsiteY4639" fmla="*/ 1837467 h 2705233"/>
              <a:gd name="connsiteX4640" fmla="*/ 5204526 w 6886183"/>
              <a:gd name="connsiteY4640" fmla="*/ 1826228 h 2705233"/>
              <a:gd name="connsiteX4641" fmla="*/ 2662343 w 6886183"/>
              <a:gd name="connsiteY4641" fmla="*/ 1825181 h 2705233"/>
              <a:gd name="connsiteX4642" fmla="*/ 2705396 w 6886183"/>
              <a:gd name="connsiteY4642" fmla="*/ 1836992 h 2705233"/>
              <a:gd name="connsiteX4643" fmla="*/ 2660725 w 6886183"/>
              <a:gd name="connsiteY4643" fmla="*/ 1876997 h 2705233"/>
              <a:gd name="connsiteX4644" fmla="*/ 2630815 w 6886183"/>
              <a:gd name="connsiteY4644" fmla="*/ 1881473 h 2705233"/>
              <a:gd name="connsiteX4645" fmla="*/ 2601097 w 6886183"/>
              <a:gd name="connsiteY4645" fmla="*/ 1881473 h 2705233"/>
              <a:gd name="connsiteX4646" fmla="*/ 2557759 w 6886183"/>
              <a:gd name="connsiteY4646" fmla="*/ 1870615 h 2705233"/>
              <a:gd name="connsiteX4647" fmla="*/ 2557759 w 6886183"/>
              <a:gd name="connsiteY4647" fmla="*/ 1848898 h 2705233"/>
              <a:gd name="connsiteX4648" fmla="*/ 2574808 w 6886183"/>
              <a:gd name="connsiteY4648" fmla="*/ 1838230 h 2705233"/>
              <a:gd name="connsiteX4649" fmla="*/ 2601003 w 6886183"/>
              <a:gd name="connsiteY4649" fmla="*/ 1829753 h 2705233"/>
              <a:gd name="connsiteX4650" fmla="*/ 2662343 w 6886183"/>
              <a:gd name="connsiteY4650" fmla="*/ 1825181 h 2705233"/>
              <a:gd name="connsiteX4651" fmla="*/ 5296537 w 6886183"/>
              <a:gd name="connsiteY4651" fmla="*/ 1819085 h 2705233"/>
              <a:gd name="connsiteX4652" fmla="*/ 5306062 w 6886183"/>
              <a:gd name="connsiteY4652" fmla="*/ 1823371 h 2705233"/>
              <a:gd name="connsiteX4653" fmla="*/ 5274725 w 6886183"/>
              <a:gd name="connsiteY4653" fmla="*/ 1831848 h 2705233"/>
              <a:gd name="connsiteX4654" fmla="*/ 5263009 w 6886183"/>
              <a:gd name="connsiteY4654" fmla="*/ 1831848 h 2705233"/>
              <a:gd name="connsiteX4655" fmla="*/ 5263771 w 6886183"/>
              <a:gd name="connsiteY4655" fmla="*/ 1828133 h 2705233"/>
              <a:gd name="connsiteX4656" fmla="*/ 5269486 w 6886183"/>
              <a:gd name="connsiteY4656" fmla="*/ 1825276 h 2705233"/>
              <a:gd name="connsiteX4657" fmla="*/ 5277487 w 6886183"/>
              <a:gd name="connsiteY4657" fmla="*/ 1822704 h 2705233"/>
              <a:gd name="connsiteX4658" fmla="*/ 5296537 w 6886183"/>
              <a:gd name="connsiteY4658" fmla="*/ 1819085 h 2705233"/>
              <a:gd name="connsiteX4659" fmla="*/ 4559934 w 6886183"/>
              <a:gd name="connsiteY4659" fmla="*/ 1816715 h 2705233"/>
              <a:gd name="connsiteX4660" fmla="*/ 4568827 w 6886183"/>
              <a:gd name="connsiteY4660" fmla="*/ 1826229 h 2705233"/>
              <a:gd name="connsiteX4661" fmla="*/ 4493866 w 6886183"/>
              <a:gd name="connsiteY4661" fmla="*/ 1864328 h 2705233"/>
              <a:gd name="connsiteX4662" fmla="*/ 4443478 w 6886183"/>
              <a:gd name="connsiteY4662" fmla="*/ 1862709 h 2705233"/>
              <a:gd name="connsiteX4663" fmla="*/ 4517964 w 6886183"/>
              <a:gd name="connsiteY4663" fmla="*/ 1823847 h 2705233"/>
              <a:gd name="connsiteX4664" fmla="*/ 4559934 w 6886183"/>
              <a:gd name="connsiteY4664" fmla="*/ 1816715 h 2705233"/>
              <a:gd name="connsiteX4665" fmla="*/ 5084808 w 6886183"/>
              <a:gd name="connsiteY4665" fmla="*/ 1813632 h 2705233"/>
              <a:gd name="connsiteX4666" fmla="*/ 5085367 w 6886183"/>
              <a:gd name="connsiteY4666" fmla="*/ 1819370 h 2705233"/>
              <a:gd name="connsiteX4667" fmla="*/ 5067079 w 6886183"/>
              <a:gd name="connsiteY4667" fmla="*/ 1828229 h 2705233"/>
              <a:gd name="connsiteX4668" fmla="*/ 5041457 w 6886183"/>
              <a:gd name="connsiteY4668" fmla="*/ 1835468 h 2705233"/>
              <a:gd name="connsiteX4669" fmla="*/ 5022026 w 6886183"/>
              <a:gd name="connsiteY4669" fmla="*/ 1830705 h 2705233"/>
              <a:gd name="connsiteX4670" fmla="*/ 5066317 w 6886183"/>
              <a:gd name="connsiteY4670" fmla="*/ 1814036 h 2705233"/>
              <a:gd name="connsiteX4671" fmla="*/ 5084808 w 6886183"/>
              <a:gd name="connsiteY4671" fmla="*/ 1813632 h 2705233"/>
              <a:gd name="connsiteX4672" fmla="*/ 5386358 w 6886183"/>
              <a:gd name="connsiteY4672" fmla="*/ 1813464 h 2705233"/>
              <a:gd name="connsiteX4673" fmla="*/ 5393121 w 6886183"/>
              <a:gd name="connsiteY4673" fmla="*/ 1817465 h 2705233"/>
              <a:gd name="connsiteX4674" fmla="*/ 5366356 w 6886183"/>
              <a:gd name="connsiteY4674" fmla="*/ 1823751 h 2705233"/>
              <a:gd name="connsiteX4675" fmla="*/ 5357402 w 6886183"/>
              <a:gd name="connsiteY4675" fmla="*/ 1823180 h 2705233"/>
              <a:gd name="connsiteX4676" fmla="*/ 5359498 w 6886183"/>
              <a:gd name="connsiteY4676" fmla="*/ 1819846 h 2705233"/>
              <a:gd name="connsiteX4677" fmla="*/ 5386358 w 6886183"/>
              <a:gd name="connsiteY4677" fmla="*/ 1813464 h 2705233"/>
              <a:gd name="connsiteX4678" fmla="*/ 4018520 w 6886183"/>
              <a:gd name="connsiteY4678" fmla="*/ 1813192 h 2705233"/>
              <a:gd name="connsiteX4679" fmla="*/ 4038475 w 6886183"/>
              <a:gd name="connsiteY4679" fmla="*/ 1824514 h 2705233"/>
              <a:gd name="connsiteX4680" fmla="*/ 3963227 w 6886183"/>
              <a:gd name="connsiteY4680" fmla="*/ 1868424 h 2705233"/>
              <a:gd name="connsiteX4681" fmla="*/ 3887885 w 6886183"/>
              <a:gd name="connsiteY4681" fmla="*/ 1866900 h 2705233"/>
              <a:gd name="connsiteX4682" fmla="*/ 3964847 w 6886183"/>
              <a:gd name="connsiteY4682" fmla="*/ 1821085 h 2705233"/>
              <a:gd name="connsiteX4683" fmla="*/ 4018520 w 6886183"/>
              <a:gd name="connsiteY4683" fmla="*/ 1813192 h 2705233"/>
              <a:gd name="connsiteX4684" fmla="*/ 5473702 w 6886183"/>
              <a:gd name="connsiteY4684" fmla="*/ 1811560 h 2705233"/>
              <a:gd name="connsiteX4685" fmla="*/ 5477893 w 6886183"/>
              <a:gd name="connsiteY4685" fmla="*/ 1815084 h 2705233"/>
              <a:gd name="connsiteX4686" fmla="*/ 5457128 w 6886183"/>
              <a:gd name="connsiteY4686" fmla="*/ 1819370 h 2705233"/>
              <a:gd name="connsiteX4687" fmla="*/ 5451508 w 6886183"/>
              <a:gd name="connsiteY4687" fmla="*/ 1816132 h 2705233"/>
              <a:gd name="connsiteX4688" fmla="*/ 5473702 w 6886183"/>
              <a:gd name="connsiteY4688" fmla="*/ 1811560 h 2705233"/>
              <a:gd name="connsiteX4689" fmla="*/ 5560475 w 6886183"/>
              <a:gd name="connsiteY4689" fmla="*/ 1811369 h 2705233"/>
              <a:gd name="connsiteX4690" fmla="*/ 5563523 w 6886183"/>
              <a:gd name="connsiteY4690" fmla="*/ 1814036 h 2705233"/>
              <a:gd name="connsiteX4691" fmla="*/ 5547521 w 6886183"/>
              <a:gd name="connsiteY4691" fmla="*/ 1816703 h 2705233"/>
              <a:gd name="connsiteX4692" fmla="*/ 5544664 w 6886183"/>
              <a:gd name="connsiteY4692" fmla="*/ 1814227 h 2705233"/>
              <a:gd name="connsiteX4693" fmla="*/ 5560475 w 6886183"/>
              <a:gd name="connsiteY4693" fmla="*/ 1811369 h 2705233"/>
              <a:gd name="connsiteX4694" fmla="*/ 4934302 w 6886183"/>
              <a:gd name="connsiteY4694" fmla="*/ 1806155 h 2705233"/>
              <a:gd name="connsiteX4695" fmla="*/ 4935064 w 6886183"/>
              <a:gd name="connsiteY4695" fmla="*/ 1813751 h 2705233"/>
              <a:gd name="connsiteX4696" fmla="*/ 4881152 w 6886183"/>
              <a:gd name="connsiteY4696" fmla="*/ 1835849 h 2705233"/>
              <a:gd name="connsiteX4697" fmla="*/ 4858673 w 6886183"/>
              <a:gd name="connsiteY4697" fmla="*/ 1829562 h 2705233"/>
              <a:gd name="connsiteX4698" fmla="*/ 4880485 w 6886183"/>
              <a:gd name="connsiteY4698" fmla="*/ 1817084 h 2705233"/>
              <a:gd name="connsiteX4699" fmla="*/ 4895916 w 6886183"/>
              <a:gd name="connsiteY4699" fmla="*/ 1811369 h 2705233"/>
              <a:gd name="connsiteX4700" fmla="*/ 4903917 w 6886183"/>
              <a:gd name="connsiteY4700" fmla="*/ 1809083 h 2705233"/>
              <a:gd name="connsiteX4701" fmla="*/ 4911823 w 6886183"/>
              <a:gd name="connsiteY4701" fmla="*/ 1807274 h 2705233"/>
              <a:gd name="connsiteX4702" fmla="*/ 4934302 w 6886183"/>
              <a:gd name="connsiteY4702" fmla="*/ 1806155 h 2705233"/>
              <a:gd name="connsiteX4703" fmla="*/ 4762316 w 6886183"/>
              <a:gd name="connsiteY4703" fmla="*/ 1805703 h 2705233"/>
              <a:gd name="connsiteX4704" fmla="*/ 4765423 w 6886183"/>
              <a:gd name="connsiteY4704" fmla="*/ 1814798 h 2705233"/>
              <a:gd name="connsiteX4705" fmla="*/ 4742944 w 6886183"/>
              <a:gd name="connsiteY4705" fmla="*/ 1829848 h 2705233"/>
              <a:gd name="connsiteX4706" fmla="*/ 4725990 w 6886183"/>
              <a:gd name="connsiteY4706" fmla="*/ 1836897 h 2705233"/>
              <a:gd name="connsiteX4707" fmla="*/ 4707416 w 6886183"/>
              <a:gd name="connsiteY4707" fmla="*/ 1842897 h 2705233"/>
              <a:gd name="connsiteX4708" fmla="*/ 4674174 w 6886183"/>
              <a:gd name="connsiteY4708" fmla="*/ 1838420 h 2705233"/>
              <a:gd name="connsiteX4709" fmla="*/ 4696367 w 6886183"/>
              <a:gd name="connsiteY4709" fmla="*/ 1822418 h 2705233"/>
              <a:gd name="connsiteX4710" fmla="*/ 4733991 w 6886183"/>
              <a:gd name="connsiteY4710" fmla="*/ 1808607 h 2705233"/>
              <a:gd name="connsiteX4711" fmla="*/ 4762316 w 6886183"/>
              <a:gd name="connsiteY4711" fmla="*/ 1805703 h 2705233"/>
              <a:gd name="connsiteX4712" fmla="*/ 3194219 w 6886183"/>
              <a:gd name="connsiteY4712" fmla="*/ 1805488 h 2705233"/>
              <a:gd name="connsiteX4713" fmla="*/ 3228804 w 6886183"/>
              <a:gd name="connsiteY4713" fmla="*/ 1817656 h 2705233"/>
              <a:gd name="connsiteX4714" fmla="*/ 3170607 w 6886183"/>
              <a:gd name="connsiteY4714" fmla="*/ 1860519 h 2705233"/>
              <a:gd name="connsiteX4715" fmla="*/ 3074499 w 6886183"/>
              <a:gd name="connsiteY4715" fmla="*/ 1856423 h 2705233"/>
              <a:gd name="connsiteX4716" fmla="*/ 3133556 w 6886183"/>
              <a:gd name="connsiteY4716" fmla="*/ 1811465 h 2705233"/>
              <a:gd name="connsiteX4717" fmla="*/ 3194219 w 6886183"/>
              <a:gd name="connsiteY4717" fmla="*/ 1805488 h 2705233"/>
              <a:gd name="connsiteX4718" fmla="*/ 5164425 w 6886183"/>
              <a:gd name="connsiteY4718" fmla="*/ 1802416 h 2705233"/>
              <a:gd name="connsiteX4719" fmla="*/ 5178998 w 6886183"/>
              <a:gd name="connsiteY4719" fmla="*/ 1808321 h 2705233"/>
              <a:gd name="connsiteX4720" fmla="*/ 5138136 w 6886183"/>
              <a:gd name="connsiteY4720" fmla="*/ 1821561 h 2705233"/>
              <a:gd name="connsiteX4721" fmla="*/ 5123087 w 6886183"/>
              <a:gd name="connsiteY4721" fmla="*/ 1815941 h 2705233"/>
              <a:gd name="connsiteX4722" fmla="*/ 5164425 w 6886183"/>
              <a:gd name="connsiteY4722" fmla="*/ 1802416 h 2705233"/>
              <a:gd name="connsiteX4723" fmla="*/ 4451729 w 6886183"/>
              <a:gd name="connsiteY4723" fmla="*/ 1801786 h 2705233"/>
              <a:gd name="connsiteX4724" fmla="*/ 4462147 w 6886183"/>
              <a:gd name="connsiteY4724" fmla="*/ 1812131 h 2705233"/>
              <a:gd name="connsiteX4725" fmla="*/ 4383756 w 6886183"/>
              <a:gd name="connsiteY4725" fmla="*/ 1853279 h 2705233"/>
              <a:gd name="connsiteX4726" fmla="*/ 4328701 w 6886183"/>
              <a:gd name="connsiteY4726" fmla="*/ 1850993 h 2705233"/>
              <a:gd name="connsiteX4727" fmla="*/ 4407664 w 6886183"/>
              <a:gd name="connsiteY4727" fmla="*/ 1809083 h 2705233"/>
              <a:gd name="connsiteX4728" fmla="*/ 4451729 w 6886183"/>
              <a:gd name="connsiteY4728" fmla="*/ 1801786 h 2705233"/>
              <a:gd name="connsiteX4729" fmla="*/ 3846594 w 6886183"/>
              <a:gd name="connsiteY4729" fmla="*/ 1797451 h 2705233"/>
              <a:gd name="connsiteX4730" fmla="*/ 3868263 w 6886183"/>
              <a:gd name="connsiteY4730" fmla="*/ 1809749 h 2705233"/>
              <a:gd name="connsiteX4731" fmla="*/ 3794349 w 6886183"/>
              <a:gd name="connsiteY4731" fmla="*/ 1854422 h 2705233"/>
              <a:gd name="connsiteX4732" fmla="*/ 3716911 w 6886183"/>
              <a:gd name="connsiteY4732" fmla="*/ 1851088 h 2705233"/>
              <a:gd name="connsiteX4733" fmla="*/ 3790920 w 6886183"/>
              <a:gd name="connsiteY4733" fmla="*/ 1805368 h 2705233"/>
              <a:gd name="connsiteX4734" fmla="*/ 3846594 w 6886183"/>
              <a:gd name="connsiteY4734" fmla="*/ 1797451 h 2705233"/>
              <a:gd name="connsiteX4735" fmla="*/ 5261866 w 6886183"/>
              <a:gd name="connsiteY4735" fmla="*/ 1792700 h 2705233"/>
              <a:gd name="connsiteX4736" fmla="*/ 5274153 w 6886183"/>
              <a:gd name="connsiteY4736" fmla="*/ 1798225 h 2705233"/>
              <a:gd name="connsiteX4737" fmla="*/ 5237768 w 6886183"/>
              <a:gd name="connsiteY4737" fmla="*/ 1808988 h 2705233"/>
              <a:gd name="connsiteX4738" fmla="*/ 5223766 w 6886183"/>
              <a:gd name="connsiteY4738" fmla="*/ 1804225 h 2705233"/>
              <a:gd name="connsiteX4739" fmla="*/ 5261866 w 6886183"/>
              <a:gd name="connsiteY4739" fmla="*/ 1792700 h 2705233"/>
              <a:gd name="connsiteX4740" fmla="*/ 5036945 w 6886183"/>
              <a:gd name="connsiteY4740" fmla="*/ 1790224 h 2705233"/>
              <a:gd name="connsiteX4741" fmla="*/ 5035647 w 6886183"/>
              <a:gd name="connsiteY4741" fmla="*/ 1797559 h 2705233"/>
              <a:gd name="connsiteX4742" fmla="*/ 5014978 w 6886183"/>
              <a:gd name="connsiteY4742" fmla="*/ 1807940 h 2705233"/>
              <a:gd name="connsiteX4743" fmla="*/ 5000881 w 6886183"/>
              <a:gd name="connsiteY4743" fmla="*/ 1812607 h 2705233"/>
              <a:gd name="connsiteX4744" fmla="*/ 4986022 w 6886183"/>
              <a:gd name="connsiteY4744" fmla="*/ 1816037 h 2705233"/>
              <a:gd name="connsiteX4745" fmla="*/ 4966496 w 6886183"/>
              <a:gd name="connsiteY4745" fmla="*/ 1809750 h 2705233"/>
              <a:gd name="connsiteX4746" fmla="*/ 4986975 w 6886183"/>
              <a:gd name="connsiteY4746" fmla="*/ 1798892 h 2705233"/>
              <a:gd name="connsiteX4747" fmla="*/ 5001357 w 6886183"/>
              <a:gd name="connsiteY4747" fmla="*/ 1794033 h 2705233"/>
              <a:gd name="connsiteX4748" fmla="*/ 5008977 w 6886183"/>
              <a:gd name="connsiteY4748" fmla="*/ 1792129 h 2705233"/>
              <a:gd name="connsiteX4749" fmla="*/ 5016597 w 6886183"/>
              <a:gd name="connsiteY4749" fmla="*/ 1790605 h 2705233"/>
              <a:gd name="connsiteX4750" fmla="*/ 5036945 w 6886183"/>
              <a:gd name="connsiteY4750" fmla="*/ 1790224 h 2705233"/>
              <a:gd name="connsiteX4751" fmla="*/ 5355402 w 6886183"/>
              <a:gd name="connsiteY4751" fmla="*/ 1787175 h 2705233"/>
              <a:gd name="connsiteX4752" fmla="*/ 5364927 w 6886183"/>
              <a:gd name="connsiteY4752" fmla="*/ 1792414 h 2705233"/>
              <a:gd name="connsiteX4753" fmla="*/ 5358450 w 6886183"/>
              <a:gd name="connsiteY4753" fmla="*/ 1795081 h 2705233"/>
              <a:gd name="connsiteX4754" fmla="*/ 5350068 w 6886183"/>
              <a:gd name="connsiteY4754" fmla="*/ 1797558 h 2705233"/>
              <a:gd name="connsiteX4755" fmla="*/ 5331780 w 6886183"/>
              <a:gd name="connsiteY4755" fmla="*/ 1800796 h 2705233"/>
              <a:gd name="connsiteX4756" fmla="*/ 5322350 w 6886183"/>
              <a:gd name="connsiteY4756" fmla="*/ 1796034 h 2705233"/>
              <a:gd name="connsiteX4757" fmla="*/ 5355402 w 6886183"/>
              <a:gd name="connsiteY4757" fmla="*/ 1787175 h 2705233"/>
              <a:gd name="connsiteX4758" fmla="*/ 4334358 w 6886183"/>
              <a:gd name="connsiteY4758" fmla="*/ 1786021 h 2705233"/>
              <a:gd name="connsiteX4759" fmla="*/ 4346895 w 6886183"/>
              <a:gd name="connsiteY4759" fmla="*/ 1797177 h 2705233"/>
              <a:gd name="connsiteX4760" fmla="*/ 4268980 w 6886183"/>
              <a:gd name="connsiteY4760" fmla="*/ 1839944 h 2705233"/>
              <a:gd name="connsiteX4761" fmla="*/ 4206020 w 6886183"/>
              <a:gd name="connsiteY4761" fmla="*/ 1838325 h 2705233"/>
              <a:gd name="connsiteX4762" fmla="*/ 4286030 w 6886183"/>
              <a:gd name="connsiteY4762" fmla="*/ 1793654 h 2705233"/>
              <a:gd name="connsiteX4763" fmla="*/ 4334358 w 6886183"/>
              <a:gd name="connsiteY4763" fmla="*/ 1786021 h 2705233"/>
              <a:gd name="connsiteX4764" fmla="*/ 5635627 w 6886183"/>
              <a:gd name="connsiteY4764" fmla="*/ 1785747 h 2705233"/>
              <a:gd name="connsiteX4765" fmla="*/ 5639056 w 6886183"/>
              <a:gd name="connsiteY4765" fmla="*/ 1788414 h 2705233"/>
              <a:gd name="connsiteX4766" fmla="*/ 5620768 w 6886183"/>
              <a:gd name="connsiteY4766" fmla="*/ 1791081 h 2705233"/>
              <a:gd name="connsiteX4767" fmla="*/ 5618767 w 6886183"/>
              <a:gd name="connsiteY4767" fmla="*/ 1788224 h 2705233"/>
              <a:gd name="connsiteX4768" fmla="*/ 5635627 w 6886183"/>
              <a:gd name="connsiteY4768" fmla="*/ 1785747 h 2705233"/>
              <a:gd name="connsiteX4769" fmla="*/ 4685497 w 6886183"/>
              <a:gd name="connsiteY4769" fmla="*/ 1783914 h 2705233"/>
              <a:gd name="connsiteX4770" fmla="*/ 4692367 w 6886183"/>
              <a:gd name="connsiteY4770" fmla="*/ 1793178 h 2705233"/>
              <a:gd name="connsiteX4771" fmla="*/ 4631788 w 6886183"/>
              <a:gd name="connsiteY4771" fmla="*/ 1825847 h 2705233"/>
              <a:gd name="connsiteX4772" fmla="*/ 4598736 w 6886183"/>
              <a:gd name="connsiteY4772" fmla="*/ 1830896 h 2705233"/>
              <a:gd name="connsiteX4773" fmla="*/ 4589782 w 6886183"/>
              <a:gd name="connsiteY4773" fmla="*/ 1822418 h 2705233"/>
              <a:gd name="connsiteX4774" fmla="*/ 4593592 w 6886183"/>
              <a:gd name="connsiteY4774" fmla="*/ 1818132 h 2705233"/>
              <a:gd name="connsiteX4775" fmla="*/ 4596069 w 6886183"/>
              <a:gd name="connsiteY4775" fmla="*/ 1815846 h 2705233"/>
              <a:gd name="connsiteX4776" fmla="*/ 4598736 w 6886183"/>
              <a:gd name="connsiteY4776" fmla="*/ 1813655 h 2705233"/>
              <a:gd name="connsiteX4777" fmla="*/ 4613119 w 6886183"/>
              <a:gd name="connsiteY4777" fmla="*/ 1804130 h 2705233"/>
              <a:gd name="connsiteX4778" fmla="*/ 4652552 w 6886183"/>
              <a:gd name="connsiteY4778" fmla="*/ 1788225 h 2705233"/>
              <a:gd name="connsiteX4779" fmla="*/ 4685497 w 6886183"/>
              <a:gd name="connsiteY4779" fmla="*/ 1783914 h 2705233"/>
              <a:gd name="connsiteX4780" fmla="*/ 5545330 w 6886183"/>
              <a:gd name="connsiteY4780" fmla="*/ 1783556 h 2705233"/>
              <a:gd name="connsiteX4781" fmla="*/ 5550188 w 6886183"/>
              <a:gd name="connsiteY4781" fmla="*/ 1787080 h 2705233"/>
              <a:gd name="connsiteX4782" fmla="*/ 5539806 w 6886183"/>
              <a:gd name="connsiteY4782" fmla="*/ 1790033 h 2705233"/>
              <a:gd name="connsiteX4783" fmla="*/ 5533329 w 6886183"/>
              <a:gd name="connsiteY4783" fmla="*/ 1790985 h 2705233"/>
              <a:gd name="connsiteX4784" fmla="*/ 5526947 w 6886183"/>
              <a:gd name="connsiteY4784" fmla="*/ 1791557 h 2705233"/>
              <a:gd name="connsiteX4785" fmla="*/ 5521613 w 6886183"/>
              <a:gd name="connsiteY4785" fmla="*/ 1788033 h 2705233"/>
              <a:gd name="connsiteX4786" fmla="*/ 5532471 w 6886183"/>
              <a:gd name="connsiteY4786" fmla="*/ 1784890 h 2705233"/>
              <a:gd name="connsiteX4787" fmla="*/ 5545330 w 6886183"/>
              <a:gd name="connsiteY4787" fmla="*/ 1783556 h 2705233"/>
              <a:gd name="connsiteX4788" fmla="*/ 5447890 w 6886183"/>
              <a:gd name="connsiteY4788" fmla="*/ 1783556 h 2705233"/>
              <a:gd name="connsiteX4789" fmla="*/ 5451795 w 6886183"/>
              <a:gd name="connsiteY4789" fmla="*/ 1783556 h 2705233"/>
              <a:gd name="connsiteX4790" fmla="*/ 5456367 w 6886183"/>
              <a:gd name="connsiteY4790" fmla="*/ 1788795 h 2705233"/>
              <a:gd name="connsiteX4791" fmla="*/ 5427792 w 6886183"/>
              <a:gd name="connsiteY4791" fmla="*/ 1794605 h 2705233"/>
              <a:gd name="connsiteX4792" fmla="*/ 5422744 w 6886183"/>
              <a:gd name="connsiteY4792" fmla="*/ 1789557 h 2705233"/>
              <a:gd name="connsiteX4793" fmla="*/ 5435983 w 6886183"/>
              <a:gd name="connsiteY4793" fmla="*/ 1785461 h 2705233"/>
              <a:gd name="connsiteX4794" fmla="*/ 5443889 w 6886183"/>
              <a:gd name="connsiteY4794" fmla="*/ 1784032 h 2705233"/>
              <a:gd name="connsiteX4795" fmla="*/ 2296483 w 6886183"/>
              <a:gd name="connsiteY4795" fmla="*/ 1782129 h 2705233"/>
              <a:gd name="connsiteX4796" fmla="*/ 2344679 w 6886183"/>
              <a:gd name="connsiteY4796" fmla="*/ 1794987 h 2705233"/>
              <a:gd name="connsiteX4797" fmla="*/ 2349156 w 6886183"/>
              <a:gd name="connsiteY4797" fmla="*/ 1816227 h 2705233"/>
              <a:gd name="connsiteX4798" fmla="*/ 2310865 w 6886183"/>
              <a:gd name="connsiteY4798" fmla="*/ 1833753 h 2705233"/>
              <a:gd name="connsiteX4799" fmla="*/ 2203900 w 6886183"/>
              <a:gd name="connsiteY4799" fmla="*/ 1823752 h 2705233"/>
              <a:gd name="connsiteX4800" fmla="*/ 2198565 w 6886183"/>
              <a:gd name="connsiteY4800" fmla="*/ 1802893 h 2705233"/>
              <a:gd name="connsiteX4801" fmla="*/ 2235142 w 6886183"/>
              <a:gd name="connsiteY4801" fmla="*/ 1785558 h 2705233"/>
              <a:gd name="connsiteX4802" fmla="*/ 2296483 w 6886183"/>
              <a:gd name="connsiteY4802" fmla="*/ 1782129 h 2705233"/>
              <a:gd name="connsiteX4803" fmla="*/ 4874496 w 6886183"/>
              <a:gd name="connsiteY4803" fmla="*/ 1782033 h 2705233"/>
              <a:gd name="connsiteX4804" fmla="*/ 4876104 w 6886183"/>
              <a:gd name="connsiteY4804" fmla="*/ 1790796 h 2705233"/>
              <a:gd name="connsiteX4805" fmla="*/ 4854577 w 6886183"/>
              <a:gd name="connsiteY4805" fmla="*/ 1804320 h 2705233"/>
              <a:gd name="connsiteX4806" fmla="*/ 4838766 w 6886183"/>
              <a:gd name="connsiteY4806" fmla="*/ 1810416 h 2705233"/>
              <a:gd name="connsiteX4807" fmla="*/ 4821525 w 6886183"/>
              <a:gd name="connsiteY4807" fmla="*/ 1815560 h 2705233"/>
              <a:gd name="connsiteX4808" fmla="*/ 4790474 w 6886183"/>
              <a:gd name="connsiteY4808" fmla="*/ 1810702 h 2705233"/>
              <a:gd name="connsiteX4809" fmla="*/ 4811905 w 6886183"/>
              <a:gd name="connsiteY4809" fmla="*/ 1796319 h 2705233"/>
              <a:gd name="connsiteX4810" fmla="*/ 4828479 w 6886183"/>
              <a:gd name="connsiteY4810" fmla="*/ 1789653 h 2705233"/>
              <a:gd name="connsiteX4811" fmla="*/ 4838004 w 6886183"/>
              <a:gd name="connsiteY4811" fmla="*/ 1786795 h 2705233"/>
              <a:gd name="connsiteX4812" fmla="*/ 4847529 w 6886183"/>
              <a:gd name="connsiteY4812" fmla="*/ 1784414 h 2705233"/>
              <a:gd name="connsiteX4813" fmla="*/ 4874496 w 6886183"/>
              <a:gd name="connsiteY4813" fmla="*/ 1782033 h 2705233"/>
              <a:gd name="connsiteX4814" fmla="*/ 3647414 w 6886183"/>
              <a:gd name="connsiteY4814" fmla="*/ 1776807 h 2705233"/>
              <a:gd name="connsiteX4815" fmla="*/ 3675382 w 6886183"/>
              <a:gd name="connsiteY4815" fmla="*/ 1789177 h 2705233"/>
              <a:gd name="connsiteX4816" fmla="*/ 3607278 w 6886183"/>
              <a:gd name="connsiteY4816" fmla="*/ 1834324 h 2705233"/>
              <a:gd name="connsiteX4817" fmla="*/ 3550988 w 6886183"/>
              <a:gd name="connsiteY4817" fmla="*/ 1842040 h 2705233"/>
              <a:gd name="connsiteX4818" fmla="*/ 3520223 w 6886183"/>
              <a:gd name="connsiteY4818" fmla="*/ 1831848 h 2705233"/>
              <a:gd name="connsiteX4819" fmla="*/ 3589657 w 6886183"/>
              <a:gd name="connsiteY4819" fmla="*/ 1784223 h 2705233"/>
              <a:gd name="connsiteX4820" fmla="*/ 3647414 w 6886183"/>
              <a:gd name="connsiteY4820" fmla="*/ 1776807 h 2705233"/>
              <a:gd name="connsiteX4821" fmla="*/ 5139637 w 6886183"/>
              <a:gd name="connsiteY4821" fmla="*/ 1775949 h 2705233"/>
              <a:gd name="connsiteX4822" fmla="*/ 5137374 w 6886183"/>
              <a:gd name="connsiteY4822" fmla="*/ 1782985 h 2705233"/>
              <a:gd name="connsiteX4823" fmla="*/ 5118324 w 6886183"/>
              <a:gd name="connsiteY4823" fmla="*/ 1791938 h 2705233"/>
              <a:gd name="connsiteX4824" fmla="*/ 5105465 w 6886183"/>
              <a:gd name="connsiteY4824" fmla="*/ 1795653 h 2705233"/>
              <a:gd name="connsiteX4825" fmla="*/ 5092035 w 6886183"/>
              <a:gd name="connsiteY4825" fmla="*/ 1798510 h 2705233"/>
              <a:gd name="connsiteX4826" fmla="*/ 5074795 w 6886183"/>
              <a:gd name="connsiteY4826" fmla="*/ 1792225 h 2705233"/>
              <a:gd name="connsiteX4827" fmla="*/ 5093845 w 6886183"/>
              <a:gd name="connsiteY4827" fmla="*/ 1782701 h 2705233"/>
              <a:gd name="connsiteX4828" fmla="*/ 5120610 w 6886183"/>
              <a:gd name="connsiteY4828" fmla="*/ 1776128 h 2705233"/>
              <a:gd name="connsiteX4829" fmla="*/ 5139637 w 6886183"/>
              <a:gd name="connsiteY4829" fmla="*/ 1775949 h 2705233"/>
              <a:gd name="connsiteX4830" fmla="*/ 2916940 w 6886183"/>
              <a:gd name="connsiteY4830" fmla="*/ 1773853 h 2705233"/>
              <a:gd name="connsiteX4831" fmla="*/ 2954099 w 6886183"/>
              <a:gd name="connsiteY4831" fmla="*/ 1787652 h 2705233"/>
              <a:gd name="connsiteX4832" fmla="*/ 2901141 w 6886183"/>
              <a:gd name="connsiteY4832" fmla="*/ 1829276 h 2705233"/>
              <a:gd name="connsiteX4833" fmla="*/ 2841322 w 6886183"/>
              <a:gd name="connsiteY4833" fmla="*/ 1834324 h 2705233"/>
              <a:gd name="connsiteX4834" fmla="*/ 2801698 w 6886183"/>
              <a:gd name="connsiteY4834" fmla="*/ 1821942 h 2705233"/>
              <a:gd name="connsiteX4835" fmla="*/ 2807796 w 6886183"/>
              <a:gd name="connsiteY4835" fmla="*/ 1798321 h 2705233"/>
              <a:gd name="connsiteX4836" fmla="*/ 2855419 w 6886183"/>
              <a:gd name="connsiteY4836" fmla="*/ 1778127 h 2705233"/>
              <a:gd name="connsiteX4837" fmla="*/ 2916940 w 6886183"/>
              <a:gd name="connsiteY4837" fmla="*/ 1773853 h 2705233"/>
              <a:gd name="connsiteX4838" fmla="*/ 4192828 w 6886183"/>
              <a:gd name="connsiteY4838" fmla="*/ 1768664 h 2705233"/>
              <a:gd name="connsiteX4839" fmla="*/ 4211259 w 6886183"/>
              <a:gd name="connsiteY4839" fmla="*/ 1780128 h 2705233"/>
              <a:gd name="connsiteX4840" fmla="*/ 4132582 w 6886183"/>
              <a:gd name="connsiteY4840" fmla="*/ 1825181 h 2705233"/>
              <a:gd name="connsiteX4841" fmla="*/ 4063431 w 6886183"/>
              <a:gd name="connsiteY4841" fmla="*/ 1822895 h 2705233"/>
              <a:gd name="connsiteX4842" fmla="*/ 4140964 w 6886183"/>
              <a:gd name="connsiteY4842" fmla="*/ 1776699 h 2705233"/>
              <a:gd name="connsiteX4843" fmla="*/ 4192828 w 6886183"/>
              <a:gd name="connsiteY4843" fmla="*/ 1768664 h 2705233"/>
              <a:gd name="connsiteX4844" fmla="*/ 5226433 w 6886183"/>
              <a:gd name="connsiteY4844" fmla="*/ 1764222 h 2705233"/>
              <a:gd name="connsiteX4845" fmla="*/ 5239196 w 6886183"/>
              <a:gd name="connsiteY4845" fmla="*/ 1771271 h 2705233"/>
              <a:gd name="connsiteX4846" fmla="*/ 5218717 w 6886183"/>
              <a:gd name="connsiteY4846" fmla="*/ 1779366 h 2705233"/>
              <a:gd name="connsiteX4847" fmla="*/ 5205763 w 6886183"/>
              <a:gd name="connsiteY4847" fmla="*/ 1782795 h 2705233"/>
              <a:gd name="connsiteX4848" fmla="*/ 5193667 w 6886183"/>
              <a:gd name="connsiteY4848" fmla="*/ 1784891 h 2705233"/>
              <a:gd name="connsiteX4849" fmla="*/ 5180427 w 6886183"/>
              <a:gd name="connsiteY4849" fmla="*/ 1778318 h 2705233"/>
              <a:gd name="connsiteX4850" fmla="*/ 5200906 w 6886183"/>
              <a:gd name="connsiteY4850" fmla="*/ 1769651 h 2705233"/>
              <a:gd name="connsiteX4851" fmla="*/ 5214050 w 6886183"/>
              <a:gd name="connsiteY4851" fmla="*/ 1766222 h 2705233"/>
              <a:gd name="connsiteX4852" fmla="*/ 5226433 w 6886183"/>
              <a:gd name="connsiteY4852" fmla="*/ 1764222 h 2705233"/>
              <a:gd name="connsiteX4853" fmla="*/ 4597878 w 6886183"/>
              <a:gd name="connsiteY4853" fmla="*/ 1763937 h 2705233"/>
              <a:gd name="connsiteX4854" fmla="*/ 4607403 w 6886183"/>
              <a:gd name="connsiteY4854" fmla="*/ 1774032 h 2705233"/>
              <a:gd name="connsiteX4855" fmla="*/ 4598830 w 6886183"/>
              <a:gd name="connsiteY4855" fmla="*/ 1783557 h 2705233"/>
              <a:gd name="connsiteX4856" fmla="*/ 4591877 w 6886183"/>
              <a:gd name="connsiteY4856" fmla="*/ 1788510 h 2705233"/>
              <a:gd name="connsiteX4857" fmla="*/ 4587877 w 6886183"/>
              <a:gd name="connsiteY4857" fmla="*/ 1790986 h 2705233"/>
              <a:gd name="connsiteX4858" fmla="*/ 4585495 w 6886183"/>
              <a:gd name="connsiteY4858" fmla="*/ 1792414 h 2705233"/>
              <a:gd name="connsiteX4859" fmla="*/ 4582828 w 6886183"/>
              <a:gd name="connsiteY4859" fmla="*/ 1793749 h 2705233"/>
              <a:gd name="connsiteX4860" fmla="*/ 4534441 w 6886183"/>
              <a:gd name="connsiteY4860" fmla="*/ 1813465 h 2705233"/>
              <a:gd name="connsiteX4861" fmla="*/ 4481578 w 6886183"/>
              <a:gd name="connsiteY4861" fmla="*/ 1811179 h 2705233"/>
              <a:gd name="connsiteX4862" fmla="*/ 4559016 w 6886183"/>
              <a:gd name="connsiteY4862" fmla="*/ 1769842 h 2705233"/>
              <a:gd name="connsiteX4863" fmla="*/ 4571589 w 6886183"/>
              <a:gd name="connsiteY4863" fmla="*/ 1766509 h 2705233"/>
              <a:gd name="connsiteX4864" fmla="*/ 4582352 w 6886183"/>
              <a:gd name="connsiteY4864" fmla="*/ 1764414 h 2705233"/>
              <a:gd name="connsiteX4865" fmla="*/ 4597878 w 6886183"/>
              <a:gd name="connsiteY4865" fmla="*/ 1763937 h 2705233"/>
              <a:gd name="connsiteX4866" fmla="*/ 4983462 w 6886183"/>
              <a:gd name="connsiteY4866" fmla="*/ 1763603 h 2705233"/>
              <a:gd name="connsiteX4867" fmla="*/ 4984593 w 6886183"/>
              <a:gd name="connsiteY4867" fmla="*/ 1771747 h 2705233"/>
              <a:gd name="connsiteX4868" fmla="*/ 4929443 w 6886183"/>
              <a:gd name="connsiteY4868" fmla="*/ 1794320 h 2705233"/>
              <a:gd name="connsiteX4869" fmla="*/ 4903726 w 6886183"/>
              <a:gd name="connsiteY4869" fmla="*/ 1788033 h 2705233"/>
              <a:gd name="connsiteX4870" fmla="*/ 4926300 w 6886183"/>
              <a:gd name="connsiteY4870" fmla="*/ 1774985 h 2705233"/>
              <a:gd name="connsiteX4871" fmla="*/ 4942683 w 6886183"/>
              <a:gd name="connsiteY4871" fmla="*/ 1768889 h 2705233"/>
              <a:gd name="connsiteX4872" fmla="*/ 4946874 w 6886183"/>
              <a:gd name="connsiteY4872" fmla="*/ 1767556 h 2705233"/>
              <a:gd name="connsiteX4873" fmla="*/ 4951160 w 6886183"/>
              <a:gd name="connsiteY4873" fmla="*/ 1766413 h 2705233"/>
              <a:gd name="connsiteX4874" fmla="*/ 4959542 w 6886183"/>
              <a:gd name="connsiteY4874" fmla="*/ 1764604 h 2705233"/>
              <a:gd name="connsiteX4875" fmla="*/ 4983462 w 6886183"/>
              <a:gd name="connsiteY4875" fmla="*/ 1763603 h 2705233"/>
              <a:gd name="connsiteX4876" fmla="*/ 5713542 w 6886183"/>
              <a:gd name="connsiteY4876" fmla="*/ 1759743 h 2705233"/>
              <a:gd name="connsiteX4877" fmla="*/ 5716113 w 6886183"/>
              <a:gd name="connsiteY4877" fmla="*/ 1763077 h 2705233"/>
              <a:gd name="connsiteX4878" fmla="*/ 5698111 w 6886183"/>
              <a:gd name="connsiteY4878" fmla="*/ 1765077 h 2705233"/>
              <a:gd name="connsiteX4879" fmla="*/ 5693349 w 6886183"/>
              <a:gd name="connsiteY4879" fmla="*/ 1764029 h 2705233"/>
              <a:gd name="connsiteX4880" fmla="*/ 5695635 w 6886183"/>
              <a:gd name="connsiteY4880" fmla="*/ 1762124 h 2705233"/>
              <a:gd name="connsiteX4881" fmla="*/ 5713542 w 6886183"/>
              <a:gd name="connsiteY4881" fmla="*/ 1759743 h 2705233"/>
              <a:gd name="connsiteX4882" fmla="*/ 4804654 w 6886183"/>
              <a:gd name="connsiteY4882" fmla="*/ 1758067 h 2705233"/>
              <a:gd name="connsiteX4883" fmla="*/ 4809142 w 6886183"/>
              <a:gd name="connsiteY4883" fmla="*/ 1767270 h 2705233"/>
              <a:gd name="connsiteX4884" fmla="*/ 4785330 w 6886183"/>
              <a:gd name="connsiteY4884" fmla="*/ 1783366 h 2705233"/>
              <a:gd name="connsiteX4885" fmla="*/ 4776472 w 6886183"/>
              <a:gd name="connsiteY4885" fmla="*/ 1787272 h 2705233"/>
              <a:gd name="connsiteX4886" fmla="*/ 4766947 w 6886183"/>
              <a:gd name="connsiteY4886" fmla="*/ 1791081 h 2705233"/>
              <a:gd name="connsiteX4887" fmla="*/ 4747420 w 6886183"/>
              <a:gd name="connsiteY4887" fmla="*/ 1797177 h 2705233"/>
              <a:gd name="connsiteX4888" fmla="*/ 4718369 w 6886183"/>
              <a:gd name="connsiteY4888" fmla="*/ 1800416 h 2705233"/>
              <a:gd name="connsiteX4889" fmla="*/ 4712749 w 6886183"/>
              <a:gd name="connsiteY4889" fmla="*/ 1792320 h 2705233"/>
              <a:gd name="connsiteX4890" fmla="*/ 4736086 w 6886183"/>
              <a:gd name="connsiteY4890" fmla="*/ 1775651 h 2705233"/>
              <a:gd name="connsiteX4891" fmla="*/ 4755136 w 6886183"/>
              <a:gd name="connsiteY4891" fmla="*/ 1767556 h 2705233"/>
              <a:gd name="connsiteX4892" fmla="*/ 4765232 w 6886183"/>
              <a:gd name="connsiteY4892" fmla="*/ 1764032 h 2705233"/>
              <a:gd name="connsiteX4893" fmla="*/ 4769899 w 6886183"/>
              <a:gd name="connsiteY4893" fmla="*/ 1762127 h 2705233"/>
              <a:gd name="connsiteX4894" fmla="*/ 4774948 w 6886183"/>
              <a:gd name="connsiteY4894" fmla="*/ 1760793 h 2705233"/>
              <a:gd name="connsiteX4895" fmla="*/ 4804654 w 6886183"/>
              <a:gd name="connsiteY4895" fmla="*/ 1758067 h 2705233"/>
              <a:gd name="connsiteX4896" fmla="*/ 5325303 w 6886183"/>
              <a:gd name="connsiteY4896" fmla="*/ 1757650 h 2705233"/>
              <a:gd name="connsiteX4897" fmla="*/ 5337304 w 6886183"/>
              <a:gd name="connsiteY4897" fmla="*/ 1763555 h 2705233"/>
              <a:gd name="connsiteX4898" fmla="*/ 5319874 w 6886183"/>
              <a:gd name="connsiteY4898" fmla="*/ 1770223 h 2705233"/>
              <a:gd name="connsiteX4899" fmla="*/ 5308444 w 6886183"/>
              <a:gd name="connsiteY4899" fmla="*/ 1772984 h 2705233"/>
              <a:gd name="connsiteX4900" fmla="*/ 5297204 w 6886183"/>
              <a:gd name="connsiteY4900" fmla="*/ 1774794 h 2705233"/>
              <a:gd name="connsiteX4901" fmla="*/ 5284250 w 6886183"/>
              <a:gd name="connsiteY4901" fmla="*/ 1769079 h 2705233"/>
              <a:gd name="connsiteX4902" fmla="*/ 5302252 w 6886183"/>
              <a:gd name="connsiteY4902" fmla="*/ 1762031 h 2705233"/>
              <a:gd name="connsiteX4903" fmla="*/ 5308063 w 6886183"/>
              <a:gd name="connsiteY4903" fmla="*/ 1760412 h 2705233"/>
              <a:gd name="connsiteX4904" fmla="*/ 5313968 w 6886183"/>
              <a:gd name="connsiteY4904" fmla="*/ 1759269 h 2705233"/>
              <a:gd name="connsiteX4905" fmla="*/ 5325303 w 6886183"/>
              <a:gd name="connsiteY4905" fmla="*/ 1757650 h 2705233"/>
              <a:gd name="connsiteX4906" fmla="*/ 5615719 w 6886183"/>
              <a:gd name="connsiteY4906" fmla="*/ 1754409 h 2705233"/>
              <a:gd name="connsiteX4907" fmla="*/ 5622387 w 6886183"/>
              <a:gd name="connsiteY4907" fmla="*/ 1754409 h 2705233"/>
              <a:gd name="connsiteX4908" fmla="*/ 5626197 w 6886183"/>
              <a:gd name="connsiteY4908" fmla="*/ 1758695 h 2705233"/>
              <a:gd name="connsiteX4909" fmla="*/ 5615243 w 6886183"/>
              <a:gd name="connsiteY4909" fmla="*/ 1761362 h 2705233"/>
              <a:gd name="connsiteX4910" fmla="*/ 5602575 w 6886183"/>
              <a:gd name="connsiteY4910" fmla="*/ 1762601 h 2705233"/>
              <a:gd name="connsiteX4911" fmla="*/ 5597050 w 6886183"/>
              <a:gd name="connsiteY4911" fmla="*/ 1758410 h 2705233"/>
              <a:gd name="connsiteX4912" fmla="*/ 5608671 w 6886183"/>
              <a:gd name="connsiteY4912" fmla="*/ 1755362 h 2705233"/>
              <a:gd name="connsiteX4913" fmla="*/ 5429887 w 6886183"/>
              <a:gd name="connsiteY4913" fmla="*/ 1752695 h 2705233"/>
              <a:gd name="connsiteX4914" fmla="*/ 5437888 w 6886183"/>
              <a:gd name="connsiteY4914" fmla="*/ 1758696 h 2705233"/>
              <a:gd name="connsiteX4915" fmla="*/ 5403503 w 6886183"/>
              <a:gd name="connsiteY4915" fmla="*/ 1766697 h 2705233"/>
              <a:gd name="connsiteX4916" fmla="*/ 5393311 w 6886183"/>
              <a:gd name="connsiteY4916" fmla="*/ 1761268 h 2705233"/>
              <a:gd name="connsiteX4917" fmla="*/ 5400360 w 6886183"/>
              <a:gd name="connsiteY4917" fmla="*/ 1758315 h 2705233"/>
              <a:gd name="connsiteX4918" fmla="*/ 5409885 w 6886183"/>
              <a:gd name="connsiteY4918" fmla="*/ 1755744 h 2705233"/>
              <a:gd name="connsiteX4919" fmla="*/ 5429887 w 6886183"/>
              <a:gd name="connsiteY4919" fmla="*/ 1752695 h 2705233"/>
              <a:gd name="connsiteX4920" fmla="*/ 5526185 w 6886183"/>
              <a:gd name="connsiteY4920" fmla="*/ 1752600 h 2705233"/>
              <a:gd name="connsiteX4921" fmla="*/ 5535710 w 6886183"/>
              <a:gd name="connsiteY4921" fmla="*/ 1753933 h 2705233"/>
              <a:gd name="connsiteX4922" fmla="*/ 5531900 w 6886183"/>
              <a:gd name="connsiteY4922" fmla="*/ 1757743 h 2705233"/>
              <a:gd name="connsiteX4923" fmla="*/ 5501325 w 6886183"/>
              <a:gd name="connsiteY4923" fmla="*/ 1763744 h 2705233"/>
              <a:gd name="connsiteX4924" fmla="*/ 5495705 w 6886183"/>
              <a:gd name="connsiteY4924" fmla="*/ 1758600 h 2705233"/>
              <a:gd name="connsiteX4925" fmla="*/ 5526185 w 6886183"/>
              <a:gd name="connsiteY4925" fmla="*/ 1752600 h 2705233"/>
              <a:gd name="connsiteX4926" fmla="*/ 1192523 w 6886183"/>
              <a:gd name="connsiteY4926" fmla="*/ 1752218 h 2705233"/>
              <a:gd name="connsiteX4927" fmla="*/ 1218145 w 6886183"/>
              <a:gd name="connsiteY4927" fmla="*/ 1753552 h 2705233"/>
              <a:gd name="connsiteX4928" fmla="*/ 1244434 w 6886183"/>
              <a:gd name="connsiteY4928" fmla="*/ 1758410 h 2705233"/>
              <a:gd name="connsiteX4929" fmla="*/ 1269199 w 6886183"/>
              <a:gd name="connsiteY4929" fmla="*/ 1766125 h 2705233"/>
              <a:gd name="connsiteX4930" fmla="*/ 1290630 w 6886183"/>
              <a:gd name="connsiteY4930" fmla="*/ 1776412 h 2705233"/>
              <a:gd name="connsiteX4931" fmla="*/ 1306156 w 6886183"/>
              <a:gd name="connsiteY4931" fmla="*/ 1795462 h 2705233"/>
              <a:gd name="connsiteX4932" fmla="*/ 1297774 w 6886183"/>
              <a:gd name="connsiteY4932" fmla="*/ 1801463 h 2705233"/>
              <a:gd name="connsiteX4933" fmla="*/ 1289582 w 6886183"/>
              <a:gd name="connsiteY4933" fmla="*/ 1803368 h 2705233"/>
              <a:gd name="connsiteX4934" fmla="*/ 1278914 w 6886183"/>
              <a:gd name="connsiteY4934" fmla="*/ 1804415 h 2705233"/>
              <a:gd name="connsiteX4935" fmla="*/ 1253578 w 6886183"/>
              <a:gd name="connsiteY4935" fmla="*/ 1803653 h 2705233"/>
              <a:gd name="connsiteX4936" fmla="*/ 1227575 w 6886183"/>
              <a:gd name="connsiteY4936" fmla="*/ 1799081 h 2705233"/>
              <a:gd name="connsiteX4937" fmla="*/ 1202905 w 6886183"/>
              <a:gd name="connsiteY4937" fmla="*/ 1791271 h 2705233"/>
              <a:gd name="connsiteX4938" fmla="*/ 1181569 w 6886183"/>
              <a:gd name="connsiteY4938" fmla="*/ 1780603 h 2705233"/>
              <a:gd name="connsiteX4939" fmla="*/ 1165091 w 6886183"/>
              <a:gd name="connsiteY4939" fmla="*/ 1760505 h 2705233"/>
              <a:gd name="connsiteX4940" fmla="*/ 1192523 w 6886183"/>
              <a:gd name="connsiteY4940" fmla="*/ 1752218 h 2705233"/>
              <a:gd name="connsiteX4941" fmla="*/ 3426503 w 6886183"/>
              <a:gd name="connsiteY4941" fmla="*/ 1750400 h 2705233"/>
              <a:gd name="connsiteX4942" fmla="*/ 3457845 w 6886183"/>
              <a:gd name="connsiteY4942" fmla="*/ 1762890 h 2705233"/>
              <a:gd name="connsiteX4943" fmla="*/ 3391185 w 6886183"/>
              <a:gd name="connsiteY4943" fmla="*/ 1809560 h 2705233"/>
              <a:gd name="connsiteX4944" fmla="*/ 3303379 w 6886183"/>
              <a:gd name="connsiteY4944" fmla="*/ 1803464 h 2705233"/>
              <a:gd name="connsiteX4945" fmla="*/ 3367954 w 6886183"/>
              <a:gd name="connsiteY4945" fmla="*/ 1756984 h 2705233"/>
              <a:gd name="connsiteX4946" fmla="*/ 3426503 w 6886183"/>
              <a:gd name="connsiteY4946" fmla="*/ 1750400 h 2705233"/>
              <a:gd name="connsiteX4947" fmla="*/ 4034891 w 6886183"/>
              <a:gd name="connsiteY4947" fmla="*/ 1748613 h 2705233"/>
              <a:gd name="connsiteX4948" fmla="*/ 4054477 w 6886183"/>
              <a:gd name="connsiteY4948" fmla="*/ 1760602 h 2705233"/>
              <a:gd name="connsiteX4949" fmla="*/ 3979325 w 6886183"/>
              <a:gd name="connsiteY4949" fmla="*/ 1806606 h 2705233"/>
              <a:gd name="connsiteX4950" fmla="*/ 3905411 w 6886183"/>
              <a:gd name="connsiteY4950" fmla="*/ 1803463 h 2705233"/>
              <a:gd name="connsiteX4951" fmla="*/ 3982373 w 6886183"/>
              <a:gd name="connsiteY4951" fmla="*/ 1756411 h 2705233"/>
              <a:gd name="connsiteX4952" fmla="*/ 4034891 w 6886183"/>
              <a:gd name="connsiteY4952" fmla="*/ 1748613 h 2705233"/>
              <a:gd name="connsiteX4953" fmla="*/ 5092738 w 6886183"/>
              <a:gd name="connsiteY4953" fmla="*/ 1747267 h 2705233"/>
              <a:gd name="connsiteX4954" fmla="*/ 5092797 w 6886183"/>
              <a:gd name="connsiteY4954" fmla="*/ 1754603 h 2705233"/>
              <a:gd name="connsiteX4955" fmla="*/ 5071080 w 6886183"/>
              <a:gd name="connsiteY4955" fmla="*/ 1765746 h 2705233"/>
              <a:gd name="connsiteX4956" fmla="*/ 5056031 w 6886183"/>
              <a:gd name="connsiteY4956" fmla="*/ 1770604 h 2705233"/>
              <a:gd name="connsiteX4957" fmla="*/ 5040410 w 6886183"/>
              <a:gd name="connsiteY4957" fmla="*/ 1774223 h 2705233"/>
              <a:gd name="connsiteX4958" fmla="*/ 5018312 w 6886183"/>
              <a:gd name="connsiteY4958" fmla="*/ 1767937 h 2705233"/>
              <a:gd name="connsiteX4959" fmla="*/ 5039743 w 6886183"/>
              <a:gd name="connsiteY4959" fmla="*/ 1756316 h 2705233"/>
              <a:gd name="connsiteX4960" fmla="*/ 5055078 w 6886183"/>
              <a:gd name="connsiteY4960" fmla="*/ 1751173 h 2705233"/>
              <a:gd name="connsiteX4961" fmla="*/ 5071176 w 6886183"/>
              <a:gd name="connsiteY4961" fmla="*/ 1747648 h 2705233"/>
              <a:gd name="connsiteX4962" fmla="*/ 5092738 w 6886183"/>
              <a:gd name="connsiteY4962" fmla="*/ 1747267 h 2705233"/>
              <a:gd name="connsiteX4963" fmla="*/ 4494151 w 6886183"/>
              <a:gd name="connsiteY4963" fmla="*/ 1742839 h 2705233"/>
              <a:gd name="connsiteX4964" fmla="*/ 4506724 w 6886183"/>
              <a:gd name="connsiteY4964" fmla="*/ 1753459 h 2705233"/>
              <a:gd name="connsiteX4965" fmla="*/ 4428143 w 6886183"/>
              <a:gd name="connsiteY4965" fmla="*/ 1796510 h 2705233"/>
              <a:gd name="connsiteX4966" fmla="*/ 4369850 w 6886183"/>
              <a:gd name="connsiteY4966" fmla="*/ 1794225 h 2705233"/>
              <a:gd name="connsiteX4967" fmla="*/ 4449003 w 6886183"/>
              <a:gd name="connsiteY4967" fmla="*/ 1750220 h 2705233"/>
              <a:gd name="connsiteX4968" fmla="*/ 4494151 w 6886183"/>
              <a:gd name="connsiteY4968" fmla="*/ 1742839 h 2705233"/>
              <a:gd name="connsiteX4969" fmla="*/ 1504470 w 6886183"/>
              <a:gd name="connsiteY4969" fmla="*/ 1742694 h 2705233"/>
              <a:gd name="connsiteX4970" fmla="*/ 1533045 w 6886183"/>
              <a:gd name="connsiteY4970" fmla="*/ 1742694 h 2705233"/>
              <a:gd name="connsiteX4971" fmla="*/ 1562666 w 6886183"/>
              <a:gd name="connsiteY4971" fmla="*/ 1746885 h 2705233"/>
              <a:gd name="connsiteX4972" fmla="*/ 1610291 w 6886183"/>
              <a:gd name="connsiteY4972" fmla="*/ 1764030 h 2705233"/>
              <a:gd name="connsiteX4973" fmla="*/ 1618579 w 6886183"/>
              <a:gd name="connsiteY4973" fmla="*/ 1783080 h 2705233"/>
              <a:gd name="connsiteX4974" fmla="*/ 1607624 w 6886183"/>
              <a:gd name="connsiteY4974" fmla="*/ 1790700 h 2705233"/>
              <a:gd name="connsiteX4975" fmla="*/ 1588003 w 6886183"/>
              <a:gd name="connsiteY4975" fmla="*/ 1794986 h 2705233"/>
              <a:gd name="connsiteX4976" fmla="*/ 1560667 w 6886183"/>
              <a:gd name="connsiteY4976" fmla="*/ 1795558 h 2705233"/>
              <a:gd name="connsiteX4977" fmla="*/ 1531425 w 6886183"/>
              <a:gd name="connsiteY4977" fmla="*/ 1792034 h 2705233"/>
              <a:gd name="connsiteX4978" fmla="*/ 1482657 w 6886183"/>
              <a:gd name="connsiteY4978" fmla="*/ 1774984 h 2705233"/>
              <a:gd name="connsiteX4979" fmla="*/ 1471227 w 6886183"/>
              <a:gd name="connsiteY4979" fmla="*/ 1754219 h 2705233"/>
              <a:gd name="connsiteX4980" fmla="*/ 1482562 w 6886183"/>
              <a:gd name="connsiteY4980" fmla="*/ 1746790 h 2705233"/>
              <a:gd name="connsiteX4981" fmla="*/ 1504470 w 6886183"/>
              <a:gd name="connsiteY4981" fmla="*/ 1742694 h 2705233"/>
              <a:gd name="connsiteX4982" fmla="*/ 2579103 w 6886183"/>
              <a:gd name="connsiteY4982" fmla="*/ 1736123 h 2705233"/>
              <a:gd name="connsiteX4983" fmla="*/ 2622240 w 6886183"/>
              <a:gd name="connsiteY4983" fmla="*/ 1749839 h 2705233"/>
              <a:gd name="connsiteX4984" fmla="*/ 2577281 w 6886183"/>
              <a:gd name="connsiteY4984" fmla="*/ 1791367 h 2705233"/>
              <a:gd name="connsiteX4985" fmla="*/ 2519560 w 6886183"/>
              <a:gd name="connsiteY4985" fmla="*/ 1794510 h 2705233"/>
              <a:gd name="connsiteX4986" fmla="*/ 2476507 w 6886183"/>
              <a:gd name="connsiteY4986" fmla="*/ 1782319 h 2705233"/>
              <a:gd name="connsiteX4987" fmla="*/ 2517464 w 6886183"/>
              <a:gd name="connsiteY4987" fmla="*/ 1739553 h 2705233"/>
              <a:gd name="connsiteX4988" fmla="*/ 2579103 w 6886183"/>
              <a:gd name="connsiteY4988" fmla="*/ 1736123 h 2705233"/>
              <a:gd name="connsiteX4989" fmla="*/ 5203466 w 6886183"/>
              <a:gd name="connsiteY4989" fmla="*/ 1735600 h 2705233"/>
              <a:gd name="connsiteX4990" fmla="*/ 5200906 w 6886183"/>
              <a:gd name="connsiteY4990" fmla="*/ 1743173 h 2705233"/>
              <a:gd name="connsiteX4991" fmla="*/ 5180142 w 6886183"/>
              <a:gd name="connsiteY4991" fmla="*/ 1752697 h 2705233"/>
              <a:gd name="connsiteX4992" fmla="*/ 5166521 w 6886183"/>
              <a:gd name="connsiteY4992" fmla="*/ 1756411 h 2705233"/>
              <a:gd name="connsiteX4993" fmla="*/ 5159472 w 6886183"/>
              <a:gd name="connsiteY4993" fmla="*/ 1757840 h 2705233"/>
              <a:gd name="connsiteX4994" fmla="*/ 5152424 w 6886183"/>
              <a:gd name="connsiteY4994" fmla="*/ 1759078 h 2705233"/>
              <a:gd name="connsiteX4995" fmla="*/ 5134612 w 6886183"/>
              <a:gd name="connsiteY4995" fmla="*/ 1751935 h 2705233"/>
              <a:gd name="connsiteX4996" fmla="*/ 5154805 w 6886183"/>
              <a:gd name="connsiteY4996" fmla="*/ 1742411 h 2705233"/>
              <a:gd name="connsiteX4997" fmla="*/ 5161473 w 6886183"/>
              <a:gd name="connsiteY4997" fmla="*/ 1740315 h 2705233"/>
              <a:gd name="connsiteX4998" fmla="*/ 5168521 w 6886183"/>
              <a:gd name="connsiteY4998" fmla="*/ 1738504 h 2705233"/>
              <a:gd name="connsiteX4999" fmla="*/ 5183094 w 6886183"/>
              <a:gd name="connsiteY4999" fmla="*/ 1735743 h 2705233"/>
              <a:gd name="connsiteX5000" fmla="*/ 5203466 w 6886183"/>
              <a:gd name="connsiteY5000" fmla="*/ 1735600 h 2705233"/>
              <a:gd name="connsiteX5001" fmla="*/ 4927872 w 6886183"/>
              <a:gd name="connsiteY5001" fmla="*/ 1734564 h 2705233"/>
              <a:gd name="connsiteX5002" fmla="*/ 4928205 w 6886183"/>
              <a:gd name="connsiteY5002" fmla="*/ 1744602 h 2705233"/>
              <a:gd name="connsiteX5003" fmla="*/ 4904012 w 6886183"/>
              <a:gd name="connsiteY5003" fmla="*/ 1758888 h 2705233"/>
              <a:gd name="connsiteX5004" fmla="*/ 4886962 w 6886183"/>
              <a:gd name="connsiteY5004" fmla="*/ 1765080 h 2705233"/>
              <a:gd name="connsiteX5005" fmla="*/ 4868674 w 6886183"/>
              <a:gd name="connsiteY5005" fmla="*/ 1770033 h 2705233"/>
              <a:gd name="connsiteX5006" fmla="*/ 4840575 w 6886183"/>
              <a:gd name="connsiteY5006" fmla="*/ 1762890 h 2705233"/>
              <a:gd name="connsiteX5007" fmla="*/ 4863816 w 6886183"/>
              <a:gd name="connsiteY5007" fmla="*/ 1748030 h 2705233"/>
              <a:gd name="connsiteX5008" fmla="*/ 4881057 w 6886183"/>
              <a:gd name="connsiteY5008" fmla="*/ 1741362 h 2705233"/>
              <a:gd name="connsiteX5009" fmla="*/ 4900107 w 6886183"/>
              <a:gd name="connsiteY5009" fmla="*/ 1736314 h 2705233"/>
              <a:gd name="connsiteX5010" fmla="*/ 4927872 w 6886183"/>
              <a:gd name="connsiteY5010" fmla="*/ 1734564 h 2705233"/>
              <a:gd name="connsiteX5011" fmla="*/ 4731466 w 6886183"/>
              <a:gd name="connsiteY5011" fmla="*/ 1730671 h 2705233"/>
              <a:gd name="connsiteX5012" fmla="*/ 4736371 w 6886183"/>
              <a:gd name="connsiteY5012" fmla="*/ 1741744 h 2705233"/>
              <a:gd name="connsiteX5013" fmla="*/ 4711797 w 6886183"/>
              <a:gd name="connsiteY5013" fmla="*/ 1759460 h 2705233"/>
              <a:gd name="connsiteX5014" fmla="*/ 4707415 w 6886183"/>
              <a:gd name="connsiteY5014" fmla="*/ 1761555 h 2705233"/>
              <a:gd name="connsiteX5015" fmla="*/ 4702748 w 6886183"/>
              <a:gd name="connsiteY5015" fmla="*/ 1763746 h 2705233"/>
              <a:gd name="connsiteX5016" fmla="*/ 4693223 w 6886183"/>
              <a:gd name="connsiteY5016" fmla="*/ 1767842 h 2705233"/>
              <a:gd name="connsiteX5017" fmla="*/ 4672363 w 6886183"/>
              <a:gd name="connsiteY5017" fmla="*/ 1774700 h 2705233"/>
              <a:gd name="connsiteX5018" fmla="*/ 4640074 w 6886183"/>
              <a:gd name="connsiteY5018" fmla="*/ 1778890 h 2705233"/>
              <a:gd name="connsiteX5019" fmla="*/ 4633311 w 6886183"/>
              <a:gd name="connsiteY5019" fmla="*/ 1769747 h 2705233"/>
              <a:gd name="connsiteX5020" fmla="*/ 4641788 w 6886183"/>
              <a:gd name="connsiteY5020" fmla="*/ 1760222 h 2705233"/>
              <a:gd name="connsiteX5021" fmla="*/ 4656552 w 6886183"/>
              <a:gd name="connsiteY5021" fmla="*/ 1750697 h 2705233"/>
              <a:gd name="connsiteX5022" fmla="*/ 4697128 w 6886183"/>
              <a:gd name="connsiteY5022" fmla="*/ 1734599 h 2705233"/>
              <a:gd name="connsiteX5023" fmla="*/ 4731466 w 6886183"/>
              <a:gd name="connsiteY5023" fmla="*/ 1730671 h 2705233"/>
              <a:gd name="connsiteX5024" fmla="*/ 207249 w 6886183"/>
              <a:gd name="connsiteY5024" fmla="*/ 1728120 h 2705233"/>
              <a:gd name="connsiteX5025" fmla="*/ 213535 w 6886183"/>
              <a:gd name="connsiteY5025" fmla="*/ 1731549 h 2705233"/>
              <a:gd name="connsiteX5026" fmla="*/ 219156 w 6886183"/>
              <a:gd name="connsiteY5026" fmla="*/ 1737645 h 2705233"/>
              <a:gd name="connsiteX5027" fmla="*/ 226584 w 6886183"/>
              <a:gd name="connsiteY5027" fmla="*/ 1746408 h 2705233"/>
              <a:gd name="connsiteX5028" fmla="*/ 234585 w 6886183"/>
              <a:gd name="connsiteY5028" fmla="*/ 1756505 h 2705233"/>
              <a:gd name="connsiteX5029" fmla="*/ 238872 w 6886183"/>
              <a:gd name="connsiteY5029" fmla="*/ 1762125 h 2705233"/>
              <a:gd name="connsiteX5030" fmla="*/ 241062 w 6886183"/>
              <a:gd name="connsiteY5030" fmla="*/ 1765077 h 2705233"/>
              <a:gd name="connsiteX5031" fmla="*/ 243348 w 6886183"/>
              <a:gd name="connsiteY5031" fmla="*/ 1767935 h 2705233"/>
              <a:gd name="connsiteX5032" fmla="*/ 252872 w 6886183"/>
              <a:gd name="connsiteY5032" fmla="*/ 1779936 h 2705233"/>
              <a:gd name="connsiteX5033" fmla="*/ 257636 w 6886183"/>
              <a:gd name="connsiteY5033" fmla="*/ 1786128 h 2705233"/>
              <a:gd name="connsiteX5034" fmla="*/ 262494 w 6886183"/>
              <a:gd name="connsiteY5034" fmla="*/ 1792414 h 2705233"/>
              <a:gd name="connsiteX5035" fmla="*/ 281544 w 6886183"/>
              <a:gd name="connsiteY5035" fmla="*/ 1816608 h 2705233"/>
              <a:gd name="connsiteX5036" fmla="*/ 297830 w 6886183"/>
              <a:gd name="connsiteY5036" fmla="*/ 1837467 h 2705233"/>
              <a:gd name="connsiteX5037" fmla="*/ 301260 w 6886183"/>
              <a:gd name="connsiteY5037" fmla="*/ 1842325 h 2705233"/>
              <a:gd name="connsiteX5038" fmla="*/ 304213 w 6886183"/>
              <a:gd name="connsiteY5038" fmla="*/ 1846516 h 2705233"/>
              <a:gd name="connsiteX5039" fmla="*/ 308403 w 6886183"/>
              <a:gd name="connsiteY5039" fmla="*/ 1853183 h 2705233"/>
              <a:gd name="connsiteX5040" fmla="*/ 310309 w 6886183"/>
              <a:gd name="connsiteY5040" fmla="*/ 1860327 h 2705233"/>
              <a:gd name="connsiteX5041" fmla="*/ 303546 w 6886183"/>
              <a:gd name="connsiteY5041" fmla="*/ 1858517 h 2705233"/>
              <a:gd name="connsiteX5042" fmla="*/ 288497 w 6886183"/>
              <a:gd name="connsiteY5042" fmla="*/ 1847183 h 2705233"/>
              <a:gd name="connsiteX5043" fmla="*/ 269446 w 6886183"/>
              <a:gd name="connsiteY5043" fmla="*/ 1828704 h 2705233"/>
              <a:gd name="connsiteX5044" fmla="*/ 249254 w 6886183"/>
              <a:gd name="connsiteY5044" fmla="*/ 1805178 h 2705233"/>
              <a:gd name="connsiteX5045" fmla="*/ 244396 w 6886183"/>
              <a:gd name="connsiteY5045" fmla="*/ 1798796 h 2705233"/>
              <a:gd name="connsiteX5046" fmla="*/ 239728 w 6886183"/>
              <a:gd name="connsiteY5046" fmla="*/ 1792319 h 2705233"/>
              <a:gd name="connsiteX5047" fmla="*/ 230870 w 6886183"/>
              <a:gd name="connsiteY5047" fmla="*/ 1779555 h 2705233"/>
              <a:gd name="connsiteX5048" fmla="*/ 223060 w 6886183"/>
              <a:gd name="connsiteY5048" fmla="*/ 1767078 h 2705233"/>
              <a:gd name="connsiteX5049" fmla="*/ 216297 w 6886183"/>
              <a:gd name="connsiteY5049" fmla="*/ 1755457 h 2705233"/>
              <a:gd name="connsiteX5050" fmla="*/ 210963 w 6886183"/>
              <a:gd name="connsiteY5050" fmla="*/ 1744599 h 2705233"/>
              <a:gd name="connsiteX5051" fmla="*/ 207820 w 6886183"/>
              <a:gd name="connsiteY5051" fmla="*/ 1736312 h 2705233"/>
              <a:gd name="connsiteX5052" fmla="*/ 207249 w 6886183"/>
              <a:gd name="connsiteY5052" fmla="*/ 1728120 h 2705233"/>
              <a:gd name="connsiteX5053" fmla="*/ 3858905 w 6886183"/>
              <a:gd name="connsiteY5053" fmla="*/ 1726158 h 2705233"/>
              <a:gd name="connsiteX5054" fmla="*/ 3883694 w 6886183"/>
              <a:gd name="connsiteY5054" fmla="*/ 1738695 h 2705233"/>
              <a:gd name="connsiteX5055" fmla="*/ 3809875 w 6886183"/>
              <a:gd name="connsiteY5055" fmla="*/ 1786319 h 2705233"/>
              <a:gd name="connsiteX5056" fmla="*/ 3729674 w 6886183"/>
              <a:gd name="connsiteY5056" fmla="*/ 1782128 h 2705233"/>
              <a:gd name="connsiteX5057" fmla="*/ 3803398 w 6886183"/>
              <a:gd name="connsiteY5057" fmla="*/ 1733553 h 2705233"/>
              <a:gd name="connsiteX5058" fmla="*/ 3858905 w 6886183"/>
              <a:gd name="connsiteY5058" fmla="*/ 1726158 h 2705233"/>
              <a:gd name="connsiteX5059" fmla="*/ 5704207 w 6886183"/>
              <a:gd name="connsiteY5059" fmla="*/ 1725548 h 2705233"/>
              <a:gd name="connsiteX5060" fmla="*/ 5708207 w 6886183"/>
              <a:gd name="connsiteY5060" fmla="*/ 1730311 h 2705233"/>
              <a:gd name="connsiteX5061" fmla="*/ 5696206 w 6886183"/>
              <a:gd name="connsiteY5061" fmla="*/ 1732692 h 2705233"/>
              <a:gd name="connsiteX5062" fmla="*/ 5682871 w 6886183"/>
              <a:gd name="connsiteY5062" fmla="*/ 1733740 h 2705233"/>
              <a:gd name="connsiteX5063" fmla="*/ 5678680 w 6886183"/>
              <a:gd name="connsiteY5063" fmla="*/ 1729168 h 2705233"/>
              <a:gd name="connsiteX5064" fmla="*/ 5704207 w 6886183"/>
              <a:gd name="connsiteY5064" fmla="*/ 1725548 h 2705233"/>
              <a:gd name="connsiteX5065" fmla="*/ 5294155 w 6886183"/>
              <a:gd name="connsiteY5065" fmla="*/ 1725266 h 2705233"/>
              <a:gd name="connsiteX5066" fmla="*/ 5304442 w 6886183"/>
              <a:gd name="connsiteY5066" fmla="*/ 1725266 h 2705233"/>
              <a:gd name="connsiteX5067" fmla="*/ 5310443 w 6886183"/>
              <a:gd name="connsiteY5067" fmla="*/ 1726694 h 2705233"/>
              <a:gd name="connsiteX5068" fmla="*/ 5307395 w 6886183"/>
              <a:gd name="connsiteY5068" fmla="*/ 1732886 h 2705233"/>
              <a:gd name="connsiteX5069" fmla="*/ 5260627 w 6886183"/>
              <a:gd name="connsiteY5069" fmla="*/ 1746316 h 2705233"/>
              <a:gd name="connsiteX5070" fmla="*/ 5246530 w 6886183"/>
              <a:gd name="connsiteY5070" fmla="*/ 1739076 h 2705233"/>
              <a:gd name="connsiteX5071" fmla="*/ 5294155 w 6886183"/>
              <a:gd name="connsiteY5071" fmla="*/ 1725266 h 2705233"/>
              <a:gd name="connsiteX5072" fmla="*/ 3163367 w 6886183"/>
              <a:gd name="connsiteY5072" fmla="*/ 1722502 h 2705233"/>
              <a:gd name="connsiteX5073" fmla="*/ 3197274 w 6886183"/>
              <a:gd name="connsiteY5073" fmla="*/ 1735837 h 2705233"/>
              <a:gd name="connsiteX5074" fmla="*/ 3137553 w 6886183"/>
              <a:gd name="connsiteY5074" fmla="*/ 1781175 h 2705233"/>
              <a:gd name="connsiteX5075" fmla="*/ 3107836 w 6886183"/>
              <a:gd name="connsiteY5075" fmla="*/ 1786128 h 2705233"/>
              <a:gd name="connsiteX5076" fmla="*/ 3080784 w 6886183"/>
              <a:gd name="connsiteY5076" fmla="*/ 1786128 h 2705233"/>
              <a:gd name="connsiteX5077" fmla="*/ 3045921 w 6886183"/>
              <a:gd name="connsiteY5077" fmla="*/ 1773936 h 2705233"/>
              <a:gd name="connsiteX5078" fmla="*/ 3104978 w 6886183"/>
              <a:gd name="connsiteY5078" fmla="*/ 1727552 h 2705233"/>
              <a:gd name="connsiteX5079" fmla="*/ 3163367 w 6886183"/>
              <a:gd name="connsiteY5079" fmla="*/ 1722502 h 2705233"/>
              <a:gd name="connsiteX5080" fmla="*/ 4366087 w 6886183"/>
              <a:gd name="connsiteY5080" fmla="*/ 1722490 h 2705233"/>
              <a:gd name="connsiteX5081" fmla="*/ 4381279 w 6886183"/>
              <a:gd name="connsiteY5081" fmla="*/ 1733837 h 2705233"/>
              <a:gd name="connsiteX5082" fmla="*/ 4300507 w 6886183"/>
              <a:gd name="connsiteY5082" fmla="*/ 1779651 h 2705233"/>
              <a:gd name="connsiteX5083" fmla="*/ 4238404 w 6886183"/>
              <a:gd name="connsiteY5083" fmla="*/ 1776128 h 2705233"/>
              <a:gd name="connsiteX5084" fmla="*/ 4317748 w 6886183"/>
              <a:gd name="connsiteY5084" fmla="*/ 1730218 h 2705233"/>
              <a:gd name="connsiteX5085" fmla="*/ 4366087 w 6886183"/>
              <a:gd name="connsiteY5085" fmla="*/ 1722490 h 2705233"/>
              <a:gd name="connsiteX5086" fmla="*/ 5605243 w 6886183"/>
              <a:gd name="connsiteY5086" fmla="*/ 1720881 h 2705233"/>
              <a:gd name="connsiteX5087" fmla="*/ 5609815 w 6886183"/>
              <a:gd name="connsiteY5087" fmla="*/ 1726406 h 2705233"/>
              <a:gd name="connsiteX5088" fmla="*/ 5577239 w 6886183"/>
              <a:gd name="connsiteY5088" fmla="*/ 1732025 h 2705233"/>
              <a:gd name="connsiteX5089" fmla="*/ 5572000 w 6886183"/>
              <a:gd name="connsiteY5089" fmla="*/ 1726406 h 2705233"/>
              <a:gd name="connsiteX5090" fmla="*/ 5605243 w 6886183"/>
              <a:gd name="connsiteY5090" fmla="*/ 1720881 h 2705233"/>
              <a:gd name="connsiteX5091" fmla="*/ 5397216 w 6886183"/>
              <a:gd name="connsiteY5091" fmla="*/ 1720693 h 2705233"/>
              <a:gd name="connsiteX5092" fmla="*/ 5409599 w 6886183"/>
              <a:gd name="connsiteY5092" fmla="*/ 1727741 h 2705233"/>
              <a:gd name="connsiteX5093" fmla="*/ 5368070 w 6886183"/>
              <a:gd name="connsiteY5093" fmla="*/ 1738409 h 2705233"/>
              <a:gd name="connsiteX5094" fmla="*/ 5353497 w 6886183"/>
              <a:gd name="connsiteY5094" fmla="*/ 1737552 h 2705233"/>
              <a:gd name="connsiteX5095" fmla="*/ 5354259 w 6886183"/>
              <a:gd name="connsiteY5095" fmla="*/ 1732409 h 2705233"/>
              <a:gd name="connsiteX5096" fmla="*/ 5397216 w 6886183"/>
              <a:gd name="connsiteY5096" fmla="*/ 1720693 h 2705233"/>
              <a:gd name="connsiteX5097" fmla="*/ 861811 w 6886183"/>
              <a:gd name="connsiteY5097" fmla="*/ 1719452 h 2705233"/>
              <a:gd name="connsiteX5098" fmla="*/ 878384 w 6886183"/>
              <a:gd name="connsiteY5098" fmla="*/ 1719452 h 2705233"/>
              <a:gd name="connsiteX5099" fmla="*/ 900196 w 6886183"/>
              <a:gd name="connsiteY5099" fmla="*/ 1724881 h 2705233"/>
              <a:gd name="connsiteX5100" fmla="*/ 924675 w 6886183"/>
              <a:gd name="connsiteY5100" fmla="*/ 1733644 h 2705233"/>
              <a:gd name="connsiteX5101" fmla="*/ 948202 w 6886183"/>
              <a:gd name="connsiteY5101" fmla="*/ 1744217 h 2705233"/>
              <a:gd name="connsiteX5102" fmla="*/ 967252 w 6886183"/>
              <a:gd name="connsiteY5102" fmla="*/ 1755171 h 2705233"/>
              <a:gd name="connsiteX5103" fmla="*/ 979635 w 6886183"/>
              <a:gd name="connsiteY5103" fmla="*/ 1774221 h 2705233"/>
              <a:gd name="connsiteX5104" fmla="*/ 954774 w 6886183"/>
              <a:gd name="connsiteY5104" fmla="*/ 1779650 h 2705233"/>
              <a:gd name="connsiteX5105" fmla="*/ 932677 w 6886183"/>
              <a:gd name="connsiteY5105" fmla="*/ 1775078 h 2705233"/>
              <a:gd name="connsiteX5106" fmla="*/ 920484 w 6886183"/>
              <a:gd name="connsiteY5106" fmla="*/ 1771364 h 2705233"/>
              <a:gd name="connsiteX5107" fmla="*/ 908007 w 6886183"/>
              <a:gd name="connsiteY5107" fmla="*/ 1766792 h 2705233"/>
              <a:gd name="connsiteX5108" fmla="*/ 895910 w 6886183"/>
              <a:gd name="connsiteY5108" fmla="*/ 1761553 h 2705233"/>
              <a:gd name="connsiteX5109" fmla="*/ 884575 w 6886183"/>
              <a:gd name="connsiteY5109" fmla="*/ 1755933 h 2705233"/>
              <a:gd name="connsiteX5110" fmla="*/ 866002 w 6886183"/>
              <a:gd name="connsiteY5110" fmla="*/ 1744789 h 2705233"/>
              <a:gd name="connsiteX5111" fmla="*/ 853714 w 6886183"/>
              <a:gd name="connsiteY5111" fmla="*/ 1724119 h 2705233"/>
              <a:gd name="connsiteX5112" fmla="*/ 861811 w 6886183"/>
              <a:gd name="connsiteY5112" fmla="*/ 1719452 h 2705233"/>
              <a:gd name="connsiteX5113" fmla="*/ 5504468 w 6886183"/>
              <a:gd name="connsiteY5113" fmla="*/ 1718406 h 2705233"/>
              <a:gd name="connsiteX5114" fmla="*/ 5511421 w 6886183"/>
              <a:gd name="connsiteY5114" fmla="*/ 1724882 h 2705233"/>
              <a:gd name="connsiteX5115" fmla="*/ 5493895 w 6886183"/>
              <a:gd name="connsiteY5115" fmla="*/ 1730121 h 2705233"/>
              <a:gd name="connsiteX5116" fmla="*/ 5488657 w 6886183"/>
              <a:gd name="connsiteY5116" fmla="*/ 1731168 h 2705233"/>
              <a:gd name="connsiteX5117" fmla="*/ 5483227 w 6886183"/>
              <a:gd name="connsiteY5117" fmla="*/ 1732026 h 2705233"/>
              <a:gd name="connsiteX5118" fmla="*/ 5473607 w 6886183"/>
              <a:gd name="connsiteY5118" fmla="*/ 1732978 h 2705233"/>
              <a:gd name="connsiteX5119" fmla="*/ 5465892 w 6886183"/>
              <a:gd name="connsiteY5119" fmla="*/ 1726501 h 2705233"/>
              <a:gd name="connsiteX5120" fmla="*/ 5484085 w 6886183"/>
              <a:gd name="connsiteY5120" fmla="*/ 1720881 h 2705233"/>
              <a:gd name="connsiteX5121" fmla="*/ 5489514 w 6886183"/>
              <a:gd name="connsiteY5121" fmla="*/ 1719835 h 2705233"/>
              <a:gd name="connsiteX5122" fmla="*/ 5494943 w 6886183"/>
              <a:gd name="connsiteY5122" fmla="*/ 1719073 h 2705233"/>
              <a:gd name="connsiteX5123" fmla="*/ 5504468 w 6886183"/>
              <a:gd name="connsiteY5123" fmla="*/ 1718406 h 2705233"/>
              <a:gd name="connsiteX5124" fmla="*/ 1832322 w 6886183"/>
              <a:gd name="connsiteY5124" fmla="*/ 1718217 h 2705233"/>
              <a:gd name="connsiteX5125" fmla="*/ 1846991 w 6886183"/>
              <a:gd name="connsiteY5125" fmla="*/ 1718217 h 2705233"/>
              <a:gd name="connsiteX5126" fmla="*/ 1875566 w 6886183"/>
              <a:gd name="connsiteY5126" fmla="*/ 1720596 h 2705233"/>
              <a:gd name="connsiteX5127" fmla="*/ 1921095 w 6886183"/>
              <a:gd name="connsiteY5127" fmla="*/ 1736503 h 2705233"/>
              <a:gd name="connsiteX5128" fmla="*/ 1929763 w 6886183"/>
              <a:gd name="connsiteY5128" fmla="*/ 1756982 h 2705233"/>
              <a:gd name="connsiteX5129" fmla="*/ 1917095 w 6886183"/>
              <a:gd name="connsiteY5129" fmla="*/ 1765173 h 2705233"/>
              <a:gd name="connsiteX5130" fmla="*/ 1894044 w 6886183"/>
              <a:gd name="connsiteY5130" fmla="*/ 1770793 h 2705233"/>
              <a:gd name="connsiteX5131" fmla="*/ 1879852 w 6886183"/>
              <a:gd name="connsiteY5131" fmla="*/ 1772411 h 2705233"/>
              <a:gd name="connsiteX5132" fmla="*/ 1865469 w 6886183"/>
              <a:gd name="connsiteY5132" fmla="*/ 1772411 h 2705233"/>
              <a:gd name="connsiteX5133" fmla="*/ 1837466 w 6886183"/>
              <a:gd name="connsiteY5133" fmla="*/ 1770317 h 2705233"/>
              <a:gd name="connsiteX5134" fmla="*/ 1791841 w 6886183"/>
              <a:gd name="connsiteY5134" fmla="*/ 1754696 h 2705233"/>
              <a:gd name="connsiteX5135" fmla="*/ 1781365 w 6886183"/>
              <a:gd name="connsiteY5135" fmla="*/ 1733455 h 2705233"/>
              <a:gd name="connsiteX5136" fmla="*/ 1793937 w 6886183"/>
              <a:gd name="connsiteY5136" fmla="*/ 1725264 h 2705233"/>
              <a:gd name="connsiteX5137" fmla="*/ 1817654 w 6886183"/>
              <a:gd name="connsiteY5137" fmla="*/ 1719646 h 2705233"/>
              <a:gd name="connsiteX5138" fmla="*/ 1832322 w 6886183"/>
              <a:gd name="connsiteY5138" fmla="*/ 1718217 h 2705233"/>
              <a:gd name="connsiteX5139" fmla="*/ 100942 w 6886183"/>
              <a:gd name="connsiteY5139" fmla="*/ 1717643 h 2705233"/>
              <a:gd name="connsiteX5140" fmla="*/ 106466 w 6886183"/>
              <a:gd name="connsiteY5140" fmla="*/ 1722596 h 2705233"/>
              <a:gd name="connsiteX5141" fmla="*/ 110753 w 6886183"/>
              <a:gd name="connsiteY5141" fmla="*/ 1728692 h 2705233"/>
              <a:gd name="connsiteX5142" fmla="*/ 116277 w 6886183"/>
              <a:gd name="connsiteY5142" fmla="*/ 1736884 h 2705233"/>
              <a:gd name="connsiteX5143" fmla="*/ 130565 w 6886183"/>
              <a:gd name="connsiteY5143" fmla="*/ 1760029 h 2705233"/>
              <a:gd name="connsiteX5144" fmla="*/ 147614 w 6886183"/>
              <a:gd name="connsiteY5144" fmla="*/ 1787080 h 2705233"/>
              <a:gd name="connsiteX5145" fmla="*/ 178857 w 6886183"/>
              <a:gd name="connsiteY5145" fmla="*/ 1834896 h 2705233"/>
              <a:gd name="connsiteX5146" fmla="*/ 187810 w 6886183"/>
              <a:gd name="connsiteY5146" fmla="*/ 1854613 h 2705233"/>
              <a:gd name="connsiteX5147" fmla="*/ 171809 w 6886183"/>
              <a:gd name="connsiteY5147" fmla="*/ 1842230 h 2705233"/>
              <a:gd name="connsiteX5148" fmla="*/ 163426 w 6886183"/>
              <a:gd name="connsiteY5148" fmla="*/ 1832705 h 2705233"/>
              <a:gd name="connsiteX5149" fmla="*/ 153901 w 6886183"/>
              <a:gd name="connsiteY5149" fmla="*/ 1820513 h 2705233"/>
              <a:gd name="connsiteX5150" fmla="*/ 134281 w 6886183"/>
              <a:gd name="connsiteY5150" fmla="*/ 1791938 h 2705233"/>
              <a:gd name="connsiteX5151" fmla="*/ 124755 w 6886183"/>
              <a:gd name="connsiteY5151" fmla="*/ 1776793 h 2705233"/>
              <a:gd name="connsiteX5152" fmla="*/ 120468 w 6886183"/>
              <a:gd name="connsiteY5152" fmla="*/ 1769269 h 2705233"/>
              <a:gd name="connsiteX5153" fmla="*/ 116563 w 6886183"/>
              <a:gd name="connsiteY5153" fmla="*/ 1761934 h 2705233"/>
              <a:gd name="connsiteX5154" fmla="*/ 104657 w 6886183"/>
              <a:gd name="connsiteY5154" fmla="*/ 1736598 h 2705233"/>
              <a:gd name="connsiteX5155" fmla="*/ 101609 w 6886183"/>
              <a:gd name="connsiteY5155" fmla="*/ 1728216 h 2705233"/>
              <a:gd name="connsiteX5156" fmla="*/ 100085 w 6886183"/>
              <a:gd name="connsiteY5156" fmla="*/ 1722311 h 2705233"/>
              <a:gd name="connsiteX5157" fmla="*/ 100942 w 6886183"/>
              <a:gd name="connsiteY5157" fmla="*/ 1717643 h 2705233"/>
              <a:gd name="connsiteX5158" fmla="*/ 5020027 w 6886183"/>
              <a:gd name="connsiteY5158" fmla="*/ 1717551 h 2705233"/>
              <a:gd name="connsiteX5159" fmla="*/ 5042506 w 6886183"/>
              <a:gd name="connsiteY5159" fmla="*/ 1727074 h 2705233"/>
              <a:gd name="connsiteX5160" fmla="*/ 5017550 w 6886183"/>
              <a:gd name="connsiteY5160" fmla="*/ 1739553 h 2705233"/>
              <a:gd name="connsiteX5161" fmla="*/ 5000977 w 6886183"/>
              <a:gd name="connsiteY5161" fmla="*/ 1745077 h 2705233"/>
              <a:gd name="connsiteX5162" fmla="*/ 4984689 w 6886183"/>
              <a:gd name="connsiteY5162" fmla="*/ 1749077 h 2705233"/>
              <a:gd name="connsiteX5163" fmla="*/ 4959924 w 6886183"/>
              <a:gd name="connsiteY5163" fmla="*/ 1741552 h 2705233"/>
              <a:gd name="connsiteX5164" fmla="*/ 4984880 w 6886183"/>
              <a:gd name="connsiteY5164" fmla="*/ 1727647 h 2705233"/>
              <a:gd name="connsiteX5165" fmla="*/ 4993452 w 6886183"/>
              <a:gd name="connsiteY5165" fmla="*/ 1724313 h 2705233"/>
              <a:gd name="connsiteX5166" fmla="*/ 5002406 w 6886183"/>
              <a:gd name="connsiteY5166" fmla="*/ 1721551 h 2705233"/>
              <a:gd name="connsiteX5167" fmla="*/ 5020027 w 6886183"/>
              <a:gd name="connsiteY5167" fmla="*/ 1717551 h 2705233"/>
              <a:gd name="connsiteX5168" fmla="*/ 315639 w 6886183"/>
              <a:gd name="connsiteY5168" fmla="*/ 1711356 h 2705233"/>
              <a:gd name="connsiteX5169" fmla="*/ 321925 w 6886183"/>
              <a:gd name="connsiteY5169" fmla="*/ 1713166 h 2705233"/>
              <a:gd name="connsiteX5170" fmla="*/ 327737 w 6886183"/>
              <a:gd name="connsiteY5170" fmla="*/ 1718024 h 2705233"/>
              <a:gd name="connsiteX5171" fmla="*/ 331260 w 6886183"/>
              <a:gd name="connsiteY5171" fmla="*/ 1721357 h 2705233"/>
              <a:gd name="connsiteX5172" fmla="*/ 335261 w 6886183"/>
              <a:gd name="connsiteY5172" fmla="*/ 1725263 h 2705233"/>
              <a:gd name="connsiteX5173" fmla="*/ 344023 w 6886183"/>
              <a:gd name="connsiteY5173" fmla="*/ 1734788 h 2705233"/>
              <a:gd name="connsiteX5174" fmla="*/ 348596 w 6886183"/>
              <a:gd name="connsiteY5174" fmla="*/ 1739740 h 2705233"/>
              <a:gd name="connsiteX5175" fmla="*/ 350977 w 6886183"/>
              <a:gd name="connsiteY5175" fmla="*/ 1742217 h 2705233"/>
              <a:gd name="connsiteX5176" fmla="*/ 353358 w 6886183"/>
              <a:gd name="connsiteY5176" fmla="*/ 1744789 h 2705233"/>
              <a:gd name="connsiteX5177" fmla="*/ 362883 w 6886183"/>
              <a:gd name="connsiteY5177" fmla="*/ 1755266 h 2705233"/>
              <a:gd name="connsiteX5178" fmla="*/ 367741 w 6886183"/>
              <a:gd name="connsiteY5178" fmla="*/ 1760696 h 2705233"/>
              <a:gd name="connsiteX5179" fmla="*/ 370217 w 6886183"/>
              <a:gd name="connsiteY5179" fmla="*/ 1763458 h 2705233"/>
              <a:gd name="connsiteX5180" fmla="*/ 372694 w 6886183"/>
              <a:gd name="connsiteY5180" fmla="*/ 1766125 h 2705233"/>
              <a:gd name="connsiteX5181" fmla="*/ 382219 w 6886183"/>
              <a:gd name="connsiteY5181" fmla="*/ 1776888 h 2705233"/>
              <a:gd name="connsiteX5182" fmla="*/ 391744 w 6886183"/>
              <a:gd name="connsiteY5182" fmla="*/ 1787651 h 2705233"/>
              <a:gd name="connsiteX5183" fmla="*/ 400602 w 6886183"/>
              <a:gd name="connsiteY5183" fmla="*/ 1797843 h 2705233"/>
              <a:gd name="connsiteX5184" fmla="*/ 404698 w 6886183"/>
              <a:gd name="connsiteY5184" fmla="*/ 1802891 h 2705233"/>
              <a:gd name="connsiteX5185" fmla="*/ 408508 w 6886183"/>
              <a:gd name="connsiteY5185" fmla="*/ 1807654 h 2705233"/>
              <a:gd name="connsiteX5186" fmla="*/ 421175 w 6886183"/>
              <a:gd name="connsiteY5186" fmla="*/ 1829752 h 2705233"/>
              <a:gd name="connsiteX5187" fmla="*/ 399840 w 6886183"/>
              <a:gd name="connsiteY5187" fmla="*/ 1820894 h 2705233"/>
              <a:gd name="connsiteX5188" fmla="*/ 397935 w 6886183"/>
              <a:gd name="connsiteY5188" fmla="*/ 1819274 h 2705233"/>
              <a:gd name="connsiteX5189" fmla="*/ 395458 w 6886183"/>
              <a:gd name="connsiteY5189" fmla="*/ 1817369 h 2705233"/>
              <a:gd name="connsiteX5190" fmla="*/ 390505 w 6886183"/>
              <a:gd name="connsiteY5190" fmla="*/ 1813464 h 2705233"/>
              <a:gd name="connsiteX5191" fmla="*/ 380219 w 6886183"/>
              <a:gd name="connsiteY5191" fmla="*/ 1804892 h 2705233"/>
              <a:gd name="connsiteX5192" fmla="*/ 374980 w 6886183"/>
              <a:gd name="connsiteY5192" fmla="*/ 1800224 h 2705233"/>
              <a:gd name="connsiteX5193" fmla="*/ 369836 w 6886183"/>
              <a:gd name="connsiteY5193" fmla="*/ 1795176 h 2705233"/>
              <a:gd name="connsiteX5194" fmla="*/ 359549 w 6886183"/>
              <a:gd name="connsiteY5194" fmla="*/ 1784508 h 2705233"/>
              <a:gd name="connsiteX5195" fmla="*/ 354596 w 6886183"/>
              <a:gd name="connsiteY5195" fmla="*/ 1778984 h 2705233"/>
              <a:gd name="connsiteX5196" fmla="*/ 349739 w 6886183"/>
              <a:gd name="connsiteY5196" fmla="*/ 1773173 h 2705233"/>
              <a:gd name="connsiteX5197" fmla="*/ 340213 w 6886183"/>
              <a:gd name="connsiteY5197" fmla="*/ 1761553 h 2705233"/>
              <a:gd name="connsiteX5198" fmla="*/ 332022 w 6886183"/>
              <a:gd name="connsiteY5198" fmla="*/ 1749837 h 2705233"/>
              <a:gd name="connsiteX5199" fmla="*/ 325069 w 6886183"/>
              <a:gd name="connsiteY5199" fmla="*/ 1737931 h 2705233"/>
              <a:gd name="connsiteX5200" fmla="*/ 322022 w 6886183"/>
              <a:gd name="connsiteY5200" fmla="*/ 1732597 h 2705233"/>
              <a:gd name="connsiteX5201" fmla="*/ 319640 w 6886183"/>
              <a:gd name="connsiteY5201" fmla="*/ 1727739 h 2705233"/>
              <a:gd name="connsiteX5202" fmla="*/ 316402 w 6886183"/>
              <a:gd name="connsiteY5202" fmla="*/ 1719738 h 2705233"/>
              <a:gd name="connsiteX5203" fmla="*/ 315639 w 6886183"/>
              <a:gd name="connsiteY5203" fmla="*/ 1711356 h 2705233"/>
              <a:gd name="connsiteX5204" fmla="*/ 4857375 w 6886183"/>
              <a:gd name="connsiteY5204" fmla="*/ 1706528 h 2705233"/>
              <a:gd name="connsiteX5205" fmla="*/ 4860768 w 6886183"/>
              <a:gd name="connsiteY5205" fmla="*/ 1716790 h 2705233"/>
              <a:gd name="connsiteX5206" fmla="*/ 4834288 w 6886183"/>
              <a:gd name="connsiteY5206" fmla="*/ 1733553 h 2705233"/>
              <a:gd name="connsiteX5207" fmla="*/ 4824763 w 6886183"/>
              <a:gd name="connsiteY5207" fmla="*/ 1737553 h 2705233"/>
              <a:gd name="connsiteX5208" fmla="*/ 4815238 w 6886183"/>
              <a:gd name="connsiteY5208" fmla="*/ 1741363 h 2705233"/>
              <a:gd name="connsiteX5209" fmla="*/ 4795426 w 6886183"/>
              <a:gd name="connsiteY5209" fmla="*/ 1747269 h 2705233"/>
              <a:gd name="connsiteX5210" fmla="*/ 4766851 w 6886183"/>
              <a:gd name="connsiteY5210" fmla="*/ 1749459 h 2705233"/>
              <a:gd name="connsiteX5211" fmla="*/ 4761613 w 6886183"/>
              <a:gd name="connsiteY5211" fmla="*/ 1740029 h 2705233"/>
              <a:gd name="connsiteX5212" fmla="*/ 4787616 w 6886183"/>
              <a:gd name="connsiteY5212" fmla="*/ 1722409 h 2705233"/>
              <a:gd name="connsiteX5213" fmla="*/ 4807333 w 6886183"/>
              <a:gd name="connsiteY5213" fmla="*/ 1714123 h 2705233"/>
              <a:gd name="connsiteX5214" fmla="*/ 4817715 w 6886183"/>
              <a:gd name="connsiteY5214" fmla="*/ 1710696 h 2705233"/>
              <a:gd name="connsiteX5215" fmla="*/ 4827907 w 6886183"/>
              <a:gd name="connsiteY5215" fmla="*/ 1708123 h 2705233"/>
              <a:gd name="connsiteX5216" fmla="*/ 4857375 w 6886183"/>
              <a:gd name="connsiteY5216" fmla="*/ 1706528 h 2705233"/>
              <a:gd name="connsiteX5217" fmla="*/ 4627787 w 6886183"/>
              <a:gd name="connsiteY5217" fmla="*/ 1704123 h 2705233"/>
              <a:gd name="connsiteX5218" fmla="*/ 4642931 w 6886183"/>
              <a:gd name="connsiteY5218" fmla="*/ 1704123 h 2705233"/>
              <a:gd name="connsiteX5219" fmla="*/ 4649027 w 6886183"/>
              <a:gd name="connsiteY5219" fmla="*/ 1716408 h 2705233"/>
              <a:gd name="connsiteX5220" fmla="*/ 4624167 w 6886183"/>
              <a:gd name="connsiteY5220" fmla="*/ 1736123 h 2705233"/>
              <a:gd name="connsiteX5221" fmla="*/ 4582448 w 6886183"/>
              <a:gd name="connsiteY5221" fmla="*/ 1753173 h 2705233"/>
              <a:gd name="connsiteX5222" fmla="*/ 4576733 w 6886183"/>
              <a:gd name="connsiteY5222" fmla="*/ 1754697 h 2705233"/>
              <a:gd name="connsiteX5223" fmla="*/ 4573589 w 6886183"/>
              <a:gd name="connsiteY5223" fmla="*/ 1755460 h 2705233"/>
              <a:gd name="connsiteX5224" fmla="*/ 4570541 w 6886183"/>
              <a:gd name="connsiteY5224" fmla="*/ 1756222 h 2705233"/>
              <a:gd name="connsiteX5225" fmla="*/ 4559207 w 6886183"/>
              <a:gd name="connsiteY5225" fmla="*/ 1758507 h 2705233"/>
              <a:gd name="connsiteX5226" fmla="*/ 4541871 w 6886183"/>
              <a:gd name="connsiteY5226" fmla="*/ 1759650 h 2705233"/>
              <a:gd name="connsiteX5227" fmla="*/ 4533680 w 6886183"/>
              <a:gd name="connsiteY5227" fmla="*/ 1748507 h 2705233"/>
              <a:gd name="connsiteX5228" fmla="*/ 4562255 w 6886183"/>
              <a:gd name="connsiteY5228" fmla="*/ 1726789 h 2705233"/>
              <a:gd name="connsiteX5229" fmla="*/ 4567684 w 6886183"/>
              <a:gd name="connsiteY5229" fmla="*/ 1724027 h 2705233"/>
              <a:gd name="connsiteX5230" fmla="*/ 4572637 w 6886183"/>
              <a:gd name="connsiteY5230" fmla="*/ 1721551 h 2705233"/>
              <a:gd name="connsiteX5231" fmla="*/ 4583210 w 6886183"/>
              <a:gd name="connsiteY5231" fmla="*/ 1716885 h 2705233"/>
              <a:gd name="connsiteX5232" fmla="*/ 4605974 w 6886183"/>
              <a:gd name="connsiteY5232" fmla="*/ 1708885 h 2705233"/>
              <a:gd name="connsiteX5233" fmla="*/ 4627787 w 6886183"/>
              <a:gd name="connsiteY5233" fmla="*/ 1704123 h 2705233"/>
              <a:gd name="connsiteX5234" fmla="*/ 4221379 w 6886183"/>
              <a:gd name="connsiteY5234" fmla="*/ 1702123 h 2705233"/>
              <a:gd name="connsiteX5235" fmla="*/ 4236595 w 6886183"/>
              <a:gd name="connsiteY5235" fmla="*/ 1715457 h 2705233"/>
              <a:gd name="connsiteX5236" fmla="*/ 4158204 w 6886183"/>
              <a:gd name="connsiteY5236" fmla="*/ 1761365 h 2705233"/>
              <a:gd name="connsiteX5237" fmla="*/ 4090862 w 6886183"/>
              <a:gd name="connsiteY5237" fmla="*/ 1757555 h 2705233"/>
              <a:gd name="connsiteX5238" fmla="*/ 4171444 w 6886183"/>
              <a:gd name="connsiteY5238" fmla="*/ 1709362 h 2705233"/>
              <a:gd name="connsiteX5239" fmla="*/ 4221379 w 6886183"/>
              <a:gd name="connsiteY5239" fmla="*/ 1702123 h 2705233"/>
              <a:gd name="connsiteX5240" fmla="*/ 5150233 w 6886183"/>
              <a:gd name="connsiteY5240" fmla="*/ 1701076 h 2705233"/>
              <a:gd name="connsiteX5241" fmla="*/ 5158424 w 6886183"/>
              <a:gd name="connsiteY5241" fmla="*/ 1702503 h 2705233"/>
              <a:gd name="connsiteX5242" fmla="*/ 5156900 w 6886183"/>
              <a:gd name="connsiteY5242" fmla="*/ 1710886 h 2705233"/>
              <a:gd name="connsiteX5243" fmla="*/ 5132897 w 6886183"/>
              <a:gd name="connsiteY5243" fmla="*/ 1722313 h 2705233"/>
              <a:gd name="connsiteX5244" fmla="*/ 5101370 w 6886183"/>
              <a:gd name="connsiteY5244" fmla="*/ 1730314 h 2705233"/>
              <a:gd name="connsiteX5245" fmla="*/ 5080605 w 6886183"/>
              <a:gd name="connsiteY5245" fmla="*/ 1722218 h 2705233"/>
              <a:gd name="connsiteX5246" fmla="*/ 5090130 w 6886183"/>
              <a:gd name="connsiteY5246" fmla="*/ 1716218 h 2705233"/>
              <a:gd name="connsiteX5247" fmla="*/ 5104132 w 6886183"/>
              <a:gd name="connsiteY5247" fmla="*/ 1710219 h 2705233"/>
              <a:gd name="connsiteX5248" fmla="*/ 5136898 w 6886183"/>
              <a:gd name="connsiteY5248" fmla="*/ 1702027 h 2705233"/>
              <a:gd name="connsiteX5249" fmla="*/ 5150233 w 6886183"/>
              <a:gd name="connsiteY5249" fmla="*/ 1701076 h 2705233"/>
              <a:gd name="connsiteX5250" fmla="*/ 3651022 w 6886183"/>
              <a:gd name="connsiteY5250" fmla="*/ 1699241 h 2705233"/>
              <a:gd name="connsiteX5251" fmla="*/ 3676715 w 6886183"/>
              <a:gd name="connsiteY5251" fmla="*/ 1713646 h 2705233"/>
              <a:gd name="connsiteX5252" fmla="*/ 3603849 w 6886183"/>
              <a:gd name="connsiteY5252" fmla="*/ 1761270 h 2705233"/>
              <a:gd name="connsiteX5253" fmla="*/ 3522987 w 6886183"/>
              <a:gd name="connsiteY5253" fmla="*/ 1754507 h 2705233"/>
              <a:gd name="connsiteX5254" fmla="*/ 3593753 w 6886183"/>
              <a:gd name="connsiteY5254" fmla="*/ 1705551 h 2705233"/>
              <a:gd name="connsiteX5255" fmla="*/ 3651022 w 6886183"/>
              <a:gd name="connsiteY5255" fmla="*/ 1699241 h 2705233"/>
              <a:gd name="connsiteX5256" fmla="*/ 5800124 w 6886183"/>
              <a:gd name="connsiteY5256" fmla="*/ 1697545 h 2705233"/>
              <a:gd name="connsiteX5257" fmla="*/ 5801458 w 6886183"/>
              <a:gd name="connsiteY5257" fmla="*/ 1702594 h 2705233"/>
              <a:gd name="connsiteX5258" fmla="*/ 5774311 w 6886183"/>
              <a:gd name="connsiteY5258" fmla="*/ 1704975 h 2705233"/>
              <a:gd name="connsiteX5259" fmla="*/ 5772883 w 6886183"/>
              <a:gd name="connsiteY5259" fmla="*/ 1700308 h 2705233"/>
              <a:gd name="connsiteX5260" fmla="*/ 5800124 w 6886183"/>
              <a:gd name="connsiteY5260" fmla="*/ 1697545 h 2705233"/>
              <a:gd name="connsiteX5261" fmla="*/ 5251293 w 6886183"/>
              <a:gd name="connsiteY5261" fmla="*/ 1692121 h 2705233"/>
              <a:gd name="connsiteX5262" fmla="*/ 5266629 w 6886183"/>
              <a:gd name="connsiteY5262" fmla="*/ 1701646 h 2705233"/>
              <a:gd name="connsiteX5263" fmla="*/ 5257104 w 6886183"/>
              <a:gd name="connsiteY5263" fmla="*/ 1706504 h 2705233"/>
              <a:gd name="connsiteX5264" fmla="*/ 5244626 w 6886183"/>
              <a:gd name="connsiteY5264" fmla="*/ 1711076 h 2705233"/>
              <a:gd name="connsiteX5265" fmla="*/ 5216051 w 6886183"/>
              <a:gd name="connsiteY5265" fmla="*/ 1717266 h 2705233"/>
              <a:gd name="connsiteX5266" fmla="*/ 5196239 w 6886183"/>
              <a:gd name="connsiteY5266" fmla="*/ 1717266 h 2705233"/>
              <a:gd name="connsiteX5267" fmla="*/ 5198525 w 6886183"/>
              <a:gd name="connsiteY5267" fmla="*/ 1708885 h 2705233"/>
              <a:gd name="connsiteX5268" fmla="*/ 5221004 w 6886183"/>
              <a:gd name="connsiteY5268" fmla="*/ 1698693 h 2705233"/>
              <a:gd name="connsiteX5269" fmla="*/ 5251293 w 6886183"/>
              <a:gd name="connsiteY5269" fmla="*/ 1692121 h 2705233"/>
              <a:gd name="connsiteX5270" fmla="*/ 5693920 w 6886183"/>
              <a:gd name="connsiteY5270" fmla="*/ 1688877 h 2705233"/>
              <a:gd name="connsiteX5271" fmla="*/ 5700207 w 6886183"/>
              <a:gd name="connsiteY5271" fmla="*/ 1694878 h 2705233"/>
              <a:gd name="connsiteX5272" fmla="*/ 5684586 w 6886183"/>
              <a:gd name="connsiteY5272" fmla="*/ 1698497 h 2705233"/>
              <a:gd name="connsiteX5273" fmla="*/ 5666583 w 6886183"/>
              <a:gd name="connsiteY5273" fmla="*/ 1700117 h 2705233"/>
              <a:gd name="connsiteX5274" fmla="*/ 5660106 w 6886183"/>
              <a:gd name="connsiteY5274" fmla="*/ 1694211 h 2705233"/>
              <a:gd name="connsiteX5275" fmla="*/ 5693920 w 6886183"/>
              <a:gd name="connsiteY5275" fmla="*/ 1688877 h 2705233"/>
              <a:gd name="connsiteX5276" fmla="*/ 5366546 w 6886183"/>
              <a:gd name="connsiteY5276" fmla="*/ 1684788 h 2705233"/>
              <a:gd name="connsiteX5277" fmla="*/ 5377309 w 6886183"/>
              <a:gd name="connsiteY5277" fmla="*/ 1693551 h 2705233"/>
              <a:gd name="connsiteX5278" fmla="*/ 5355116 w 6886183"/>
              <a:gd name="connsiteY5278" fmla="*/ 1701646 h 2705233"/>
              <a:gd name="connsiteX5279" fmla="*/ 5341495 w 6886183"/>
              <a:gd name="connsiteY5279" fmla="*/ 1704600 h 2705233"/>
              <a:gd name="connsiteX5280" fmla="*/ 5327779 w 6886183"/>
              <a:gd name="connsiteY5280" fmla="*/ 1706218 h 2705233"/>
              <a:gd name="connsiteX5281" fmla="*/ 5318254 w 6886183"/>
              <a:gd name="connsiteY5281" fmla="*/ 1697455 h 2705233"/>
              <a:gd name="connsiteX5282" fmla="*/ 5339876 w 6886183"/>
              <a:gd name="connsiteY5282" fmla="*/ 1689169 h 2705233"/>
              <a:gd name="connsiteX5283" fmla="*/ 5346448 w 6886183"/>
              <a:gd name="connsiteY5283" fmla="*/ 1687550 h 2705233"/>
              <a:gd name="connsiteX5284" fmla="*/ 5353211 w 6886183"/>
              <a:gd name="connsiteY5284" fmla="*/ 1686311 h 2705233"/>
              <a:gd name="connsiteX5285" fmla="*/ 5366546 w 6886183"/>
              <a:gd name="connsiteY5285" fmla="*/ 1684788 h 2705233"/>
              <a:gd name="connsiteX5286" fmla="*/ 4983248 w 6886183"/>
              <a:gd name="connsiteY5286" fmla="*/ 1684454 h 2705233"/>
              <a:gd name="connsiteX5287" fmla="*/ 4984021 w 6886183"/>
              <a:gd name="connsiteY5287" fmla="*/ 1694503 h 2705233"/>
              <a:gd name="connsiteX5288" fmla="*/ 4957732 w 6886183"/>
              <a:gd name="connsiteY5288" fmla="*/ 1709743 h 2705233"/>
              <a:gd name="connsiteX5289" fmla="*/ 4939349 w 6886183"/>
              <a:gd name="connsiteY5289" fmla="*/ 1716409 h 2705233"/>
              <a:gd name="connsiteX5290" fmla="*/ 4920299 w 6886183"/>
              <a:gd name="connsiteY5290" fmla="*/ 1721361 h 2705233"/>
              <a:gd name="connsiteX5291" fmla="*/ 4891534 w 6886183"/>
              <a:gd name="connsiteY5291" fmla="*/ 1712885 h 2705233"/>
              <a:gd name="connsiteX5292" fmla="*/ 4917442 w 6886183"/>
              <a:gd name="connsiteY5292" fmla="*/ 1696980 h 2705233"/>
              <a:gd name="connsiteX5293" fmla="*/ 4926967 w 6886183"/>
              <a:gd name="connsiteY5293" fmla="*/ 1693264 h 2705233"/>
              <a:gd name="connsiteX5294" fmla="*/ 4931729 w 6886183"/>
              <a:gd name="connsiteY5294" fmla="*/ 1691454 h 2705233"/>
              <a:gd name="connsiteX5295" fmla="*/ 4936587 w 6886183"/>
              <a:gd name="connsiteY5295" fmla="*/ 1689931 h 2705233"/>
              <a:gd name="connsiteX5296" fmla="*/ 4956399 w 6886183"/>
              <a:gd name="connsiteY5296" fmla="*/ 1684978 h 2705233"/>
              <a:gd name="connsiteX5297" fmla="*/ 4983248 w 6886183"/>
              <a:gd name="connsiteY5297" fmla="*/ 1684454 h 2705233"/>
              <a:gd name="connsiteX5298" fmla="*/ 5589240 w 6886183"/>
              <a:gd name="connsiteY5298" fmla="*/ 1683070 h 2705233"/>
              <a:gd name="connsiteX5299" fmla="*/ 5596765 w 6886183"/>
              <a:gd name="connsiteY5299" fmla="*/ 1690594 h 2705233"/>
              <a:gd name="connsiteX5300" fmla="*/ 5577715 w 6886183"/>
              <a:gd name="connsiteY5300" fmla="*/ 1695453 h 2705233"/>
              <a:gd name="connsiteX5301" fmla="*/ 5566761 w 6886183"/>
              <a:gd name="connsiteY5301" fmla="*/ 1697072 h 2705233"/>
              <a:gd name="connsiteX5302" fmla="*/ 5557236 w 6886183"/>
              <a:gd name="connsiteY5302" fmla="*/ 1697739 h 2705233"/>
              <a:gd name="connsiteX5303" fmla="*/ 5549616 w 6886183"/>
              <a:gd name="connsiteY5303" fmla="*/ 1690881 h 2705233"/>
              <a:gd name="connsiteX5304" fmla="*/ 5567809 w 6886183"/>
              <a:gd name="connsiteY5304" fmla="*/ 1685547 h 2705233"/>
              <a:gd name="connsiteX5305" fmla="*/ 5573428 w 6886183"/>
              <a:gd name="connsiteY5305" fmla="*/ 1684499 h 2705233"/>
              <a:gd name="connsiteX5306" fmla="*/ 5578953 w 6886183"/>
              <a:gd name="connsiteY5306" fmla="*/ 1683832 h 2705233"/>
              <a:gd name="connsiteX5307" fmla="*/ 5589240 w 6886183"/>
              <a:gd name="connsiteY5307" fmla="*/ 1683070 h 2705233"/>
              <a:gd name="connsiteX5308" fmla="*/ 5474750 w 6886183"/>
              <a:gd name="connsiteY5308" fmla="*/ 1682595 h 2705233"/>
              <a:gd name="connsiteX5309" fmla="*/ 5486180 w 6886183"/>
              <a:gd name="connsiteY5309" fmla="*/ 1690215 h 2705233"/>
              <a:gd name="connsiteX5310" fmla="*/ 5441698 w 6886183"/>
              <a:gd name="connsiteY5310" fmla="*/ 1700692 h 2705233"/>
              <a:gd name="connsiteX5311" fmla="*/ 5429792 w 6886183"/>
              <a:gd name="connsiteY5311" fmla="*/ 1693453 h 2705233"/>
              <a:gd name="connsiteX5312" fmla="*/ 5449699 w 6886183"/>
              <a:gd name="connsiteY5312" fmla="*/ 1686405 h 2705233"/>
              <a:gd name="connsiteX5313" fmla="*/ 5474750 w 6886183"/>
              <a:gd name="connsiteY5313" fmla="*/ 1682595 h 2705233"/>
              <a:gd name="connsiteX5314" fmla="*/ 2852751 w 6886183"/>
              <a:gd name="connsiteY5314" fmla="*/ 1682216 h 2705233"/>
              <a:gd name="connsiteX5315" fmla="*/ 2888945 w 6886183"/>
              <a:gd name="connsiteY5315" fmla="*/ 1697266 h 2705233"/>
              <a:gd name="connsiteX5316" fmla="*/ 2834368 w 6886183"/>
              <a:gd name="connsiteY5316" fmla="*/ 1741267 h 2705233"/>
              <a:gd name="connsiteX5317" fmla="*/ 2777218 w 6886183"/>
              <a:gd name="connsiteY5317" fmla="*/ 1744602 h 2705233"/>
              <a:gd name="connsiteX5318" fmla="*/ 2739975 w 6886183"/>
              <a:gd name="connsiteY5318" fmla="*/ 1730409 h 2705233"/>
              <a:gd name="connsiteX5319" fmla="*/ 2744927 w 6886183"/>
              <a:gd name="connsiteY5319" fmla="*/ 1705456 h 2705233"/>
              <a:gd name="connsiteX5320" fmla="*/ 2793888 w 6886183"/>
              <a:gd name="connsiteY5320" fmla="*/ 1685360 h 2705233"/>
              <a:gd name="connsiteX5321" fmla="*/ 2852751 w 6886183"/>
              <a:gd name="connsiteY5321" fmla="*/ 1682216 h 2705233"/>
              <a:gd name="connsiteX5322" fmla="*/ 442799 w 6886183"/>
              <a:gd name="connsiteY5322" fmla="*/ 1681734 h 2705233"/>
              <a:gd name="connsiteX5323" fmla="*/ 462515 w 6886183"/>
              <a:gd name="connsiteY5323" fmla="*/ 1690688 h 2705233"/>
              <a:gd name="connsiteX5324" fmla="*/ 479851 w 6886183"/>
              <a:gd name="connsiteY5324" fmla="*/ 1705166 h 2705233"/>
              <a:gd name="connsiteX5325" fmla="*/ 488899 w 6886183"/>
              <a:gd name="connsiteY5325" fmla="*/ 1713262 h 2705233"/>
              <a:gd name="connsiteX5326" fmla="*/ 493471 w 6886183"/>
              <a:gd name="connsiteY5326" fmla="*/ 1717548 h 2705233"/>
              <a:gd name="connsiteX5327" fmla="*/ 498044 w 6886183"/>
              <a:gd name="connsiteY5327" fmla="*/ 1721930 h 2705233"/>
              <a:gd name="connsiteX5328" fmla="*/ 507569 w 6886183"/>
              <a:gd name="connsiteY5328" fmla="*/ 1730693 h 2705233"/>
              <a:gd name="connsiteX5329" fmla="*/ 516141 w 6886183"/>
              <a:gd name="connsiteY5329" fmla="*/ 1739551 h 2705233"/>
              <a:gd name="connsiteX5330" fmla="*/ 531381 w 6886183"/>
              <a:gd name="connsiteY5330" fmla="*/ 1756505 h 2705233"/>
              <a:gd name="connsiteX5331" fmla="*/ 542049 w 6886183"/>
              <a:gd name="connsiteY5331" fmla="*/ 1776603 h 2705233"/>
              <a:gd name="connsiteX5332" fmla="*/ 520141 w 6886183"/>
              <a:gd name="connsiteY5332" fmla="*/ 1771650 h 2705233"/>
              <a:gd name="connsiteX5333" fmla="*/ 501091 w 6886183"/>
              <a:gd name="connsiteY5333" fmla="*/ 1759458 h 2705233"/>
              <a:gd name="connsiteX5334" fmla="*/ 482042 w 6886183"/>
              <a:gd name="connsiteY5334" fmla="*/ 1743075 h 2705233"/>
              <a:gd name="connsiteX5335" fmla="*/ 464420 w 6886183"/>
              <a:gd name="connsiteY5335" fmla="*/ 1724025 h 2705233"/>
              <a:gd name="connsiteX5336" fmla="*/ 450514 w 6886183"/>
              <a:gd name="connsiteY5336" fmla="*/ 1704975 h 2705233"/>
              <a:gd name="connsiteX5337" fmla="*/ 442799 w 6886183"/>
              <a:gd name="connsiteY5337" fmla="*/ 1681734 h 2705233"/>
              <a:gd name="connsiteX5338" fmla="*/ 4537037 w 6886183"/>
              <a:gd name="connsiteY5338" fmla="*/ 1679430 h 2705233"/>
              <a:gd name="connsiteX5339" fmla="*/ 4545967 w 6886183"/>
              <a:gd name="connsiteY5339" fmla="*/ 1692597 h 2705233"/>
              <a:gd name="connsiteX5340" fmla="*/ 4465099 w 6886183"/>
              <a:gd name="connsiteY5340" fmla="*/ 1736219 h 2705233"/>
              <a:gd name="connsiteX5341" fmla="*/ 4411378 w 6886183"/>
              <a:gd name="connsiteY5341" fmla="*/ 1730886 h 2705233"/>
              <a:gd name="connsiteX5342" fmla="*/ 4491960 w 6886183"/>
              <a:gd name="connsiteY5342" fmla="*/ 1686121 h 2705233"/>
              <a:gd name="connsiteX5343" fmla="*/ 4537037 w 6886183"/>
              <a:gd name="connsiteY5343" fmla="*/ 1679430 h 2705233"/>
              <a:gd name="connsiteX5344" fmla="*/ 2157508 w 6886183"/>
              <a:gd name="connsiteY5344" fmla="*/ 1675928 h 2705233"/>
              <a:gd name="connsiteX5345" fmla="*/ 2188178 w 6886183"/>
              <a:gd name="connsiteY5345" fmla="*/ 1679357 h 2705233"/>
              <a:gd name="connsiteX5346" fmla="*/ 2228755 w 6886183"/>
              <a:gd name="connsiteY5346" fmla="*/ 1696883 h 2705233"/>
              <a:gd name="connsiteX5347" fmla="*/ 2224184 w 6886183"/>
              <a:gd name="connsiteY5347" fmla="*/ 1719075 h 2705233"/>
              <a:gd name="connsiteX5348" fmla="*/ 2183606 w 6886183"/>
              <a:gd name="connsiteY5348" fmla="*/ 1733551 h 2705233"/>
              <a:gd name="connsiteX5349" fmla="*/ 2122361 w 6886183"/>
              <a:gd name="connsiteY5349" fmla="*/ 1731742 h 2705233"/>
              <a:gd name="connsiteX5350" fmla="*/ 2081023 w 6886183"/>
              <a:gd name="connsiteY5350" fmla="*/ 1714598 h 2705233"/>
              <a:gd name="connsiteX5351" fmla="*/ 2081070 w 6886183"/>
              <a:gd name="connsiteY5351" fmla="*/ 1694121 h 2705233"/>
              <a:gd name="connsiteX5352" fmla="*/ 2084071 w 6886183"/>
              <a:gd name="connsiteY5352" fmla="*/ 1691835 h 2705233"/>
              <a:gd name="connsiteX5353" fmla="*/ 2125599 w 6886183"/>
              <a:gd name="connsiteY5353" fmla="*/ 1677166 h 2705233"/>
              <a:gd name="connsiteX5354" fmla="*/ 2157508 w 6886183"/>
              <a:gd name="connsiteY5354" fmla="*/ 1675928 h 2705233"/>
              <a:gd name="connsiteX5355" fmla="*/ 4778675 w 6886183"/>
              <a:gd name="connsiteY5355" fmla="*/ 1675203 h 2705233"/>
              <a:gd name="connsiteX5356" fmla="*/ 4782568 w 6886183"/>
              <a:gd name="connsiteY5356" fmla="*/ 1687264 h 2705233"/>
              <a:gd name="connsiteX5357" fmla="*/ 4753993 w 6886183"/>
              <a:gd name="connsiteY5357" fmla="*/ 1706313 h 2705233"/>
              <a:gd name="connsiteX5358" fmla="*/ 4713321 w 6886183"/>
              <a:gd name="connsiteY5358" fmla="*/ 1721456 h 2705233"/>
              <a:gd name="connsiteX5359" fmla="*/ 4694748 w 6886183"/>
              <a:gd name="connsiteY5359" fmla="*/ 1724504 h 2705233"/>
              <a:gd name="connsiteX5360" fmla="*/ 4681413 w 6886183"/>
              <a:gd name="connsiteY5360" fmla="*/ 1724027 h 2705233"/>
              <a:gd name="connsiteX5361" fmla="*/ 4676174 w 6886183"/>
              <a:gd name="connsiteY5361" fmla="*/ 1712981 h 2705233"/>
              <a:gd name="connsiteX5362" fmla="*/ 4746278 w 6886183"/>
              <a:gd name="connsiteY5362" fmla="*/ 1677073 h 2705233"/>
              <a:gd name="connsiteX5363" fmla="*/ 4778675 w 6886183"/>
              <a:gd name="connsiteY5363" fmla="*/ 1675203 h 2705233"/>
              <a:gd name="connsiteX5364" fmla="*/ 354 w 6886183"/>
              <a:gd name="connsiteY5364" fmla="*/ 1674780 h 2705233"/>
              <a:gd name="connsiteX5365" fmla="*/ 10927 w 6886183"/>
              <a:gd name="connsiteY5365" fmla="*/ 1692783 h 2705233"/>
              <a:gd name="connsiteX5366" fmla="*/ 21786 w 6886183"/>
              <a:gd name="connsiteY5366" fmla="*/ 1714880 h 2705233"/>
              <a:gd name="connsiteX5367" fmla="*/ 33787 w 6886183"/>
              <a:gd name="connsiteY5367" fmla="*/ 1740026 h 2705233"/>
              <a:gd name="connsiteX5368" fmla="*/ 46074 w 6886183"/>
              <a:gd name="connsiteY5368" fmla="*/ 1765649 h 2705233"/>
              <a:gd name="connsiteX5369" fmla="*/ 47598 w 6886183"/>
              <a:gd name="connsiteY5369" fmla="*/ 1768792 h 2705233"/>
              <a:gd name="connsiteX5370" fmla="*/ 49027 w 6886183"/>
              <a:gd name="connsiteY5370" fmla="*/ 1771840 h 2705233"/>
              <a:gd name="connsiteX5371" fmla="*/ 52075 w 6886183"/>
              <a:gd name="connsiteY5371" fmla="*/ 1777841 h 2705233"/>
              <a:gd name="connsiteX5372" fmla="*/ 57600 w 6886183"/>
              <a:gd name="connsiteY5372" fmla="*/ 1789271 h 2705233"/>
              <a:gd name="connsiteX5373" fmla="*/ 64934 w 6886183"/>
              <a:gd name="connsiteY5373" fmla="*/ 1805844 h 2705233"/>
              <a:gd name="connsiteX5374" fmla="*/ 66363 w 6886183"/>
              <a:gd name="connsiteY5374" fmla="*/ 1812036 h 2705233"/>
              <a:gd name="connsiteX5375" fmla="*/ 61505 w 6886183"/>
              <a:gd name="connsiteY5375" fmla="*/ 1807940 h 2705233"/>
              <a:gd name="connsiteX5376" fmla="*/ 50742 w 6886183"/>
              <a:gd name="connsiteY5376" fmla="*/ 1792986 h 2705233"/>
              <a:gd name="connsiteX5377" fmla="*/ 43979 w 6886183"/>
              <a:gd name="connsiteY5377" fmla="*/ 1782413 h 2705233"/>
              <a:gd name="connsiteX5378" fmla="*/ 37121 w 6886183"/>
              <a:gd name="connsiteY5378" fmla="*/ 1770697 h 2705233"/>
              <a:gd name="connsiteX5379" fmla="*/ 23976 w 6886183"/>
              <a:gd name="connsiteY5379" fmla="*/ 1745265 h 2705233"/>
              <a:gd name="connsiteX5380" fmla="*/ 12832 w 6886183"/>
              <a:gd name="connsiteY5380" fmla="*/ 1719453 h 2705233"/>
              <a:gd name="connsiteX5381" fmla="*/ 4546 w 6886183"/>
              <a:gd name="connsiteY5381" fmla="*/ 1696021 h 2705233"/>
              <a:gd name="connsiteX5382" fmla="*/ 354 w 6886183"/>
              <a:gd name="connsiteY5382" fmla="*/ 1674780 h 2705233"/>
              <a:gd name="connsiteX5383" fmla="*/ 4059632 w 6886183"/>
              <a:gd name="connsiteY5383" fmla="*/ 1674678 h 2705233"/>
              <a:gd name="connsiteX5384" fmla="*/ 4080956 w 6886183"/>
              <a:gd name="connsiteY5384" fmla="*/ 1687739 h 2705233"/>
              <a:gd name="connsiteX5385" fmla="*/ 4002565 w 6886183"/>
              <a:gd name="connsiteY5385" fmla="*/ 1736505 h 2705233"/>
              <a:gd name="connsiteX5386" fmla="*/ 3929223 w 6886183"/>
              <a:gd name="connsiteY5386" fmla="*/ 1731933 h 2705233"/>
              <a:gd name="connsiteX5387" fmla="*/ 4006090 w 6886183"/>
              <a:gd name="connsiteY5387" fmla="*/ 1681834 h 2705233"/>
              <a:gd name="connsiteX5388" fmla="*/ 4059632 w 6886183"/>
              <a:gd name="connsiteY5388" fmla="*/ 1674678 h 2705233"/>
              <a:gd name="connsiteX5389" fmla="*/ 5886611 w 6886183"/>
              <a:gd name="connsiteY5389" fmla="*/ 1669828 h 2705233"/>
              <a:gd name="connsiteX5390" fmla="*/ 5900517 w 6886183"/>
              <a:gd name="connsiteY5390" fmla="*/ 1669923 h 2705233"/>
              <a:gd name="connsiteX5391" fmla="*/ 5903089 w 6886183"/>
              <a:gd name="connsiteY5391" fmla="*/ 1674876 h 2705233"/>
              <a:gd name="connsiteX5392" fmla="*/ 5888897 w 6886183"/>
              <a:gd name="connsiteY5392" fmla="*/ 1676876 h 2705233"/>
              <a:gd name="connsiteX5393" fmla="*/ 5880896 w 6886183"/>
              <a:gd name="connsiteY5393" fmla="*/ 1676876 h 2705233"/>
              <a:gd name="connsiteX5394" fmla="*/ 5874133 w 6886183"/>
              <a:gd name="connsiteY5394" fmla="*/ 1676876 h 2705233"/>
              <a:gd name="connsiteX5395" fmla="*/ 5873276 w 6886183"/>
              <a:gd name="connsiteY5395" fmla="*/ 1671828 h 2705233"/>
              <a:gd name="connsiteX5396" fmla="*/ 5886611 w 6886183"/>
              <a:gd name="connsiteY5396" fmla="*/ 1669828 h 2705233"/>
              <a:gd name="connsiteX5397" fmla="*/ 5094417 w 6886183"/>
              <a:gd name="connsiteY5397" fmla="*/ 1667071 h 2705233"/>
              <a:gd name="connsiteX5398" fmla="*/ 5103942 w 6886183"/>
              <a:gd name="connsiteY5398" fmla="*/ 1668310 h 2705233"/>
              <a:gd name="connsiteX5399" fmla="*/ 5103942 w 6886183"/>
              <a:gd name="connsiteY5399" fmla="*/ 1677834 h 2705233"/>
              <a:gd name="connsiteX5400" fmla="*/ 5078986 w 6886183"/>
              <a:gd name="connsiteY5400" fmla="*/ 1691456 h 2705233"/>
              <a:gd name="connsiteX5401" fmla="*/ 5043458 w 6886183"/>
              <a:gd name="connsiteY5401" fmla="*/ 1700981 h 2705233"/>
              <a:gd name="connsiteX5402" fmla="*/ 5019074 w 6886183"/>
              <a:gd name="connsiteY5402" fmla="*/ 1692502 h 2705233"/>
              <a:gd name="connsiteX5403" fmla="*/ 5043077 w 6886183"/>
              <a:gd name="connsiteY5403" fmla="*/ 1678692 h 2705233"/>
              <a:gd name="connsiteX5404" fmla="*/ 5078415 w 6886183"/>
              <a:gd name="connsiteY5404" fmla="*/ 1668785 h 2705233"/>
              <a:gd name="connsiteX5405" fmla="*/ 5094417 w 6886183"/>
              <a:gd name="connsiteY5405" fmla="*/ 1667071 h 2705233"/>
              <a:gd name="connsiteX5406" fmla="*/ 3406720 w 6886183"/>
              <a:gd name="connsiteY5406" fmla="*/ 1666524 h 2705233"/>
              <a:gd name="connsiteX5407" fmla="*/ 3435085 w 6886183"/>
              <a:gd name="connsiteY5407" fmla="*/ 1681930 h 2705233"/>
              <a:gd name="connsiteX5408" fmla="*/ 3368428 w 6886183"/>
              <a:gd name="connsiteY5408" fmla="*/ 1728504 h 2705233"/>
              <a:gd name="connsiteX5409" fmla="*/ 3282809 w 6886183"/>
              <a:gd name="connsiteY5409" fmla="*/ 1719457 h 2705233"/>
              <a:gd name="connsiteX5410" fmla="*/ 3348715 w 6886183"/>
              <a:gd name="connsiteY5410" fmla="*/ 1671834 h 2705233"/>
              <a:gd name="connsiteX5411" fmla="*/ 3406720 w 6886183"/>
              <a:gd name="connsiteY5411" fmla="*/ 1666524 h 2705233"/>
              <a:gd name="connsiteX5412" fmla="*/ 5793171 w 6886183"/>
              <a:gd name="connsiteY5412" fmla="*/ 1655922 h 2705233"/>
              <a:gd name="connsiteX5413" fmla="*/ 5799362 w 6886183"/>
              <a:gd name="connsiteY5413" fmla="*/ 1662113 h 2705233"/>
              <a:gd name="connsiteX5414" fmla="*/ 5763453 w 6886183"/>
              <a:gd name="connsiteY5414" fmla="*/ 1666494 h 2705233"/>
              <a:gd name="connsiteX5415" fmla="*/ 5758881 w 6886183"/>
              <a:gd name="connsiteY5415" fmla="*/ 1660303 h 2705233"/>
              <a:gd name="connsiteX5416" fmla="*/ 5774883 w 6886183"/>
              <a:gd name="connsiteY5416" fmla="*/ 1656779 h 2705233"/>
              <a:gd name="connsiteX5417" fmla="*/ 5793171 w 6886183"/>
              <a:gd name="connsiteY5417" fmla="*/ 1655922 h 2705233"/>
              <a:gd name="connsiteX5418" fmla="*/ 5204049 w 6886183"/>
              <a:gd name="connsiteY5418" fmla="*/ 1654306 h 2705233"/>
              <a:gd name="connsiteX5419" fmla="*/ 5224242 w 6886183"/>
              <a:gd name="connsiteY5419" fmla="*/ 1664785 h 2705233"/>
              <a:gd name="connsiteX5420" fmla="*/ 5198525 w 6886183"/>
              <a:gd name="connsiteY5420" fmla="*/ 1676405 h 2705233"/>
              <a:gd name="connsiteX5421" fmla="*/ 5166044 w 6886183"/>
              <a:gd name="connsiteY5421" fmla="*/ 1684216 h 2705233"/>
              <a:gd name="connsiteX5422" fmla="*/ 5144899 w 6886183"/>
              <a:gd name="connsiteY5422" fmla="*/ 1683359 h 2705233"/>
              <a:gd name="connsiteX5423" fmla="*/ 5145280 w 6886183"/>
              <a:gd name="connsiteY5423" fmla="*/ 1674595 h 2705233"/>
              <a:gd name="connsiteX5424" fmla="*/ 5170426 w 6886183"/>
              <a:gd name="connsiteY5424" fmla="*/ 1662593 h 2705233"/>
              <a:gd name="connsiteX5425" fmla="*/ 5187381 w 6886183"/>
              <a:gd name="connsiteY5425" fmla="*/ 1657545 h 2705233"/>
              <a:gd name="connsiteX5426" fmla="*/ 5204049 w 6886183"/>
              <a:gd name="connsiteY5426" fmla="*/ 1654306 h 2705233"/>
              <a:gd name="connsiteX5427" fmla="*/ 4411259 w 6886183"/>
              <a:gd name="connsiteY5427" fmla="*/ 1651818 h 2705233"/>
              <a:gd name="connsiteX5428" fmla="*/ 4423761 w 6886183"/>
              <a:gd name="connsiteY5428" fmla="*/ 1664880 h 2705233"/>
              <a:gd name="connsiteX5429" fmla="*/ 4341179 w 6886183"/>
              <a:gd name="connsiteY5429" fmla="*/ 1712505 h 2705233"/>
              <a:gd name="connsiteX5430" fmla="*/ 4281076 w 6886183"/>
              <a:gd name="connsiteY5430" fmla="*/ 1706600 h 2705233"/>
              <a:gd name="connsiteX5431" fmla="*/ 4364325 w 6886183"/>
              <a:gd name="connsiteY5431" fmla="*/ 1658118 h 2705233"/>
              <a:gd name="connsiteX5432" fmla="*/ 4411259 w 6886183"/>
              <a:gd name="connsiteY5432" fmla="*/ 1651818 h 2705233"/>
              <a:gd name="connsiteX5433" fmla="*/ 4913263 w 6886183"/>
              <a:gd name="connsiteY5433" fmla="*/ 1648617 h 2705233"/>
              <a:gd name="connsiteX5434" fmla="*/ 4914870 w 6886183"/>
              <a:gd name="connsiteY5434" fmla="*/ 1660309 h 2705233"/>
              <a:gd name="connsiteX5435" fmla="*/ 4888486 w 6886183"/>
              <a:gd name="connsiteY5435" fmla="*/ 1677359 h 2705233"/>
              <a:gd name="connsiteX5436" fmla="*/ 4869436 w 6886183"/>
              <a:gd name="connsiteY5436" fmla="*/ 1684693 h 2705233"/>
              <a:gd name="connsiteX5437" fmla="*/ 4848862 w 6886183"/>
              <a:gd name="connsiteY5437" fmla="*/ 1690502 h 2705233"/>
              <a:gd name="connsiteX5438" fmla="*/ 4814763 w 6886183"/>
              <a:gd name="connsiteY5438" fmla="*/ 1682407 h 2705233"/>
              <a:gd name="connsiteX5439" fmla="*/ 4840004 w 6886183"/>
              <a:gd name="connsiteY5439" fmla="*/ 1664786 h 2705233"/>
              <a:gd name="connsiteX5440" fmla="*/ 4880580 w 6886183"/>
              <a:gd name="connsiteY5440" fmla="*/ 1650783 h 2705233"/>
              <a:gd name="connsiteX5441" fmla="*/ 4913263 w 6886183"/>
              <a:gd name="connsiteY5441" fmla="*/ 1648617 h 2705233"/>
              <a:gd name="connsiteX5442" fmla="*/ 5680966 w 6886183"/>
              <a:gd name="connsiteY5442" fmla="*/ 1647824 h 2705233"/>
              <a:gd name="connsiteX5443" fmla="*/ 5686491 w 6886183"/>
              <a:gd name="connsiteY5443" fmla="*/ 1655255 h 2705233"/>
              <a:gd name="connsiteX5444" fmla="*/ 5668012 w 6886183"/>
              <a:gd name="connsiteY5444" fmla="*/ 1659921 h 2705233"/>
              <a:gd name="connsiteX5445" fmla="*/ 5657439 w 6886183"/>
              <a:gd name="connsiteY5445" fmla="*/ 1661160 h 2705233"/>
              <a:gd name="connsiteX5446" fmla="*/ 5647057 w 6886183"/>
              <a:gd name="connsiteY5446" fmla="*/ 1661160 h 2705233"/>
              <a:gd name="connsiteX5447" fmla="*/ 5641152 w 6886183"/>
              <a:gd name="connsiteY5447" fmla="*/ 1653826 h 2705233"/>
              <a:gd name="connsiteX5448" fmla="*/ 5659630 w 6886183"/>
              <a:gd name="connsiteY5448" fmla="*/ 1648872 h 2705233"/>
              <a:gd name="connsiteX5449" fmla="*/ 5680966 w 6886183"/>
              <a:gd name="connsiteY5449" fmla="*/ 1647824 h 2705233"/>
              <a:gd name="connsiteX5450" fmla="*/ 6017103 w 6886183"/>
              <a:gd name="connsiteY5450" fmla="*/ 1645063 h 2705233"/>
              <a:gd name="connsiteX5451" fmla="*/ 6017103 w 6886183"/>
              <a:gd name="connsiteY5451" fmla="*/ 1649540 h 2705233"/>
              <a:gd name="connsiteX5452" fmla="*/ 5991576 w 6886183"/>
              <a:gd name="connsiteY5452" fmla="*/ 1650397 h 2705233"/>
              <a:gd name="connsiteX5453" fmla="*/ 5991290 w 6886183"/>
              <a:gd name="connsiteY5453" fmla="*/ 1645634 h 2705233"/>
              <a:gd name="connsiteX5454" fmla="*/ 6017103 w 6886183"/>
              <a:gd name="connsiteY5454" fmla="*/ 1645063 h 2705233"/>
              <a:gd name="connsiteX5455" fmla="*/ 3867989 w 6886183"/>
              <a:gd name="connsiteY5455" fmla="*/ 1644473 h 2705233"/>
              <a:gd name="connsiteX5456" fmla="*/ 3890742 w 6886183"/>
              <a:gd name="connsiteY5456" fmla="*/ 1659260 h 2705233"/>
              <a:gd name="connsiteX5457" fmla="*/ 3818638 w 6886183"/>
              <a:gd name="connsiteY5457" fmla="*/ 1706886 h 2705233"/>
              <a:gd name="connsiteX5458" fmla="*/ 3738628 w 6886183"/>
              <a:gd name="connsiteY5458" fmla="*/ 1701742 h 2705233"/>
              <a:gd name="connsiteX5459" fmla="*/ 3812446 w 6886183"/>
              <a:gd name="connsiteY5459" fmla="*/ 1651260 h 2705233"/>
              <a:gd name="connsiteX5460" fmla="*/ 3867989 w 6886183"/>
              <a:gd name="connsiteY5460" fmla="*/ 1644473 h 2705233"/>
              <a:gd name="connsiteX5461" fmla="*/ 5332256 w 6886183"/>
              <a:gd name="connsiteY5461" fmla="*/ 1644402 h 2705233"/>
              <a:gd name="connsiteX5462" fmla="*/ 5344638 w 6886183"/>
              <a:gd name="connsiteY5462" fmla="*/ 1644402 h 2705233"/>
              <a:gd name="connsiteX5463" fmla="*/ 5351687 w 6886183"/>
              <a:gd name="connsiteY5463" fmla="*/ 1646306 h 2705233"/>
              <a:gd name="connsiteX5464" fmla="*/ 5347877 w 6886183"/>
              <a:gd name="connsiteY5464" fmla="*/ 1654497 h 2705233"/>
              <a:gd name="connsiteX5465" fmla="*/ 5323397 w 6886183"/>
              <a:gd name="connsiteY5465" fmla="*/ 1664500 h 2705233"/>
              <a:gd name="connsiteX5466" fmla="*/ 5307872 w 6886183"/>
              <a:gd name="connsiteY5466" fmla="*/ 1668214 h 2705233"/>
              <a:gd name="connsiteX5467" fmla="*/ 5300156 w 6886183"/>
              <a:gd name="connsiteY5467" fmla="*/ 1669453 h 2705233"/>
              <a:gd name="connsiteX5468" fmla="*/ 5292727 w 6886183"/>
              <a:gd name="connsiteY5468" fmla="*/ 1670499 h 2705233"/>
              <a:gd name="connsiteX5469" fmla="*/ 5276439 w 6886183"/>
              <a:gd name="connsiteY5469" fmla="*/ 1660974 h 2705233"/>
              <a:gd name="connsiteX5470" fmla="*/ 5300918 w 6886183"/>
              <a:gd name="connsiteY5470" fmla="*/ 1650497 h 2705233"/>
              <a:gd name="connsiteX5471" fmla="*/ 5332256 w 6886183"/>
              <a:gd name="connsiteY5471" fmla="*/ 1644402 h 2705233"/>
              <a:gd name="connsiteX5472" fmla="*/ 4685699 w 6886183"/>
              <a:gd name="connsiteY5472" fmla="*/ 1641830 h 2705233"/>
              <a:gd name="connsiteX5473" fmla="*/ 4693509 w 6886183"/>
              <a:gd name="connsiteY5473" fmla="*/ 1654211 h 2705233"/>
              <a:gd name="connsiteX5474" fmla="*/ 4683984 w 6886183"/>
              <a:gd name="connsiteY5474" fmla="*/ 1664308 h 2705233"/>
              <a:gd name="connsiteX5475" fmla="*/ 4667220 w 6886183"/>
              <a:gd name="connsiteY5475" fmla="*/ 1675166 h 2705233"/>
              <a:gd name="connsiteX5476" fmla="*/ 4623786 w 6886183"/>
              <a:gd name="connsiteY5476" fmla="*/ 1693170 h 2705233"/>
              <a:gd name="connsiteX5477" fmla="*/ 4577971 w 6886183"/>
              <a:gd name="connsiteY5477" fmla="*/ 1686406 h 2705233"/>
              <a:gd name="connsiteX5478" fmla="*/ 4603688 w 6886183"/>
              <a:gd name="connsiteY5478" fmla="*/ 1664498 h 2705233"/>
              <a:gd name="connsiteX5479" fmla="*/ 4614071 w 6886183"/>
              <a:gd name="connsiteY5479" fmla="*/ 1658879 h 2705233"/>
              <a:gd name="connsiteX5480" fmla="*/ 4625215 w 6886183"/>
              <a:gd name="connsiteY5480" fmla="*/ 1653830 h 2705233"/>
              <a:gd name="connsiteX5481" fmla="*/ 4648742 w 6886183"/>
              <a:gd name="connsiteY5481" fmla="*/ 1645639 h 2705233"/>
              <a:gd name="connsiteX5482" fmla="*/ 4685699 w 6886183"/>
              <a:gd name="connsiteY5482" fmla="*/ 1641830 h 2705233"/>
              <a:gd name="connsiteX5483" fmla="*/ 5568571 w 6886183"/>
              <a:gd name="connsiteY5483" fmla="*/ 1641828 h 2705233"/>
              <a:gd name="connsiteX5484" fmla="*/ 5573905 w 6886183"/>
              <a:gd name="connsiteY5484" fmla="*/ 1641828 h 2705233"/>
              <a:gd name="connsiteX5485" fmla="*/ 5578001 w 6886183"/>
              <a:gd name="connsiteY5485" fmla="*/ 1642304 h 2705233"/>
              <a:gd name="connsiteX5486" fmla="*/ 5582573 w 6886183"/>
              <a:gd name="connsiteY5486" fmla="*/ 1644209 h 2705233"/>
              <a:gd name="connsiteX5487" fmla="*/ 5576287 w 6886183"/>
              <a:gd name="connsiteY5487" fmla="*/ 1650495 h 2705233"/>
              <a:gd name="connsiteX5488" fmla="*/ 5532567 w 6886183"/>
              <a:gd name="connsiteY5488" fmla="*/ 1659259 h 2705233"/>
              <a:gd name="connsiteX5489" fmla="*/ 5522375 w 6886183"/>
              <a:gd name="connsiteY5489" fmla="*/ 1651353 h 2705233"/>
              <a:gd name="connsiteX5490" fmla="*/ 5531900 w 6886183"/>
              <a:gd name="connsiteY5490" fmla="*/ 1647638 h 2705233"/>
              <a:gd name="connsiteX5491" fmla="*/ 5543425 w 6886183"/>
              <a:gd name="connsiteY5491" fmla="*/ 1644686 h 2705233"/>
              <a:gd name="connsiteX5492" fmla="*/ 5568571 w 6886183"/>
              <a:gd name="connsiteY5492" fmla="*/ 1641828 h 2705233"/>
              <a:gd name="connsiteX5493" fmla="*/ 5449604 w 6886183"/>
              <a:gd name="connsiteY5493" fmla="*/ 1641449 h 2705233"/>
              <a:gd name="connsiteX5494" fmla="*/ 5461415 w 6886183"/>
              <a:gd name="connsiteY5494" fmla="*/ 1650973 h 2705233"/>
              <a:gd name="connsiteX5495" fmla="*/ 5439127 w 6886183"/>
              <a:gd name="connsiteY5495" fmla="*/ 1658688 h 2705233"/>
              <a:gd name="connsiteX5496" fmla="*/ 5412076 w 6886183"/>
              <a:gd name="connsiteY5496" fmla="*/ 1663451 h 2705233"/>
              <a:gd name="connsiteX5497" fmla="*/ 5399693 w 6886183"/>
              <a:gd name="connsiteY5497" fmla="*/ 1653926 h 2705233"/>
              <a:gd name="connsiteX5498" fmla="*/ 5421982 w 6886183"/>
              <a:gd name="connsiteY5498" fmla="*/ 1645830 h 2705233"/>
              <a:gd name="connsiteX5499" fmla="*/ 5449604 w 6886183"/>
              <a:gd name="connsiteY5499" fmla="*/ 1641449 h 2705233"/>
              <a:gd name="connsiteX5500" fmla="*/ 5034885 w 6886183"/>
              <a:gd name="connsiteY5500" fmla="*/ 1628304 h 2705233"/>
              <a:gd name="connsiteX5501" fmla="*/ 5045172 w 6886183"/>
              <a:gd name="connsiteY5501" fmla="*/ 1630209 h 2705233"/>
              <a:gd name="connsiteX5502" fmla="*/ 5044505 w 6886183"/>
              <a:gd name="connsiteY5502" fmla="*/ 1641258 h 2705233"/>
              <a:gd name="connsiteX5503" fmla="*/ 5039266 w 6886183"/>
              <a:gd name="connsiteY5503" fmla="*/ 1645162 h 2705233"/>
              <a:gd name="connsiteX5504" fmla="*/ 5036123 w 6886183"/>
              <a:gd name="connsiteY5504" fmla="*/ 1647067 h 2705233"/>
              <a:gd name="connsiteX5505" fmla="*/ 5032504 w 6886183"/>
              <a:gd name="connsiteY5505" fmla="*/ 1649164 h 2705233"/>
              <a:gd name="connsiteX5506" fmla="*/ 5015359 w 6886183"/>
              <a:gd name="connsiteY5506" fmla="*/ 1657070 h 2705233"/>
              <a:gd name="connsiteX5507" fmla="*/ 4995832 w 6886183"/>
              <a:gd name="connsiteY5507" fmla="*/ 1663737 h 2705233"/>
              <a:gd name="connsiteX5508" fmla="*/ 4976782 w 6886183"/>
              <a:gd name="connsiteY5508" fmla="*/ 1668309 h 2705233"/>
              <a:gd name="connsiteX5509" fmla="*/ 4950303 w 6886183"/>
              <a:gd name="connsiteY5509" fmla="*/ 1657831 h 2705233"/>
              <a:gd name="connsiteX5510" fmla="*/ 4978878 w 6886183"/>
              <a:gd name="connsiteY5510" fmla="*/ 1641068 h 2705233"/>
              <a:gd name="connsiteX5511" fmla="*/ 5018788 w 6886183"/>
              <a:gd name="connsiteY5511" fmla="*/ 1629543 h 2705233"/>
              <a:gd name="connsiteX5512" fmla="*/ 5034885 w 6886183"/>
              <a:gd name="connsiteY5512" fmla="*/ 1628304 h 2705233"/>
              <a:gd name="connsiteX5513" fmla="*/ 2492791 w 6886183"/>
              <a:gd name="connsiteY5513" fmla="*/ 1628114 h 2705233"/>
              <a:gd name="connsiteX5514" fmla="*/ 2533844 w 6886183"/>
              <a:gd name="connsiteY5514" fmla="*/ 1643925 h 2705233"/>
              <a:gd name="connsiteX5515" fmla="*/ 2491266 w 6886183"/>
              <a:gd name="connsiteY5515" fmla="*/ 1686692 h 2705233"/>
              <a:gd name="connsiteX5516" fmla="*/ 2434117 w 6886183"/>
              <a:gd name="connsiteY5516" fmla="*/ 1688978 h 2705233"/>
              <a:gd name="connsiteX5517" fmla="*/ 2410114 w 6886183"/>
              <a:gd name="connsiteY5517" fmla="*/ 1683455 h 2705233"/>
              <a:gd name="connsiteX5518" fmla="*/ 2392396 w 6886183"/>
              <a:gd name="connsiteY5518" fmla="*/ 1673929 h 2705233"/>
              <a:gd name="connsiteX5519" fmla="*/ 2433831 w 6886183"/>
              <a:gd name="connsiteY5519" fmla="*/ 1630115 h 2705233"/>
              <a:gd name="connsiteX5520" fmla="*/ 2492791 w 6886183"/>
              <a:gd name="connsiteY5520" fmla="*/ 1628114 h 2705233"/>
              <a:gd name="connsiteX5521" fmla="*/ 3119608 w 6886183"/>
              <a:gd name="connsiteY5521" fmla="*/ 1628031 h 2705233"/>
              <a:gd name="connsiteX5522" fmla="*/ 3152792 w 6886183"/>
              <a:gd name="connsiteY5522" fmla="*/ 1643830 h 2705233"/>
              <a:gd name="connsiteX5523" fmla="*/ 3096306 w 6886183"/>
              <a:gd name="connsiteY5523" fmla="*/ 1689644 h 2705233"/>
              <a:gd name="connsiteX5524" fmla="*/ 3039157 w 6886183"/>
              <a:gd name="connsiteY5524" fmla="*/ 1695073 h 2705233"/>
              <a:gd name="connsiteX5525" fmla="*/ 3003915 w 6886183"/>
              <a:gd name="connsiteY5525" fmla="*/ 1680977 h 2705233"/>
              <a:gd name="connsiteX5526" fmla="*/ 3061064 w 6886183"/>
              <a:gd name="connsiteY5526" fmla="*/ 1632591 h 2705233"/>
              <a:gd name="connsiteX5527" fmla="*/ 3119608 w 6886183"/>
              <a:gd name="connsiteY5527" fmla="*/ 1628031 h 2705233"/>
              <a:gd name="connsiteX5528" fmla="*/ 4259812 w 6886183"/>
              <a:gd name="connsiteY5528" fmla="*/ 1625805 h 2705233"/>
              <a:gd name="connsiteX5529" fmla="*/ 4273742 w 6886183"/>
              <a:gd name="connsiteY5529" fmla="*/ 1640401 h 2705233"/>
              <a:gd name="connsiteX5530" fmla="*/ 4192399 w 6886183"/>
              <a:gd name="connsiteY5530" fmla="*/ 1688598 h 2705233"/>
              <a:gd name="connsiteX5531" fmla="*/ 4126772 w 6886183"/>
              <a:gd name="connsiteY5531" fmla="*/ 1681929 h 2705233"/>
              <a:gd name="connsiteX5532" fmla="*/ 4210592 w 6886183"/>
              <a:gd name="connsiteY5532" fmla="*/ 1631353 h 2705233"/>
              <a:gd name="connsiteX5533" fmla="*/ 4259812 w 6886183"/>
              <a:gd name="connsiteY5533" fmla="*/ 1625805 h 2705233"/>
              <a:gd name="connsiteX5534" fmla="*/ 5886706 w 6886183"/>
              <a:gd name="connsiteY5534" fmla="*/ 1625727 h 2705233"/>
              <a:gd name="connsiteX5535" fmla="*/ 5904613 w 6886183"/>
              <a:gd name="connsiteY5535" fmla="*/ 1625727 h 2705233"/>
              <a:gd name="connsiteX5536" fmla="*/ 5909281 w 6886183"/>
              <a:gd name="connsiteY5536" fmla="*/ 1632013 h 2705233"/>
              <a:gd name="connsiteX5537" fmla="*/ 5893564 w 6886183"/>
              <a:gd name="connsiteY5537" fmla="*/ 1634871 h 2705233"/>
              <a:gd name="connsiteX5538" fmla="*/ 5889088 w 6886183"/>
              <a:gd name="connsiteY5538" fmla="*/ 1634871 h 2705233"/>
              <a:gd name="connsiteX5539" fmla="*/ 5884611 w 6886183"/>
              <a:gd name="connsiteY5539" fmla="*/ 1634871 h 2705233"/>
              <a:gd name="connsiteX5540" fmla="*/ 5875943 w 6886183"/>
              <a:gd name="connsiteY5540" fmla="*/ 1634871 h 2705233"/>
              <a:gd name="connsiteX5541" fmla="*/ 5870895 w 6886183"/>
              <a:gd name="connsiteY5541" fmla="*/ 1628775 h 2705233"/>
              <a:gd name="connsiteX5542" fmla="*/ 5886706 w 6886183"/>
              <a:gd name="connsiteY5542" fmla="*/ 1625727 h 2705233"/>
              <a:gd name="connsiteX5543" fmla="*/ 574053 w 6886183"/>
              <a:gd name="connsiteY5543" fmla="*/ 1617630 h 2705233"/>
              <a:gd name="connsiteX5544" fmla="*/ 579767 w 6886183"/>
              <a:gd name="connsiteY5544" fmla="*/ 1619916 h 2705233"/>
              <a:gd name="connsiteX5545" fmla="*/ 583101 w 6886183"/>
              <a:gd name="connsiteY5545" fmla="*/ 1621726 h 2705233"/>
              <a:gd name="connsiteX5546" fmla="*/ 586911 w 6886183"/>
              <a:gd name="connsiteY5546" fmla="*/ 1623821 h 2705233"/>
              <a:gd name="connsiteX5547" fmla="*/ 594818 w 6886183"/>
              <a:gd name="connsiteY5547" fmla="*/ 1629060 h 2705233"/>
              <a:gd name="connsiteX5548" fmla="*/ 596818 w 6886183"/>
              <a:gd name="connsiteY5548" fmla="*/ 1630489 h 2705233"/>
              <a:gd name="connsiteX5549" fmla="*/ 598913 w 6886183"/>
              <a:gd name="connsiteY5549" fmla="*/ 1631918 h 2705233"/>
              <a:gd name="connsiteX5550" fmla="*/ 603104 w 6886183"/>
              <a:gd name="connsiteY5550" fmla="*/ 1634965 h 2705233"/>
              <a:gd name="connsiteX5551" fmla="*/ 611391 w 6886183"/>
              <a:gd name="connsiteY5551" fmla="*/ 1641633 h 2705233"/>
              <a:gd name="connsiteX5552" fmla="*/ 619773 w 6886183"/>
              <a:gd name="connsiteY5552" fmla="*/ 1648682 h 2705233"/>
              <a:gd name="connsiteX5553" fmla="*/ 627776 w 6886183"/>
              <a:gd name="connsiteY5553" fmla="*/ 1656206 h 2705233"/>
              <a:gd name="connsiteX5554" fmla="*/ 635586 w 6886183"/>
              <a:gd name="connsiteY5554" fmla="*/ 1663731 h 2705233"/>
              <a:gd name="connsiteX5555" fmla="*/ 642730 w 6886183"/>
              <a:gd name="connsiteY5555" fmla="*/ 1671351 h 2705233"/>
              <a:gd name="connsiteX5556" fmla="*/ 649016 w 6886183"/>
              <a:gd name="connsiteY5556" fmla="*/ 1678876 h 2705233"/>
              <a:gd name="connsiteX5557" fmla="*/ 656635 w 6886183"/>
              <a:gd name="connsiteY5557" fmla="*/ 1697926 h 2705233"/>
              <a:gd name="connsiteX5558" fmla="*/ 634634 w 6886183"/>
              <a:gd name="connsiteY5558" fmla="*/ 1694973 h 2705233"/>
              <a:gd name="connsiteX5559" fmla="*/ 616439 w 6886183"/>
              <a:gd name="connsiteY5559" fmla="*/ 1684972 h 2705233"/>
              <a:gd name="connsiteX5560" fmla="*/ 598627 w 6886183"/>
              <a:gd name="connsiteY5560" fmla="*/ 1671351 h 2705233"/>
              <a:gd name="connsiteX5561" fmla="*/ 583006 w 6886183"/>
              <a:gd name="connsiteY5561" fmla="*/ 1655540 h 2705233"/>
              <a:gd name="connsiteX5562" fmla="*/ 571290 w 6886183"/>
              <a:gd name="connsiteY5562" fmla="*/ 1638871 h 2705233"/>
              <a:gd name="connsiteX5563" fmla="*/ 566909 w 6886183"/>
              <a:gd name="connsiteY5563" fmla="*/ 1618202 h 2705233"/>
              <a:gd name="connsiteX5564" fmla="*/ 574053 w 6886183"/>
              <a:gd name="connsiteY5564" fmla="*/ 1617630 h 2705233"/>
              <a:gd name="connsiteX5565" fmla="*/ 5156329 w 6886183"/>
              <a:gd name="connsiteY5565" fmla="*/ 1612590 h 2705233"/>
              <a:gd name="connsiteX5566" fmla="*/ 5178236 w 6886183"/>
              <a:gd name="connsiteY5566" fmla="*/ 1624685 h 2705233"/>
              <a:gd name="connsiteX5567" fmla="*/ 5149661 w 6886183"/>
              <a:gd name="connsiteY5567" fmla="*/ 1637924 h 2705233"/>
              <a:gd name="connsiteX5568" fmla="*/ 5131659 w 6886183"/>
              <a:gd name="connsiteY5568" fmla="*/ 1643354 h 2705233"/>
              <a:gd name="connsiteX5569" fmla="*/ 5113942 w 6886183"/>
              <a:gd name="connsiteY5569" fmla="*/ 1646877 h 2705233"/>
              <a:gd name="connsiteX5570" fmla="*/ 5090416 w 6886183"/>
              <a:gd name="connsiteY5570" fmla="*/ 1646020 h 2705233"/>
              <a:gd name="connsiteX5571" fmla="*/ 5092225 w 6886183"/>
              <a:gd name="connsiteY5571" fmla="*/ 1635925 h 2705233"/>
              <a:gd name="connsiteX5572" fmla="*/ 5119467 w 6886183"/>
              <a:gd name="connsiteY5572" fmla="*/ 1622019 h 2705233"/>
              <a:gd name="connsiteX5573" fmla="*/ 5137850 w 6886183"/>
              <a:gd name="connsiteY5573" fmla="*/ 1616209 h 2705233"/>
              <a:gd name="connsiteX5574" fmla="*/ 5156329 w 6886183"/>
              <a:gd name="connsiteY5574" fmla="*/ 1612590 h 2705233"/>
              <a:gd name="connsiteX5575" fmla="*/ 3643283 w 6886183"/>
              <a:gd name="connsiteY5575" fmla="*/ 1611792 h 2705233"/>
              <a:gd name="connsiteX5576" fmla="*/ 3669381 w 6886183"/>
              <a:gd name="connsiteY5576" fmla="*/ 1628305 h 2705233"/>
              <a:gd name="connsiteX5577" fmla="*/ 3600706 w 6886183"/>
              <a:gd name="connsiteY5577" fmla="*/ 1676596 h 2705233"/>
              <a:gd name="connsiteX5578" fmla="*/ 3518508 w 6886183"/>
              <a:gd name="connsiteY5578" fmla="*/ 1668596 h 2705233"/>
              <a:gd name="connsiteX5579" fmla="*/ 3584609 w 6886183"/>
              <a:gd name="connsiteY5579" fmla="*/ 1618780 h 2705233"/>
              <a:gd name="connsiteX5580" fmla="*/ 3643283 w 6886183"/>
              <a:gd name="connsiteY5580" fmla="*/ 1611792 h 2705233"/>
              <a:gd name="connsiteX5581" fmla="*/ 4836396 w 6886183"/>
              <a:gd name="connsiteY5581" fmla="*/ 1611648 h 2705233"/>
              <a:gd name="connsiteX5582" fmla="*/ 4838956 w 6886183"/>
              <a:gd name="connsiteY5582" fmla="*/ 1624590 h 2705233"/>
              <a:gd name="connsiteX5583" fmla="*/ 4811905 w 6886183"/>
              <a:gd name="connsiteY5583" fmla="*/ 1643640 h 2705233"/>
              <a:gd name="connsiteX5584" fmla="*/ 4802380 w 6886183"/>
              <a:gd name="connsiteY5584" fmla="*/ 1648019 h 2705233"/>
              <a:gd name="connsiteX5585" fmla="*/ 4791997 w 6886183"/>
              <a:gd name="connsiteY5585" fmla="*/ 1652116 h 2705233"/>
              <a:gd name="connsiteX5586" fmla="*/ 4769899 w 6886183"/>
              <a:gd name="connsiteY5586" fmla="*/ 1659165 h 2705233"/>
              <a:gd name="connsiteX5587" fmla="*/ 4736371 w 6886183"/>
              <a:gd name="connsiteY5587" fmla="*/ 1662308 h 2705233"/>
              <a:gd name="connsiteX5588" fmla="*/ 4731228 w 6886183"/>
              <a:gd name="connsiteY5588" fmla="*/ 1650592 h 2705233"/>
              <a:gd name="connsiteX5589" fmla="*/ 4741324 w 6886183"/>
              <a:gd name="connsiteY5589" fmla="*/ 1640211 h 2705233"/>
              <a:gd name="connsiteX5590" fmla="*/ 4757898 w 6886183"/>
              <a:gd name="connsiteY5590" fmla="*/ 1630114 h 2705233"/>
              <a:gd name="connsiteX5591" fmla="*/ 4779043 w 6886183"/>
              <a:gd name="connsiteY5591" fmla="*/ 1620589 h 2705233"/>
              <a:gd name="connsiteX5592" fmla="*/ 4802761 w 6886183"/>
              <a:gd name="connsiteY5592" fmla="*/ 1613637 h 2705233"/>
              <a:gd name="connsiteX5593" fmla="*/ 4836396 w 6886183"/>
              <a:gd name="connsiteY5593" fmla="*/ 1611648 h 2705233"/>
              <a:gd name="connsiteX5594" fmla="*/ 5776692 w 6886183"/>
              <a:gd name="connsiteY5594" fmla="*/ 1611538 h 2705233"/>
              <a:gd name="connsiteX5595" fmla="*/ 5787360 w 6886183"/>
              <a:gd name="connsiteY5595" fmla="*/ 1611538 h 2705233"/>
              <a:gd name="connsiteX5596" fmla="*/ 5793075 w 6886183"/>
              <a:gd name="connsiteY5596" fmla="*/ 1619347 h 2705233"/>
              <a:gd name="connsiteX5597" fmla="*/ 5783550 w 6886183"/>
              <a:gd name="connsiteY5597" fmla="*/ 1622014 h 2705233"/>
              <a:gd name="connsiteX5598" fmla="*/ 5778216 w 6886183"/>
              <a:gd name="connsiteY5598" fmla="*/ 1622967 h 2705233"/>
              <a:gd name="connsiteX5599" fmla="*/ 5772597 w 6886183"/>
              <a:gd name="connsiteY5599" fmla="*/ 1623824 h 2705233"/>
              <a:gd name="connsiteX5600" fmla="*/ 5750213 w 6886183"/>
              <a:gd name="connsiteY5600" fmla="*/ 1624777 h 2705233"/>
              <a:gd name="connsiteX5601" fmla="*/ 5746689 w 6886183"/>
              <a:gd name="connsiteY5601" fmla="*/ 1616967 h 2705233"/>
              <a:gd name="connsiteX5602" fmla="*/ 5765739 w 6886183"/>
              <a:gd name="connsiteY5602" fmla="*/ 1612586 h 2705233"/>
              <a:gd name="connsiteX5603" fmla="*/ 5776692 w 6886183"/>
              <a:gd name="connsiteY5603" fmla="*/ 1611538 h 2705233"/>
              <a:gd name="connsiteX5604" fmla="*/ 4585591 w 6886183"/>
              <a:gd name="connsiteY5604" fmla="*/ 1608577 h 2705233"/>
              <a:gd name="connsiteX5605" fmla="*/ 4592449 w 6886183"/>
              <a:gd name="connsiteY5605" fmla="*/ 1623352 h 2705233"/>
              <a:gd name="connsiteX5606" fmla="*/ 4563874 w 6886183"/>
              <a:gd name="connsiteY5606" fmla="*/ 1646783 h 2705233"/>
              <a:gd name="connsiteX5607" fmla="*/ 4553396 w 6886183"/>
              <a:gd name="connsiteY5607" fmla="*/ 1652403 h 2705233"/>
              <a:gd name="connsiteX5608" fmla="*/ 4547872 w 6886183"/>
              <a:gd name="connsiteY5608" fmla="*/ 1654974 h 2705233"/>
              <a:gd name="connsiteX5609" fmla="*/ 4546348 w 6886183"/>
              <a:gd name="connsiteY5609" fmla="*/ 1655642 h 2705233"/>
              <a:gd name="connsiteX5610" fmla="*/ 4544729 w 6886183"/>
              <a:gd name="connsiteY5610" fmla="*/ 1656403 h 2705233"/>
              <a:gd name="connsiteX5611" fmla="*/ 4541300 w 6886183"/>
              <a:gd name="connsiteY5611" fmla="*/ 1657356 h 2705233"/>
              <a:gd name="connsiteX5612" fmla="*/ 4515392 w 6886183"/>
              <a:gd name="connsiteY5612" fmla="*/ 1666881 h 2705233"/>
              <a:gd name="connsiteX5613" fmla="*/ 4462909 w 6886183"/>
              <a:gd name="connsiteY5613" fmla="*/ 1658594 h 2705233"/>
              <a:gd name="connsiteX5614" fmla="*/ 4495484 w 6886183"/>
              <a:gd name="connsiteY5614" fmla="*/ 1633258 h 2705233"/>
              <a:gd name="connsiteX5615" fmla="*/ 4520726 w 6886183"/>
              <a:gd name="connsiteY5615" fmla="*/ 1621066 h 2705233"/>
              <a:gd name="connsiteX5616" fmla="*/ 4534156 w 6886183"/>
              <a:gd name="connsiteY5616" fmla="*/ 1615923 h 2705233"/>
              <a:gd name="connsiteX5617" fmla="*/ 4537299 w 6886183"/>
              <a:gd name="connsiteY5617" fmla="*/ 1614780 h 2705233"/>
              <a:gd name="connsiteX5618" fmla="*/ 4540347 w 6886183"/>
              <a:gd name="connsiteY5618" fmla="*/ 1613828 h 2705233"/>
              <a:gd name="connsiteX5619" fmla="*/ 4546157 w 6886183"/>
              <a:gd name="connsiteY5619" fmla="*/ 1612018 h 2705233"/>
              <a:gd name="connsiteX5620" fmla="*/ 4585591 w 6886183"/>
              <a:gd name="connsiteY5620" fmla="*/ 1608577 h 2705233"/>
              <a:gd name="connsiteX5621" fmla="*/ 5293585 w 6886183"/>
              <a:gd name="connsiteY5621" fmla="*/ 1602588 h 2705233"/>
              <a:gd name="connsiteX5622" fmla="*/ 5300062 w 6886183"/>
              <a:gd name="connsiteY5622" fmla="*/ 1602588 h 2705233"/>
              <a:gd name="connsiteX5623" fmla="*/ 5308348 w 6886183"/>
              <a:gd name="connsiteY5623" fmla="*/ 1604493 h 2705233"/>
              <a:gd name="connsiteX5624" fmla="*/ 5304157 w 6886183"/>
              <a:gd name="connsiteY5624" fmla="*/ 1614018 h 2705233"/>
              <a:gd name="connsiteX5625" fmla="*/ 5292918 w 6886183"/>
              <a:gd name="connsiteY5625" fmla="*/ 1620113 h 2705233"/>
              <a:gd name="connsiteX5626" fmla="*/ 5278249 w 6886183"/>
              <a:gd name="connsiteY5626" fmla="*/ 1625638 h 2705233"/>
              <a:gd name="connsiteX5627" fmla="*/ 5244626 w 6886183"/>
              <a:gd name="connsiteY5627" fmla="*/ 1632686 h 2705233"/>
              <a:gd name="connsiteX5628" fmla="*/ 5225195 w 6886183"/>
              <a:gd name="connsiteY5628" fmla="*/ 1622780 h 2705233"/>
              <a:gd name="connsiteX5629" fmla="*/ 5236149 w 6886183"/>
              <a:gd name="connsiteY5629" fmla="*/ 1616304 h 2705233"/>
              <a:gd name="connsiteX5630" fmla="*/ 5243197 w 6886183"/>
              <a:gd name="connsiteY5630" fmla="*/ 1613256 h 2705233"/>
              <a:gd name="connsiteX5631" fmla="*/ 5250913 w 6886183"/>
              <a:gd name="connsiteY5631" fmla="*/ 1610494 h 2705233"/>
              <a:gd name="connsiteX5632" fmla="*/ 5285584 w 6886183"/>
              <a:gd name="connsiteY5632" fmla="*/ 1603255 h 2705233"/>
              <a:gd name="connsiteX5633" fmla="*/ 5293585 w 6886183"/>
              <a:gd name="connsiteY5633" fmla="*/ 1602588 h 2705233"/>
              <a:gd name="connsiteX5634" fmla="*/ 5666012 w 6886183"/>
              <a:gd name="connsiteY5634" fmla="*/ 1601443 h 2705233"/>
              <a:gd name="connsiteX5635" fmla="*/ 5672774 w 6886183"/>
              <a:gd name="connsiteY5635" fmla="*/ 1610969 h 2705233"/>
              <a:gd name="connsiteX5636" fmla="*/ 5650772 w 6886183"/>
              <a:gd name="connsiteY5636" fmla="*/ 1616873 h 2705233"/>
              <a:gd name="connsiteX5637" fmla="*/ 5625721 w 6886183"/>
              <a:gd name="connsiteY5637" fmla="*/ 1619254 h 2705233"/>
              <a:gd name="connsiteX5638" fmla="*/ 5616196 w 6886183"/>
              <a:gd name="connsiteY5638" fmla="*/ 1618491 h 2705233"/>
              <a:gd name="connsiteX5639" fmla="*/ 5611338 w 6886183"/>
              <a:gd name="connsiteY5639" fmla="*/ 1616683 h 2705233"/>
              <a:gd name="connsiteX5640" fmla="*/ 5616386 w 6886183"/>
              <a:gd name="connsiteY5640" fmla="*/ 1610397 h 2705233"/>
              <a:gd name="connsiteX5641" fmla="*/ 5639246 w 6886183"/>
              <a:gd name="connsiteY5641" fmla="*/ 1603825 h 2705233"/>
              <a:gd name="connsiteX5642" fmla="*/ 5666012 w 6886183"/>
              <a:gd name="connsiteY5642" fmla="*/ 1601443 h 2705233"/>
              <a:gd name="connsiteX5643" fmla="*/ 1317967 w 6886183"/>
              <a:gd name="connsiteY5643" fmla="*/ 1599536 h 2705233"/>
              <a:gd name="connsiteX5644" fmla="*/ 1413216 w 6886183"/>
              <a:gd name="connsiteY5644" fmla="*/ 1626872 h 2705233"/>
              <a:gd name="connsiteX5645" fmla="*/ 1423979 w 6886183"/>
              <a:gd name="connsiteY5645" fmla="*/ 1647349 h 2705233"/>
              <a:gd name="connsiteX5646" fmla="*/ 1413787 w 6886183"/>
              <a:gd name="connsiteY5646" fmla="*/ 1653922 h 2705233"/>
              <a:gd name="connsiteX5647" fmla="*/ 1394071 w 6886183"/>
              <a:gd name="connsiteY5647" fmla="*/ 1657351 h 2705233"/>
              <a:gd name="connsiteX5648" fmla="*/ 1381594 w 6886183"/>
              <a:gd name="connsiteY5648" fmla="*/ 1657351 h 2705233"/>
              <a:gd name="connsiteX5649" fmla="*/ 1368735 w 6886183"/>
              <a:gd name="connsiteY5649" fmla="*/ 1656398 h 2705233"/>
              <a:gd name="connsiteX5650" fmla="*/ 1343017 w 6886183"/>
              <a:gd name="connsiteY5650" fmla="*/ 1651636 h 2705233"/>
              <a:gd name="connsiteX5651" fmla="*/ 1319015 w 6886183"/>
              <a:gd name="connsiteY5651" fmla="*/ 1643254 h 2705233"/>
              <a:gd name="connsiteX5652" fmla="*/ 1298726 w 6886183"/>
              <a:gd name="connsiteY5652" fmla="*/ 1632014 h 2705233"/>
              <a:gd name="connsiteX5653" fmla="*/ 1285106 w 6886183"/>
              <a:gd name="connsiteY5653" fmla="*/ 1609061 h 2705233"/>
              <a:gd name="connsiteX5654" fmla="*/ 1317967 w 6886183"/>
              <a:gd name="connsiteY5654" fmla="*/ 1599536 h 2705233"/>
              <a:gd name="connsiteX5655" fmla="*/ 5540567 w 6886183"/>
              <a:gd name="connsiteY5655" fmla="*/ 1597063 h 2705233"/>
              <a:gd name="connsiteX5656" fmla="*/ 5551235 w 6886183"/>
              <a:gd name="connsiteY5656" fmla="*/ 1607825 h 2705233"/>
              <a:gd name="connsiteX5657" fmla="*/ 5526851 w 6886183"/>
              <a:gd name="connsiteY5657" fmla="*/ 1615255 h 2705233"/>
              <a:gd name="connsiteX5658" fmla="*/ 5498848 w 6886183"/>
              <a:gd name="connsiteY5658" fmla="*/ 1619255 h 2705233"/>
              <a:gd name="connsiteX5659" fmla="*/ 5487418 w 6886183"/>
              <a:gd name="connsiteY5659" fmla="*/ 1608969 h 2705233"/>
              <a:gd name="connsiteX5660" fmla="*/ 5511802 w 6886183"/>
              <a:gd name="connsiteY5660" fmla="*/ 1600967 h 2705233"/>
              <a:gd name="connsiteX5661" fmla="*/ 5526661 w 6886183"/>
              <a:gd name="connsiteY5661" fmla="*/ 1598206 h 2705233"/>
              <a:gd name="connsiteX5662" fmla="*/ 5540567 w 6886183"/>
              <a:gd name="connsiteY5662" fmla="*/ 1597063 h 2705233"/>
              <a:gd name="connsiteX5663" fmla="*/ 5415504 w 6886183"/>
              <a:gd name="connsiteY5663" fmla="*/ 1596682 h 2705233"/>
              <a:gd name="connsiteX5664" fmla="*/ 5431411 w 6886183"/>
              <a:gd name="connsiteY5664" fmla="*/ 1607445 h 2705233"/>
              <a:gd name="connsiteX5665" fmla="*/ 5405884 w 6886183"/>
              <a:gd name="connsiteY5665" fmla="*/ 1616970 h 2705233"/>
              <a:gd name="connsiteX5666" fmla="*/ 5389691 w 6886183"/>
              <a:gd name="connsiteY5666" fmla="*/ 1620589 h 2705233"/>
              <a:gd name="connsiteX5667" fmla="*/ 5374070 w 6886183"/>
              <a:gd name="connsiteY5667" fmla="*/ 1622876 h 2705233"/>
              <a:gd name="connsiteX5668" fmla="*/ 5357401 w 6886183"/>
              <a:gd name="connsiteY5668" fmla="*/ 1612685 h 2705233"/>
              <a:gd name="connsiteX5669" fmla="*/ 5382928 w 6886183"/>
              <a:gd name="connsiteY5669" fmla="*/ 1602397 h 2705233"/>
              <a:gd name="connsiteX5670" fmla="*/ 5391120 w 6886183"/>
              <a:gd name="connsiteY5670" fmla="*/ 1600205 h 2705233"/>
              <a:gd name="connsiteX5671" fmla="*/ 5399407 w 6886183"/>
              <a:gd name="connsiteY5671" fmla="*/ 1598587 h 2705233"/>
              <a:gd name="connsiteX5672" fmla="*/ 5415504 w 6886183"/>
              <a:gd name="connsiteY5672" fmla="*/ 1596682 h 2705233"/>
              <a:gd name="connsiteX5673" fmla="*/ 6009102 w 6886183"/>
              <a:gd name="connsiteY5673" fmla="*/ 1595437 h 2705233"/>
              <a:gd name="connsiteX5674" fmla="*/ 6026723 w 6886183"/>
              <a:gd name="connsiteY5674" fmla="*/ 1595913 h 2705233"/>
              <a:gd name="connsiteX5675" fmla="*/ 6035105 w 6886183"/>
              <a:gd name="connsiteY5675" fmla="*/ 1599152 h 2705233"/>
              <a:gd name="connsiteX5676" fmla="*/ 6028152 w 6886183"/>
              <a:gd name="connsiteY5676" fmla="*/ 1602962 h 2705233"/>
              <a:gd name="connsiteX5677" fmla="*/ 6011007 w 6886183"/>
              <a:gd name="connsiteY5677" fmla="*/ 1604772 h 2705233"/>
              <a:gd name="connsiteX5678" fmla="*/ 5994053 w 6886183"/>
              <a:gd name="connsiteY5678" fmla="*/ 1604200 h 2705233"/>
              <a:gd name="connsiteX5679" fmla="*/ 5992148 w 6886183"/>
              <a:gd name="connsiteY5679" fmla="*/ 1597628 h 2705233"/>
              <a:gd name="connsiteX5680" fmla="*/ 5999577 w 6886183"/>
              <a:gd name="connsiteY5680" fmla="*/ 1596199 h 2705233"/>
              <a:gd name="connsiteX5681" fmla="*/ 6009102 w 6886183"/>
              <a:gd name="connsiteY5681" fmla="*/ 1595437 h 2705233"/>
              <a:gd name="connsiteX5682" fmla="*/ 4083183 w 6886183"/>
              <a:gd name="connsiteY5682" fmla="*/ 1592420 h 2705233"/>
              <a:gd name="connsiteX5683" fmla="*/ 4101436 w 6886183"/>
              <a:gd name="connsiteY5683" fmla="*/ 1607446 h 2705233"/>
              <a:gd name="connsiteX5684" fmla="*/ 4021902 w 6886183"/>
              <a:gd name="connsiteY5684" fmla="*/ 1657926 h 2705233"/>
              <a:gd name="connsiteX5685" fmla="*/ 3951322 w 6886183"/>
              <a:gd name="connsiteY5685" fmla="*/ 1650307 h 2705233"/>
              <a:gd name="connsiteX5686" fmla="*/ 4031141 w 6886183"/>
              <a:gd name="connsiteY5686" fmla="*/ 1598397 h 2705233"/>
              <a:gd name="connsiteX5687" fmla="*/ 4083183 w 6886183"/>
              <a:gd name="connsiteY5687" fmla="*/ 1592420 h 2705233"/>
              <a:gd name="connsiteX5688" fmla="*/ 4968686 w 6886183"/>
              <a:gd name="connsiteY5688" fmla="*/ 1585157 h 2705233"/>
              <a:gd name="connsiteX5689" fmla="*/ 4980973 w 6886183"/>
              <a:gd name="connsiteY5689" fmla="*/ 1587062 h 2705233"/>
              <a:gd name="connsiteX5690" fmla="*/ 4981831 w 6886183"/>
              <a:gd name="connsiteY5690" fmla="*/ 1599635 h 2705233"/>
              <a:gd name="connsiteX5691" fmla="*/ 4970115 w 6886183"/>
              <a:gd name="connsiteY5691" fmla="*/ 1608207 h 2705233"/>
              <a:gd name="connsiteX5692" fmla="*/ 4952970 w 6886183"/>
              <a:gd name="connsiteY5692" fmla="*/ 1616970 h 2705233"/>
              <a:gd name="connsiteX5693" fmla="*/ 4933063 w 6886183"/>
              <a:gd name="connsiteY5693" fmla="*/ 1624590 h 2705233"/>
              <a:gd name="connsiteX5694" fmla="*/ 4912679 w 6886183"/>
              <a:gd name="connsiteY5694" fmla="*/ 1630114 h 2705233"/>
              <a:gd name="connsiteX5695" fmla="*/ 4878008 w 6886183"/>
              <a:gd name="connsiteY5695" fmla="*/ 1620113 h 2705233"/>
              <a:gd name="connsiteX5696" fmla="*/ 4906583 w 6886183"/>
              <a:gd name="connsiteY5696" fmla="*/ 1601065 h 2705233"/>
              <a:gd name="connsiteX5697" fmla="*/ 4927824 w 6886183"/>
              <a:gd name="connsiteY5697" fmla="*/ 1592873 h 2705233"/>
              <a:gd name="connsiteX5698" fmla="*/ 4949636 w 6886183"/>
              <a:gd name="connsiteY5698" fmla="*/ 1587157 h 2705233"/>
              <a:gd name="connsiteX5699" fmla="*/ 4968686 w 6886183"/>
              <a:gd name="connsiteY5699" fmla="*/ 1585157 h 2705233"/>
              <a:gd name="connsiteX5700" fmla="*/ 1675631 w 6886183"/>
              <a:gd name="connsiteY5700" fmla="*/ 1579058 h 2705233"/>
              <a:gd name="connsiteX5701" fmla="*/ 1704206 w 6886183"/>
              <a:gd name="connsiteY5701" fmla="*/ 1582296 h 2705233"/>
              <a:gd name="connsiteX5702" fmla="*/ 1752689 w 6886183"/>
              <a:gd name="connsiteY5702" fmla="*/ 1598489 h 2705233"/>
              <a:gd name="connsiteX5703" fmla="*/ 1736210 w 6886183"/>
              <a:gd name="connsiteY5703" fmla="*/ 1636397 h 2705233"/>
              <a:gd name="connsiteX5704" fmla="*/ 1635626 w 6886183"/>
              <a:gd name="connsiteY5704" fmla="*/ 1619253 h 2705233"/>
              <a:gd name="connsiteX5705" fmla="*/ 1621244 w 6886183"/>
              <a:gd name="connsiteY5705" fmla="*/ 1595917 h 2705233"/>
              <a:gd name="connsiteX5706" fmla="*/ 1650296 w 6886183"/>
              <a:gd name="connsiteY5706" fmla="*/ 1580106 h 2705233"/>
              <a:gd name="connsiteX5707" fmla="*/ 1675631 w 6886183"/>
              <a:gd name="connsiteY5707" fmla="*/ 1579058 h 2705233"/>
              <a:gd name="connsiteX5708" fmla="*/ 983824 w 6886183"/>
              <a:gd name="connsiteY5708" fmla="*/ 1578865 h 2705233"/>
              <a:gd name="connsiteX5709" fmla="*/ 994206 w 6886183"/>
              <a:gd name="connsiteY5709" fmla="*/ 1580484 h 2705233"/>
              <a:gd name="connsiteX5710" fmla="*/ 1005827 w 6886183"/>
              <a:gd name="connsiteY5710" fmla="*/ 1583246 h 2705233"/>
              <a:gd name="connsiteX5711" fmla="*/ 1018305 w 6886183"/>
              <a:gd name="connsiteY5711" fmla="*/ 1587151 h 2705233"/>
              <a:gd name="connsiteX5712" fmla="*/ 1030973 w 6886183"/>
              <a:gd name="connsiteY5712" fmla="*/ 1591819 h 2705233"/>
              <a:gd name="connsiteX5713" fmla="*/ 1043450 w 6886183"/>
              <a:gd name="connsiteY5713" fmla="*/ 1597248 h 2705233"/>
              <a:gd name="connsiteX5714" fmla="*/ 1055166 w 6886183"/>
              <a:gd name="connsiteY5714" fmla="*/ 1602963 h 2705233"/>
              <a:gd name="connsiteX5715" fmla="*/ 1074216 w 6886183"/>
              <a:gd name="connsiteY5715" fmla="*/ 1614964 h 2705233"/>
              <a:gd name="connsiteX5716" fmla="*/ 1084408 w 6886183"/>
              <a:gd name="connsiteY5716" fmla="*/ 1634013 h 2705233"/>
              <a:gd name="connsiteX5717" fmla="*/ 1077931 w 6886183"/>
              <a:gd name="connsiteY5717" fmla="*/ 1640300 h 2705233"/>
              <a:gd name="connsiteX5718" fmla="*/ 1064405 w 6886183"/>
              <a:gd name="connsiteY5718" fmla="*/ 1642681 h 2705233"/>
              <a:gd name="connsiteX5719" fmla="*/ 1042879 w 6886183"/>
              <a:gd name="connsiteY5719" fmla="*/ 1639824 h 2705233"/>
              <a:gd name="connsiteX5720" fmla="*/ 1017638 w 6886183"/>
              <a:gd name="connsiteY5720" fmla="*/ 1632204 h 2705233"/>
              <a:gd name="connsiteX5721" fmla="*/ 993158 w 6886183"/>
              <a:gd name="connsiteY5721" fmla="*/ 1621250 h 2705233"/>
              <a:gd name="connsiteX5722" fmla="*/ 982587 w 6886183"/>
              <a:gd name="connsiteY5722" fmla="*/ 1615059 h 2705233"/>
              <a:gd name="connsiteX5723" fmla="*/ 973919 w 6886183"/>
              <a:gd name="connsiteY5723" fmla="*/ 1608773 h 2705233"/>
              <a:gd name="connsiteX5724" fmla="*/ 961822 w 6886183"/>
              <a:gd name="connsiteY5724" fmla="*/ 1586485 h 2705233"/>
              <a:gd name="connsiteX5725" fmla="*/ 968870 w 6886183"/>
              <a:gd name="connsiteY5725" fmla="*/ 1580103 h 2705233"/>
              <a:gd name="connsiteX5726" fmla="*/ 983824 w 6886183"/>
              <a:gd name="connsiteY5726" fmla="*/ 1578865 h 2705233"/>
              <a:gd name="connsiteX5727" fmla="*/ 5892231 w 6886183"/>
              <a:gd name="connsiteY5727" fmla="*/ 1575721 h 2705233"/>
              <a:gd name="connsiteX5728" fmla="*/ 5902804 w 6886183"/>
              <a:gd name="connsiteY5728" fmla="*/ 1576007 h 2705233"/>
              <a:gd name="connsiteX5729" fmla="*/ 5907852 w 6886183"/>
              <a:gd name="connsiteY5729" fmla="*/ 1584389 h 2705233"/>
              <a:gd name="connsiteX5730" fmla="*/ 5898994 w 6886183"/>
              <a:gd name="connsiteY5730" fmla="*/ 1586484 h 2705233"/>
              <a:gd name="connsiteX5731" fmla="*/ 5893469 w 6886183"/>
              <a:gd name="connsiteY5731" fmla="*/ 1587246 h 2705233"/>
              <a:gd name="connsiteX5732" fmla="*/ 5887659 w 6886183"/>
              <a:gd name="connsiteY5732" fmla="*/ 1588008 h 2705233"/>
              <a:gd name="connsiteX5733" fmla="*/ 5865466 w 6886183"/>
              <a:gd name="connsiteY5733" fmla="*/ 1588675 h 2705233"/>
              <a:gd name="connsiteX5734" fmla="*/ 5854798 w 6886183"/>
              <a:gd name="connsiteY5734" fmla="*/ 1585438 h 2705233"/>
              <a:gd name="connsiteX5735" fmla="*/ 5859941 w 6886183"/>
              <a:gd name="connsiteY5735" fmla="*/ 1580388 h 2705233"/>
              <a:gd name="connsiteX5736" fmla="*/ 5880134 w 6886183"/>
              <a:gd name="connsiteY5736" fmla="*/ 1576579 h 2705233"/>
              <a:gd name="connsiteX5737" fmla="*/ 4451789 w 6886183"/>
              <a:gd name="connsiteY5737" fmla="*/ 1574073 h 2705233"/>
              <a:gd name="connsiteX5738" fmla="*/ 4463671 w 6886183"/>
              <a:gd name="connsiteY5738" fmla="*/ 1588871 h 2705233"/>
              <a:gd name="connsiteX5739" fmla="*/ 4383661 w 6886183"/>
              <a:gd name="connsiteY5739" fmla="*/ 1636496 h 2705233"/>
              <a:gd name="connsiteX5740" fmla="*/ 4322892 w 6886183"/>
              <a:gd name="connsiteY5740" fmla="*/ 1630687 h 2705233"/>
              <a:gd name="connsiteX5741" fmla="*/ 4402045 w 6886183"/>
              <a:gd name="connsiteY5741" fmla="*/ 1581633 h 2705233"/>
              <a:gd name="connsiteX5742" fmla="*/ 4451789 w 6886183"/>
              <a:gd name="connsiteY5742" fmla="*/ 1574073 h 2705233"/>
              <a:gd name="connsiteX5743" fmla="*/ 4742658 w 6886183"/>
              <a:gd name="connsiteY5743" fmla="*/ 1571346 h 2705233"/>
              <a:gd name="connsiteX5744" fmla="*/ 4747611 w 6886183"/>
              <a:gd name="connsiteY5744" fmla="*/ 1585443 h 2705233"/>
              <a:gd name="connsiteX5745" fmla="*/ 4736753 w 6886183"/>
              <a:gd name="connsiteY5745" fmla="*/ 1596492 h 2705233"/>
              <a:gd name="connsiteX5746" fmla="*/ 4728752 w 6886183"/>
              <a:gd name="connsiteY5746" fmla="*/ 1602016 h 2705233"/>
              <a:gd name="connsiteX5747" fmla="*/ 4719227 w 6886183"/>
              <a:gd name="connsiteY5747" fmla="*/ 1607445 h 2705233"/>
              <a:gd name="connsiteX5748" fmla="*/ 4673316 w 6886183"/>
              <a:gd name="connsiteY5748" fmla="*/ 1624972 h 2705233"/>
              <a:gd name="connsiteX5749" fmla="*/ 4631978 w 6886183"/>
              <a:gd name="connsiteY5749" fmla="*/ 1614876 h 2705233"/>
              <a:gd name="connsiteX5750" fmla="*/ 4658838 w 6886183"/>
              <a:gd name="connsiteY5750" fmla="*/ 1592301 h 2705233"/>
              <a:gd name="connsiteX5751" fmla="*/ 4669220 w 6886183"/>
              <a:gd name="connsiteY5751" fmla="*/ 1587062 h 2705233"/>
              <a:gd name="connsiteX5752" fmla="*/ 4680555 w 6886183"/>
              <a:gd name="connsiteY5752" fmla="*/ 1582299 h 2705233"/>
              <a:gd name="connsiteX5753" fmla="*/ 4705320 w 6886183"/>
              <a:gd name="connsiteY5753" fmla="*/ 1574394 h 2705233"/>
              <a:gd name="connsiteX5754" fmla="*/ 4742658 w 6886183"/>
              <a:gd name="connsiteY5754" fmla="*/ 1571346 h 2705233"/>
              <a:gd name="connsiteX5755" fmla="*/ 2782167 w 6886183"/>
              <a:gd name="connsiteY5755" fmla="*/ 1571154 h 2705233"/>
              <a:gd name="connsiteX5756" fmla="*/ 2821315 w 6886183"/>
              <a:gd name="connsiteY5756" fmla="*/ 1587062 h 2705233"/>
              <a:gd name="connsiteX5757" fmla="*/ 2777690 w 6886183"/>
              <a:gd name="connsiteY5757" fmla="*/ 1632400 h 2705233"/>
              <a:gd name="connsiteX5758" fmla="*/ 2680053 w 6886183"/>
              <a:gd name="connsiteY5758" fmla="*/ 1622017 h 2705233"/>
              <a:gd name="connsiteX5759" fmla="*/ 2677157 w 6886183"/>
              <a:gd name="connsiteY5759" fmla="*/ 1598492 h 2705233"/>
              <a:gd name="connsiteX5760" fmla="*/ 2679100 w 6886183"/>
              <a:gd name="connsiteY5760" fmla="*/ 1596397 h 2705233"/>
              <a:gd name="connsiteX5761" fmla="*/ 2722534 w 6886183"/>
              <a:gd name="connsiteY5761" fmla="*/ 1575631 h 2705233"/>
              <a:gd name="connsiteX5762" fmla="*/ 2782167 w 6886183"/>
              <a:gd name="connsiteY5762" fmla="*/ 1571154 h 2705233"/>
              <a:gd name="connsiteX5763" fmla="*/ 6165884 w 6886183"/>
              <a:gd name="connsiteY5763" fmla="*/ 1570863 h 2705233"/>
              <a:gd name="connsiteX5764" fmla="*/ 6167027 w 6886183"/>
              <a:gd name="connsiteY5764" fmla="*/ 1577340 h 2705233"/>
              <a:gd name="connsiteX5765" fmla="*/ 6151977 w 6886183"/>
              <a:gd name="connsiteY5765" fmla="*/ 1578578 h 2705233"/>
              <a:gd name="connsiteX5766" fmla="*/ 6136737 w 6886183"/>
              <a:gd name="connsiteY5766" fmla="*/ 1577340 h 2705233"/>
              <a:gd name="connsiteX5767" fmla="*/ 6128355 w 6886183"/>
              <a:gd name="connsiteY5767" fmla="*/ 1574197 h 2705233"/>
              <a:gd name="connsiteX5768" fmla="*/ 6135309 w 6886183"/>
              <a:gd name="connsiteY5768" fmla="*/ 1570958 h 2705233"/>
              <a:gd name="connsiteX5769" fmla="*/ 6165884 w 6886183"/>
              <a:gd name="connsiteY5769" fmla="*/ 1570863 h 2705233"/>
              <a:gd name="connsiteX5770" fmla="*/ 5093749 w 6886183"/>
              <a:gd name="connsiteY5770" fmla="*/ 1569441 h 2705233"/>
              <a:gd name="connsiteX5771" fmla="*/ 5117943 w 6886183"/>
              <a:gd name="connsiteY5771" fmla="*/ 1582776 h 2705233"/>
              <a:gd name="connsiteX5772" fmla="*/ 5088796 w 6886183"/>
              <a:gd name="connsiteY5772" fmla="*/ 1598301 h 2705233"/>
              <a:gd name="connsiteX5773" fmla="*/ 5084224 w 6886183"/>
              <a:gd name="connsiteY5773" fmla="*/ 1600205 h 2705233"/>
              <a:gd name="connsiteX5774" fmla="*/ 5079367 w 6886183"/>
              <a:gd name="connsiteY5774" fmla="*/ 1601826 h 2705233"/>
              <a:gd name="connsiteX5775" fmla="*/ 5069842 w 6886183"/>
              <a:gd name="connsiteY5775" fmla="*/ 1604778 h 2705233"/>
              <a:gd name="connsiteX5776" fmla="*/ 5049744 w 6886183"/>
              <a:gd name="connsiteY5776" fmla="*/ 1609160 h 2705233"/>
              <a:gd name="connsiteX5777" fmla="*/ 5033170 w 6886183"/>
              <a:gd name="connsiteY5777" fmla="*/ 1610494 h 2705233"/>
              <a:gd name="connsiteX5778" fmla="*/ 5022979 w 6886183"/>
              <a:gd name="connsiteY5778" fmla="*/ 1608779 h 2705233"/>
              <a:gd name="connsiteX5779" fmla="*/ 5024217 w 6886183"/>
              <a:gd name="connsiteY5779" fmla="*/ 1596587 h 2705233"/>
              <a:gd name="connsiteX5780" fmla="*/ 5036218 w 6886183"/>
              <a:gd name="connsiteY5780" fmla="*/ 1588205 h 2705233"/>
              <a:gd name="connsiteX5781" fmla="*/ 5053078 w 6886183"/>
              <a:gd name="connsiteY5781" fmla="*/ 1580299 h 2705233"/>
              <a:gd name="connsiteX5782" fmla="*/ 5093749 w 6886183"/>
              <a:gd name="connsiteY5782" fmla="*/ 1569441 h 2705233"/>
              <a:gd name="connsiteX5783" fmla="*/ 3387873 w 6886183"/>
              <a:gd name="connsiteY5783" fmla="*/ 1565976 h 2705233"/>
              <a:gd name="connsiteX5784" fmla="*/ 3417469 w 6886183"/>
              <a:gd name="connsiteY5784" fmla="*/ 1582966 h 2705233"/>
              <a:gd name="connsiteX5785" fmla="*/ 3355855 w 6886183"/>
              <a:gd name="connsiteY5785" fmla="*/ 1630782 h 2705233"/>
              <a:gd name="connsiteX5786" fmla="*/ 3267759 w 6886183"/>
              <a:gd name="connsiteY5786" fmla="*/ 1620589 h 2705233"/>
              <a:gd name="connsiteX5787" fmla="*/ 3328998 w 6886183"/>
              <a:gd name="connsiteY5787" fmla="*/ 1571631 h 2705233"/>
              <a:gd name="connsiteX5788" fmla="*/ 3387873 w 6886183"/>
              <a:gd name="connsiteY5788" fmla="*/ 1565976 h 2705233"/>
              <a:gd name="connsiteX5789" fmla="*/ 5776978 w 6886183"/>
              <a:gd name="connsiteY5789" fmla="*/ 1560007 h 2705233"/>
              <a:gd name="connsiteX5790" fmla="*/ 5786503 w 6886183"/>
              <a:gd name="connsiteY5790" fmla="*/ 1561055 h 2705233"/>
              <a:gd name="connsiteX5791" fmla="*/ 5791647 w 6886183"/>
              <a:gd name="connsiteY5791" fmla="*/ 1563436 h 2705233"/>
              <a:gd name="connsiteX5792" fmla="*/ 5787075 w 6886183"/>
              <a:gd name="connsiteY5792" fmla="*/ 1569627 h 2705233"/>
              <a:gd name="connsiteX5793" fmla="*/ 5764215 w 6886183"/>
              <a:gd name="connsiteY5793" fmla="*/ 1575152 h 2705233"/>
              <a:gd name="connsiteX5794" fmla="*/ 5737735 w 6886183"/>
              <a:gd name="connsiteY5794" fmla="*/ 1577152 h 2705233"/>
              <a:gd name="connsiteX5795" fmla="*/ 5729353 w 6886183"/>
              <a:gd name="connsiteY5795" fmla="*/ 1567627 h 2705233"/>
              <a:gd name="connsiteX5796" fmla="*/ 5776978 w 6886183"/>
              <a:gd name="connsiteY5796" fmla="*/ 1560007 h 2705233"/>
              <a:gd name="connsiteX5797" fmla="*/ 5236149 w 6886183"/>
              <a:gd name="connsiteY5797" fmla="*/ 1554486 h 2705233"/>
              <a:gd name="connsiteX5798" fmla="*/ 5257485 w 6886183"/>
              <a:gd name="connsiteY5798" fmla="*/ 1568203 h 2705233"/>
              <a:gd name="connsiteX5799" fmla="*/ 5190810 w 6886183"/>
              <a:gd name="connsiteY5799" fmla="*/ 1590587 h 2705233"/>
              <a:gd name="connsiteX5800" fmla="*/ 5168521 w 6886183"/>
              <a:gd name="connsiteY5800" fmla="*/ 1578490 h 2705233"/>
              <a:gd name="connsiteX5801" fmla="*/ 5180809 w 6886183"/>
              <a:gd name="connsiteY5801" fmla="*/ 1570964 h 2705233"/>
              <a:gd name="connsiteX5802" fmla="*/ 5198049 w 6886183"/>
              <a:gd name="connsiteY5802" fmla="*/ 1564011 h 2705233"/>
              <a:gd name="connsiteX5803" fmla="*/ 5236149 w 6886183"/>
              <a:gd name="connsiteY5803" fmla="*/ 1554486 h 2705233"/>
              <a:gd name="connsiteX5804" fmla="*/ 3877871 w 6886183"/>
              <a:gd name="connsiteY5804" fmla="*/ 1553581 h 2705233"/>
              <a:gd name="connsiteX5805" fmla="*/ 3898743 w 6886183"/>
              <a:gd name="connsiteY5805" fmla="*/ 1570964 h 2705233"/>
              <a:gd name="connsiteX5806" fmla="*/ 3824162 w 6886183"/>
              <a:gd name="connsiteY5806" fmla="*/ 1620589 h 2705233"/>
              <a:gd name="connsiteX5807" fmla="*/ 3749200 w 6886183"/>
              <a:gd name="connsiteY5807" fmla="*/ 1611351 h 2705233"/>
              <a:gd name="connsiteX5808" fmla="*/ 3821781 w 6886183"/>
              <a:gd name="connsiteY5808" fmla="*/ 1560201 h 2705233"/>
              <a:gd name="connsiteX5809" fmla="*/ 3877871 w 6886183"/>
              <a:gd name="connsiteY5809" fmla="*/ 1553581 h 2705233"/>
              <a:gd name="connsiteX5810" fmla="*/ 5646771 w 6886183"/>
              <a:gd name="connsiteY5810" fmla="*/ 1551438 h 2705233"/>
              <a:gd name="connsiteX5811" fmla="*/ 5658582 w 6886183"/>
              <a:gd name="connsiteY5811" fmla="*/ 1552295 h 2705233"/>
              <a:gd name="connsiteX5812" fmla="*/ 5664107 w 6886183"/>
              <a:gd name="connsiteY5812" fmla="*/ 1554772 h 2705233"/>
              <a:gd name="connsiteX5813" fmla="*/ 5655725 w 6886183"/>
              <a:gd name="connsiteY5813" fmla="*/ 1562773 h 2705233"/>
              <a:gd name="connsiteX5814" fmla="*/ 5630864 w 6886183"/>
              <a:gd name="connsiteY5814" fmla="*/ 1569917 h 2705233"/>
              <a:gd name="connsiteX5815" fmla="*/ 5616577 w 6886183"/>
              <a:gd name="connsiteY5815" fmla="*/ 1571822 h 2705233"/>
              <a:gd name="connsiteX5816" fmla="*/ 5602575 w 6886183"/>
              <a:gd name="connsiteY5816" fmla="*/ 1572584 h 2705233"/>
              <a:gd name="connsiteX5817" fmla="*/ 5593241 w 6886183"/>
              <a:gd name="connsiteY5817" fmla="*/ 1562106 h 2705233"/>
              <a:gd name="connsiteX5818" fmla="*/ 5617625 w 6886183"/>
              <a:gd name="connsiteY5818" fmla="*/ 1554295 h 2705233"/>
              <a:gd name="connsiteX5819" fmla="*/ 5646771 w 6886183"/>
              <a:gd name="connsiteY5819" fmla="*/ 1551438 h 2705233"/>
              <a:gd name="connsiteX5820" fmla="*/ 6289137 w 6886183"/>
              <a:gd name="connsiteY5820" fmla="*/ 1549051 h 2705233"/>
              <a:gd name="connsiteX5821" fmla="*/ 6304377 w 6886183"/>
              <a:gd name="connsiteY5821" fmla="*/ 1549051 h 2705233"/>
              <a:gd name="connsiteX5822" fmla="*/ 6319808 w 6886183"/>
              <a:gd name="connsiteY5822" fmla="*/ 1551051 h 2705233"/>
              <a:gd name="connsiteX5823" fmla="*/ 6318760 w 6886183"/>
              <a:gd name="connsiteY5823" fmla="*/ 1557433 h 2705233"/>
              <a:gd name="connsiteX5824" fmla="*/ 6303234 w 6886183"/>
              <a:gd name="connsiteY5824" fmla="*/ 1557433 h 2705233"/>
              <a:gd name="connsiteX5825" fmla="*/ 6288470 w 6886183"/>
              <a:gd name="connsiteY5825" fmla="*/ 1555337 h 2705233"/>
              <a:gd name="connsiteX5826" fmla="*/ 6289137 w 6886183"/>
              <a:gd name="connsiteY5826" fmla="*/ 1549051 h 2705233"/>
              <a:gd name="connsiteX5827" fmla="*/ 5375499 w 6886183"/>
              <a:gd name="connsiteY5827" fmla="*/ 1548580 h 2705233"/>
              <a:gd name="connsiteX5828" fmla="*/ 5388929 w 6886183"/>
              <a:gd name="connsiteY5828" fmla="*/ 1548580 h 2705233"/>
              <a:gd name="connsiteX5829" fmla="*/ 5396073 w 6886183"/>
              <a:gd name="connsiteY5829" fmla="*/ 1551342 h 2705233"/>
              <a:gd name="connsiteX5830" fmla="*/ 5389691 w 6886183"/>
              <a:gd name="connsiteY5830" fmla="*/ 1562107 h 2705233"/>
              <a:gd name="connsiteX5831" fmla="*/ 5360164 w 6886183"/>
              <a:gd name="connsiteY5831" fmla="*/ 1573632 h 2705233"/>
              <a:gd name="connsiteX5832" fmla="*/ 5342352 w 6886183"/>
              <a:gd name="connsiteY5832" fmla="*/ 1577728 h 2705233"/>
              <a:gd name="connsiteX5833" fmla="*/ 5325398 w 6886183"/>
              <a:gd name="connsiteY5833" fmla="*/ 1580014 h 2705233"/>
              <a:gd name="connsiteX5834" fmla="*/ 5310062 w 6886183"/>
              <a:gd name="connsiteY5834" fmla="*/ 1567250 h 2705233"/>
              <a:gd name="connsiteX5835" fmla="*/ 5339590 w 6886183"/>
              <a:gd name="connsiteY5835" fmla="*/ 1554962 h 2705233"/>
              <a:gd name="connsiteX5836" fmla="*/ 5375499 w 6886183"/>
              <a:gd name="connsiteY5836" fmla="*/ 1548580 h 2705233"/>
              <a:gd name="connsiteX5837" fmla="*/ 1988528 w 6886183"/>
              <a:gd name="connsiteY5837" fmla="*/ 1546483 h 2705233"/>
              <a:gd name="connsiteX5838" fmla="*/ 2047583 w 6886183"/>
              <a:gd name="connsiteY5838" fmla="*/ 1547720 h 2705233"/>
              <a:gd name="connsiteX5839" fmla="*/ 2092730 w 6886183"/>
              <a:gd name="connsiteY5839" fmla="*/ 1565819 h 2705233"/>
              <a:gd name="connsiteX5840" fmla="*/ 2064156 w 6886183"/>
              <a:gd name="connsiteY5840" fmla="*/ 1604776 h 2705233"/>
              <a:gd name="connsiteX5841" fmla="*/ 2036057 w 6886183"/>
              <a:gd name="connsiteY5841" fmla="*/ 1607252 h 2705233"/>
              <a:gd name="connsiteX5842" fmla="*/ 2006911 w 6886183"/>
              <a:gd name="connsiteY5842" fmla="*/ 1604966 h 2705233"/>
              <a:gd name="connsiteX5843" fmla="*/ 1960048 w 6886183"/>
              <a:gd name="connsiteY5843" fmla="*/ 1588012 h 2705233"/>
              <a:gd name="connsiteX5844" fmla="*/ 1952143 w 6886183"/>
              <a:gd name="connsiteY5844" fmla="*/ 1563342 h 2705233"/>
              <a:gd name="connsiteX5845" fmla="*/ 1965287 w 6886183"/>
              <a:gd name="connsiteY5845" fmla="*/ 1553246 h 2705233"/>
              <a:gd name="connsiteX5846" fmla="*/ 1988528 w 6886183"/>
              <a:gd name="connsiteY5846" fmla="*/ 1546483 h 2705233"/>
              <a:gd name="connsiteX5847" fmla="*/ 5511231 w 6886183"/>
              <a:gd name="connsiteY5847" fmla="*/ 1546295 h 2705233"/>
              <a:gd name="connsiteX5848" fmla="*/ 5530947 w 6886183"/>
              <a:gd name="connsiteY5848" fmla="*/ 1549343 h 2705233"/>
              <a:gd name="connsiteX5849" fmla="*/ 5530947 w 6886183"/>
              <a:gd name="connsiteY5849" fmla="*/ 1553343 h 2705233"/>
              <a:gd name="connsiteX5850" fmla="*/ 5523708 w 6886183"/>
              <a:gd name="connsiteY5850" fmla="*/ 1558581 h 2705233"/>
              <a:gd name="connsiteX5851" fmla="*/ 5496372 w 6886183"/>
              <a:gd name="connsiteY5851" fmla="*/ 1568107 h 2705233"/>
              <a:gd name="connsiteX5852" fmla="*/ 5480084 w 6886183"/>
              <a:gd name="connsiteY5852" fmla="*/ 1571060 h 2705233"/>
              <a:gd name="connsiteX5853" fmla="*/ 5463891 w 6886183"/>
              <a:gd name="connsiteY5853" fmla="*/ 1572583 h 2705233"/>
              <a:gd name="connsiteX5854" fmla="*/ 5451223 w 6886183"/>
              <a:gd name="connsiteY5854" fmla="*/ 1561248 h 2705233"/>
              <a:gd name="connsiteX5855" fmla="*/ 5478084 w 6886183"/>
              <a:gd name="connsiteY5855" fmla="*/ 1551057 h 2705233"/>
              <a:gd name="connsiteX5856" fmla="*/ 5482084 w 6886183"/>
              <a:gd name="connsiteY5856" fmla="*/ 1550009 h 2705233"/>
              <a:gd name="connsiteX5857" fmla="*/ 5486275 w 6886183"/>
              <a:gd name="connsiteY5857" fmla="*/ 1549152 h 2705233"/>
              <a:gd name="connsiteX5858" fmla="*/ 5494657 w 6886183"/>
              <a:gd name="connsiteY5858" fmla="*/ 1547818 h 2705233"/>
              <a:gd name="connsiteX5859" fmla="*/ 5511231 w 6886183"/>
              <a:gd name="connsiteY5859" fmla="*/ 1546295 h 2705233"/>
              <a:gd name="connsiteX5860" fmla="*/ 4897094 w 6886183"/>
              <a:gd name="connsiteY5860" fmla="*/ 1544056 h 2705233"/>
              <a:gd name="connsiteX5861" fmla="*/ 4900297 w 6886183"/>
              <a:gd name="connsiteY5861" fmla="*/ 1557724 h 2705233"/>
              <a:gd name="connsiteX5862" fmla="*/ 4869721 w 6886183"/>
              <a:gd name="connsiteY5862" fmla="*/ 1578013 h 2705233"/>
              <a:gd name="connsiteX5863" fmla="*/ 4847909 w 6886183"/>
              <a:gd name="connsiteY5863" fmla="*/ 1586872 h 2705233"/>
              <a:gd name="connsiteX5864" fmla="*/ 4825621 w 6886183"/>
              <a:gd name="connsiteY5864" fmla="*/ 1593444 h 2705233"/>
              <a:gd name="connsiteX5865" fmla="*/ 4793426 w 6886183"/>
              <a:gd name="connsiteY5865" fmla="*/ 1594778 h 2705233"/>
              <a:gd name="connsiteX5866" fmla="*/ 4787997 w 6886183"/>
              <a:gd name="connsiteY5866" fmla="*/ 1582490 h 2705233"/>
              <a:gd name="connsiteX5867" fmla="*/ 4816572 w 6886183"/>
              <a:gd name="connsiteY5867" fmla="*/ 1561440 h 2705233"/>
              <a:gd name="connsiteX5868" fmla="*/ 4838860 w 6886183"/>
              <a:gd name="connsiteY5868" fmla="*/ 1551915 h 2705233"/>
              <a:gd name="connsiteX5869" fmla="*/ 4850671 w 6886183"/>
              <a:gd name="connsiteY5869" fmla="*/ 1548104 h 2705233"/>
              <a:gd name="connsiteX5870" fmla="*/ 4862673 w 6886183"/>
              <a:gd name="connsiteY5870" fmla="*/ 1544962 h 2705233"/>
              <a:gd name="connsiteX5871" fmla="*/ 4897094 w 6886183"/>
              <a:gd name="connsiteY5871" fmla="*/ 1544056 h 2705233"/>
              <a:gd name="connsiteX5872" fmla="*/ 6017865 w 6886183"/>
              <a:gd name="connsiteY5872" fmla="*/ 1540384 h 2705233"/>
              <a:gd name="connsiteX5873" fmla="*/ 6039487 w 6886183"/>
              <a:gd name="connsiteY5873" fmla="*/ 1541526 h 2705233"/>
              <a:gd name="connsiteX5874" fmla="*/ 6040630 w 6886183"/>
              <a:gd name="connsiteY5874" fmla="*/ 1549527 h 2705233"/>
              <a:gd name="connsiteX5875" fmla="*/ 6020151 w 6886183"/>
              <a:gd name="connsiteY5875" fmla="*/ 1552575 h 2705233"/>
              <a:gd name="connsiteX5876" fmla="*/ 5998625 w 6886183"/>
              <a:gd name="connsiteY5876" fmla="*/ 1551813 h 2705233"/>
              <a:gd name="connsiteX5877" fmla="*/ 5996815 w 6886183"/>
              <a:gd name="connsiteY5877" fmla="*/ 1543431 h 2705233"/>
              <a:gd name="connsiteX5878" fmla="*/ 6006911 w 6886183"/>
              <a:gd name="connsiteY5878" fmla="*/ 1541335 h 2705233"/>
              <a:gd name="connsiteX5879" fmla="*/ 6017865 w 6886183"/>
              <a:gd name="connsiteY5879" fmla="*/ 1540384 h 2705233"/>
              <a:gd name="connsiteX5880" fmla="*/ 4291614 w 6886183"/>
              <a:gd name="connsiteY5880" fmla="*/ 1537455 h 2705233"/>
              <a:gd name="connsiteX5881" fmla="*/ 4309080 w 6886183"/>
              <a:gd name="connsiteY5881" fmla="*/ 1552105 h 2705233"/>
              <a:gd name="connsiteX5882" fmla="*/ 4229451 w 6886183"/>
              <a:gd name="connsiteY5882" fmla="*/ 1603255 h 2705233"/>
              <a:gd name="connsiteX5883" fmla="*/ 4161157 w 6886183"/>
              <a:gd name="connsiteY5883" fmla="*/ 1596492 h 2705233"/>
              <a:gd name="connsiteX5884" fmla="*/ 4241072 w 6886183"/>
              <a:gd name="connsiteY5884" fmla="*/ 1544009 h 2705233"/>
              <a:gd name="connsiteX5885" fmla="*/ 4291614 w 6886183"/>
              <a:gd name="connsiteY5885" fmla="*/ 1537455 h 2705233"/>
              <a:gd name="connsiteX5886" fmla="*/ 4631550 w 6886183"/>
              <a:gd name="connsiteY5886" fmla="*/ 1528276 h 2705233"/>
              <a:gd name="connsiteX5887" fmla="*/ 4640074 w 6886183"/>
              <a:gd name="connsiteY5887" fmla="*/ 1543056 h 2705233"/>
              <a:gd name="connsiteX5888" fmla="*/ 4612166 w 6886183"/>
              <a:gd name="connsiteY5888" fmla="*/ 1567630 h 2705233"/>
              <a:gd name="connsiteX5889" fmla="*/ 4589592 w 6886183"/>
              <a:gd name="connsiteY5889" fmla="*/ 1578870 h 2705233"/>
              <a:gd name="connsiteX5890" fmla="*/ 4564922 w 6886183"/>
              <a:gd name="connsiteY5890" fmla="*/ 1587824 h 2705233"/>
              <a:gd name="connsiteX5891" fmla="*/ 4542919 w 6886183"/>
              <a:gd name="connsiteY5891" fmla="*/ 1592206 h 2705233"/>
              <a:gd name="connsiteX5892" fmla="*/ 4533870 w 6886183"/>
              <a:gd name="connsiteY5892" fmla="*/ 1592682 h 2705233"/>
              <a:gd name="connsiteX5893" fmla="*/ 4529965 w 6886183"/>
              <a:gd name="connsiteY5893" fmla="*/ 1592682 h 2705233"/>
              <a:gd name="connsiteX5894" fmla="*/ 4528060 w 6886183"/>
              <a:gd name="connsiteY5894" fmla="*/ 1592682 h 2705233"/>
              <a:gd name="connsiteX5895" fmla="*/ 4526250 w 6886183"/>
              <a:gd name="connsiteY5895" fmla="*/ 1592682 h 2705233"/>
              <a:gd name="connsiteX5896" fmla="*/ 4515201 w 6886183"/>
              <a:gd name="connsiteY5896" fmla="*/ 1578870 h 2705233"/>
              <a:gd name="connsiteX5897" fmla="*/ 4519202 w 6886183"/>
              <a:gd name="connsiteY5897" fmla="*/ 1572680 h 2705233"/>
              <a:gd name="connsiteX5898" fmla="*/ 4520631 w 6886183"/>
              <a:gd name="connsiteY5898" fmla="*/ 1571060 h 2705233"/>
              <a:gd name="connsiteX5899" fmla="*/ 4522155 w 6886183"/>
              <a:gd name="connsiteY5899" fmla="*/ 1569441 h 2705233"/>
              <a:gd name="connsiteX5900" fmla="*/ 4525393 w 6886183"/>
              <a:gd name="connsiteY5900" fmla="*/ 1566203 h 2705233"/>
              <a:gd name="connsiteX5901" fmla="*/ 4542824 w 6886183"/>
              <a:gd name="connsiteY5901" fmla="*/ 1553248 h 2705233"/>
              <a:gd name="connsiteX5902" fmla="*/ 4565970 w 6886183"/>
              <a:gd name="connsiteY5902" fmla="*/ 1541152 h 2705233"/>
              <a:gd name="connsiteX5903" fmla="*/ 4578733 w 6886183"/>
              <a:gd name="connsiteY5903" fmla="*/ 1536016 h 2705233"/>
              <a:gd name="connsiteX5904" fmla="*/ 4591878 w 6886183"/>
              <a:gd name="connsiteY5904" fmla="*/ 1531920 h 2705233"/>
              <a:gd name="connsiteX5905" fmla="*/ 4631550 w 6886183"/>
              <a:gd name="connsiteY5905" fmla="*/ 1528276 h 2705233"/>
              <a:gd name="connsiteX5906" fmla="*/ 5021360 w 6886183"/>
              <a:gd name="connsiteY5906" fmla="*/ 1520584 h 2705233"/>
              <a:gd name="connsiteX5907" fmla="*/ 5050601 w 6886183"/>
              <a:gd name="connsiteY5907" fmla="*/ 1534968 h 2705233"/>
              <a:gd name="connsiteX5908" fmla="*/ 5020502 w 6886183"/>
              <a:gd name="connsiteY5908" fmla="*/ 1552582 h 2705233"/>
              <a:gd name="connsiteX5909" fmla="*/ 4978211 w 6886183"/>
              <a:gd name="connsiteY5909" fmla="*/ 1564774 h 2705233"/>
              <a:gd name="connsiteX5910" fmla="*/ 4948017 w 6886183"/>
              <a:gd name="connsiteY5910" fmla="*/ 1564774 h 2705233"/>
              <a:gd name="connsiteX5911" fmla="*/ 4948017 w 6886183"/>
              <a:gd name="connsiteY5911" fmla="*/ 1551628 h 2705233"/>
              <a:gd name="connsiteX5912" fmla="*/ 4960114 w 6886183"/>
              <a:gd name="connsiteY5912" fmla="*/ 1542103 h 2705233"/>
              <a:gd name="connsiteX5913" fmla="*/ 4977545 w 6886183"/>
              <a:gd name="connsiteY5913" fmla="*/ 1533538 h 2705233"/>
              <a:gd name="connsiteX5914" fmla="*/ 4998690 w 6886183"/>
              <a:gd name="connsiteY5914" fmla="*/ 1525918 h 2705233"/>
              <a:gd name="connsiteX5915" fmla="*/ 5021360 w 6886183"/>
              <a:gd name="connsiteY5915" fmla="*/ 1520584 h 2705233"/>
              <a:gd name="connsiteX5916" fmla="*/ 5893564 w 6886183"/>
              <a:gd name="connsiteY5916" fmla="*/ 1519147 h 2705233"/>
              <a:gd name="connsiteX5917" fmla="*/ 5899755 w 6886183"/>
              <a:gd name="connsiteY5917" fmla="*/ 1519147 h 2705233"/>
              <a:gd name="connsiteX5918" fmla="*/ 5905565 w 6886183"/>
              <a:gd name="connsiteY5918" fmla="*/ 1519718 h 2705233"/>
              <a:gd name="connsiteX5919" fmla="*/ 5904994 w 6886183"/>
              <a:gd name="connsiteY5919" fmla="*/ 1530577 h 2705233"/>
              <a:gd name="connsiteX5920" fmla="*/ 5899469 w 6886183"/>
              <a:gd name="connsiteY5920" fmla="*/ 1531910 h 2705233"/>
              <a:gd name="connsiteX5921" fmla="*/ 5893849 w 6886183"/>
              <a:gd name="connsiteY5921" fmla="*/ 1533530 h 2705233"/>
              <a:gd name="connsiteX5922" fmla="*/ 5881372 w 6886183"/>
              <a:gd name="connsiteY5922" fmla="*/ 1535054 h 2705233"/>
              <a:gd name="connsiteX5923" fmla="*/ 5868894 w 6886183"/>
              <a:gd name="connsiteY5923" fmla="*/ 1535625 h 2705233"/>
              <a:gd name="connsiteX5924" fmla="*/ 5856702 w 6886183"/>
              <a:gd name="connsiteY5924" fmla="*/ 1534863 h 2705233"/>
              <a:gd name="connsiteX5925" fmla="*/ 5856702 w 6886183"/>
              <a:gd name="connsiteY5925" fmla="*/ 1524100 h 2705233"/>
              <a:gd name="connsiteX5926" fmla="*/ 5862226 w 6886183"/>
              <a:gd name="connsiteY5926" fmla="*/ 1522576 h 2705233"/>
              <a:gd name="connsiteX5927" fmla="*/ 5868132 w 6886183"/>
              <a:gd name="connsiteY5927" fmla="*/ 1521338 h 2705233"/>
              <a:gd name="connsiteX5928" fmla="*/ 5880705 w 6886183"/>
              <a:gd name="connsiteY5928" fmla="*/ 1519718 h 2705233"/>
              <a:gd name="connsiteX5929" fmla="*/ 5893564 w 6886183"/>
              <a:gd name="connsiteY5929" fmla="*/ 1519147 h 2705233"/>
              <a:gd name="connsiteX5930" fmla="*/ 3076906 w 6886183"/>
              <a:gd name="connsiteY5930" fmla="*/ 1510746 h 2705233"/>
              <a:gd name="connsiteX5931" fmla="*/ 3108781 w 6886183"/>
              <a:gd name="connsiteY5931" fmla="*/ 1529629 h 2705233"/>
              <a:gd name="connsiteX5932" fmla="*/ 3096207 w 6886183"/>
              <a:gd name="connsiteY5932" fmla="*/ 1556295 h 2705233"/>
              <a:gd name="connsiteX5933" fmla="*/ 3050962 w 6886183"/>
              <a:gd name="connsiteY5933" fmla="*/ 1576679 h 2705233"/>
              <a:gd name="connsiteX5934" fmla="*/ 2958189 w 6886183"/>
              <a:gd name="connsiteY5934" fmla="*/ 1562867 h 2705233"/>
              <a:gd name="connsiteX5935" fmla="*/ 2968667 w 6886183"/>
              <a:gd name="connsiteY5935" fmla="*/ 1534297 h 2705233"/>
              <a:gd name="connsiteX5936" fmla="*/ 3017816 w 6886183"/>
              <a:gd name="connsiteY5936" fmla="*/ 1512579 h 2705233"/>
              <a:gd name="connsiteX5937" fmla="*/ 3076906 w 6886183"/>
              <a:gd name="connsiteY5937" fmla="*/ 1510746 h 2705233"/>
              <a:gd name="connsiteX5938" fmla="*/ 6169884 w 6886183"/>
              <a:gd name="connsiteY5938" fmla="*/ 1510666 h 2705233"/>
              <a:gd name="connsiteX5939" fmla="*/ 6181124 w 6886183"/>
              <a:gd name="connsiteY5939" fmla="*/ 1510666 h 2705233"/>
              <a:gd name="connsiteX5940" fmla="*/ 6190649 w 6886183"/>
              <a:gd name="connsiteY5940" fmla="*/ 1511809 h 2705233"/>
              <a:gd name="connsiteX5941" fmla="*/ 6191697 w 6886183"/>
              <a:gd name="connsiteY5941" fmla="*/ 1520572 h 2705233"/>
              <a:gd name="connsiteX5942" fmla="*/ 6171313 w 6886183"/>
              <a:gd name="connsiteY5942" fmla="*/ 1521905 h 2705233"/>
              <a:gd name="connsiteX5943" fmla="*/ 6151120 w 6886183"/>
              <a:gd name="connsiteY5943" fmla="*/ 1520381 h 2705233"/>
              <a:gd name="connsiteX5944" fmla="*/ 6149977 w 6886183"/>
              <a:gd name="connsiteY5944" fmla="*/ 1512571 h 2705233"/>
              <a:gd name="connsiteX5945" fmla="*/ 6169884 w 6886183"/>
              <a:gd name="connsiteY5945" fmla="*/ 1510666 h 2705233"/>
              <a:gd name="connsiteX5946" fmla="*/ 698639 w 6886183"/>
              <a:gd name="connsiteY5946" fmla="*/ 1508855 h 2705233"/>
              <a:gd name="connsiteX5947" fmla="*/ 710259 w 6886183"/>
              <a:gd name="connsiteY5947" fmla="*/ 1512570 h 2705233"/>
              <a:gd name="connsiteX5948" fmla="*/ 723786 w 6886183"/>
              <a:gd name="connsiteY5948" fmla="*/ 1520666 h 2705233"/>
              <a:gd name="connsiteX5949" fmla="*/ 738169 w 6886183"/>
              <a:gd name="connsiteY5949" fmla="*/ 1531905 h 2705233"/>
              <a:gd name="connsiteX5950" fmla="*/ 752170 w 6886183"/>
              <a:gd name="connsiteY5950" fmla="*/ 1544859 h 2705233"/>
              <a:gd name="connsiteX5951" fmla="*/ 764077 w 6886183"/>
              <a:gd name="connsiteY5951" fmla="*/ 1558290 h 2705233"/>
              <a:gd name="connsiteX5952" fmla="*/ 768743 w 6886183"/>
              <a:gd name="connsiteY5952" fmla="*/ 1565052 h 2705233"/>
              <a:gd name="connsiteX5953" fmla="*/ 771600 w 6886183"/>
              <a:gd name="connsiteY5953" fmla="*/ 1570863 h 2705233"/>
              <a:gd name="connsiteX5954" fmla="*/ 771600 w 6886183"/>
              <a:gd name="connsiteY5954" fmla="*/ 1579340 h 2705233"/>
              <a:gd name="connsiteX5955" fmla="*/ 765124 w 6886183"/>
              <a:gd name="connsiteY5955" fmla="*/ 1583055 h 2705233"/>
              <a:gd name="connsiteX5956" fmla="*/ 759219 w 6886183"/>
              <a:gd name="connsiteY5956" fmla="*/ 1583055 h 2705233"/>
              <a:gd name="connsiteX5957" fmla="*/ 751980 w 6886183"/>
              <a:gd name="connsiteY5957" fmla="*/ 1581340 h 2705233"/>
              <a:gd name="connsiteX5958" fmla="*/ 734929 w 6886183"/>
              <a:gd name="connsiteY5958" fmla="*/ 1573625 h 2705233"/>
              <a:gd name="connsiteX5959" fmla="*/ 726358 w 6886183"/>
              <a:gd name="connsiteY5959" fmla="*/ 1568196 h 2705233"/>
              <a:gd name="connsiteX5960" fmla="*/ 724262 w 6886183"/>
              <a:gd name="connsiteY5960" fmla="*/ 1566767 h 2705233"/>
              <a:gd name="connsiteX5961" fmla="*/ 722167 w 6886183"/>
              <a:gd name="connsiteY5961" fmla="*/ 1565148 h 2705233"/>
              <a:gd name="connsiteX5962" fmla="*/ 718166 w 6886183"/>
              <a:gd name="connsiteY5962" fmla="*/ 1561909 h 2705233"/>
              <a:gd name="connsiteX5963" fmla="*/ 710451 w 6886183"/>
              <a:gd name="connsiteY5963" fmla="*/ 1554956 h 2705233"/>
              <a:gd name="connsiteX5964" fmla="*/ 703783 w 6886183"/>
              <a:gd name="connsiteY5964" fmla="*/ 1547526 h 2705233"/>
              <a:gd name="connsiteX5965" fmla="*/ 697972 w 6886183"/>
              <a:gd name="connsiteY5965" fmla="*/ 1540002 h 2705233"/>
              <a:gd name="connsiteX5966" fmla="*/ 694068 w 6886183"/>
              <a:gd name="connsiteY5966" fmla="*/ 1532096 h 2705233"/>
              <a:gd name="connsiteX5967" fmla="*/ 689781 w 6886183"/>
              <a:gd name="connsiteY5967" fmla="*/ 1519237 h 2705233"/>
              <a:gd name="connsiteX5968" fmla="*/ 691687 w 6886183"/>
              <a:gd name="connsiteY5968" fmla="*/ 1511236 h 2705233"/>
              <a:gd name="connsiteX5969" fmla="*/ 694543 w 6886183"/>
              <a:gd name="connsiteY5969" fmla="*/ 1509331 h 2705233"/>
              <a:gd name="connsiteX5970" fmla="*/ 698639 w 6886183"/>
              <a:gd name="connsiteY5970" fmla="*/ 1508855 h 2705233"/>
              <a:gd name="connsiteX5971" fmla="*/ 3644949 w 6886183"/>
              <a:gd name="connsiteY5971" fmla="*/ 1508581 h 2705233"/>
              <a:gd name="connsiteX5972" fmla="*/ 3671381 w 6886183"/>
              <a:gd name="connsiteY5972" fmla="*/ 1525441 h 2705233"/>
              <a:gd name="connsiteX5973" fmla="*/ 3601944 w 6886183"/>
              <a:gd name="connsiteY5973" fmla="*/ 1576775 h 2705233"/>
              <a:gd name="connsiteX5974" fmla="*/ 3519745 w 6886183"/>
              <a:gd name="connsiteY5974" fmla="*/ 1565916 h 2705233"/>
              <a:gd name="connsiteX5975" fmla="*/ 3589085 w 6886183"/>
              <a:gd name="connsiteY5975" fmla="*/ 1513153 h 2705233"/>
              <a:gd name="connsiteX5976" fmla="*/ 3644949 w 6886183"/>
              <a:gd name="connsiteY5976" fmla="*/ 1508581 h 2705233"/>
              <a:gd name="connsiteX5977" fmla="*/ 5183856 w 6886183"/>
              <a:gd name="connsiteY5977" fmla="*/ 1503439 h 2705233"/>
              <a:gd name="connsiteX5978" fmla="*/ 5191666 w 6886183"/>
              <a:gd name="connsiteY5978" fmla="*/ 1503439 h 2705233"/>
              <a:gd name="connsiteX5979" fmla="*/ 5202049 w 6886183"/>
              <a:gd name="connsiteY5979" fmla="*/ 1506392 h 2705233"/>
              <a:gd name="connsiteX5980" fmla="*/ 5198905 w 6886183"/>
              <a:gd name="connsiteY5980" fmla="*/ 1519346 h 2705233"/>
              <a:gd name="connsiteX5981" fmla="*/ 5185475 w 6886183"/>
              <a:gd name="connsiteY5981" fmla="*/ 1527156 h 2705233"/>
              <a:gd name="connsiteX5982" fmla="*/ 5167187 w 6886183"/>
              <a:gd name="connsiteY5982" fmla="*/ 1534872 h 2705233"/>
              <a:gd name="connsiteX5983" fmla="*/ 5126992 w 6886183"/>
              <a:gd name="connsiteY5983" fmla="*/ 1545533 h 2705233"/>
              <a:gd name="connsiteX5984" fmla="*/ 5100226 w 6886183"/>
              <a:gd name="connsiteY5984" fmla="*/ 1532681 h 2705233"/>
              <a:gd name="connsiteX5985" fmla="*/ 5112799 w 6886183"/>
              <a:gd name="connsiteY5985" fmla="*/ 1524013 h 2705233"/>
              <a:gd name="connsiteX5986" fmla="*/ 5121562 w 6886183"/>
              <a:gd name="connsiteY5986" fmla="*/ 1519631 h 2705233"/>
              <a:gd name="connsiteX5987" fmla="*/ 5126420 w 6886183"/>
              <a:gd name="connsiteY5987" fmla="*/ 1517441 h 2705233"/>
              <a:gd name="connsiteX5988" fmla="*/ 5131564 w 6886183"/>
              <a:gd name="connsiteY5988" fmla="*/ 1515441 h 2705233"/>
              <a:gd name="connsiteX5989" fmla="*/ 5174331 w 6886183"/>
              <a:gd name="connsiteY5989" fmla="*/ 1504201 h 2705233"/>
              <a:gd name="connsiteX5990" fmla="*/ 5183856 w 6886183"/>
              <a:gd name="connsiteY5990" fmla="*/ 1503439 h 2705233"/>
              <a:gd name="connsiteX5991" fmla="*/ 5755737 w 6886183"/>
              <a:gd name="connsiteY5991" fmla="*/ 1502575 h 2705233"/>
              <a:gd name="connsiteX5992" fmla="*/ 5770692 w 6886183"/>
              <a:gd name="connsiteY5992" fmla="*/ 1502575 h 2705233"/>
              <a:gd name="connsiteX5993" fmla="*/ 5775168 w 6886183"/>
              <a:gd name="connsiteY5993" fmla="*/ 1514863 h 2705233"/>
              <a:gd name="connsiteX5994" fmla="*/ 5748498 w 6886183"/>
              <a:gd name="connsiteY5994" fmla="*/ 1521340 h 2705233"/>
              <a:gd name="connsiteX5995" fmla="*/ 5733449 w 6886183"/>
              <a:gd name="connsiteY5995" fmla="*/ 1522959 h 2705233"/>
              <a:gd name="connsiteX5996" fmla="*/ 5719352 w 6886183"/>
              <a:gd name="connsiteY5996" fmla="*/ 1523245 h 2705233"/>
              <a:gd name="connsiteX5997" fmla="*/ 5711637 w 6886183"/>
              <a:gd name="connsiteY5997" fmla="*/ 1511719 h 2705233"/>
              <a:gd name="connsiteX5998" fmla="*/ 5739545 w 6886183"/>
              <a:gd name="connsiteY5998" fmla="*/ 1504290 h 2705233"/>
              <a:gd name="connsiteX5999" fmla="*/ 5755737 w 6886183"/>
              <a:gd name="connsiteY5999" fmla="*/ 1502575 h 2705233"/>
              <a:gd name="connsiteX6000" fmla="*/ 2314762 w 6886183"/>
              <a:gd name="connsiteY6000" fmla="*/ 1496577 h 2705233"/>
              <a:gd name="connsiteX6001" fmla="*/ 2373532 w 6886183"/>
              <a:gd name="connsiteY6001" fmla="*/ 1496577 h 2705233"/>
              <a:gd name="connsiteX6002" fmla="*/ 2414298 w 6886183"/>
              <a:gd name="connsiteY6002" fmla="*/ 1515625 h 2705233"/>
              <a:gd name="connsiteX6003" fmla="*/ 2376674 w 6886183"/>
              <a:gd name="connsiteY6003" fmla="*/ 1557153 h 2705233"/>
              <a:gd name="connsiteX6004" fmla="*/ 2319524 w 6886183"/>
              <a:gd name="connsiteY6004" fmla="*/ 1558676 h 2705233"/>
              <a:gd name="connsiteX6005" fmla="*/ 2277043 w 6886183"/>
              <a:gd name="connsiteY6005" fmla="*/ 1541056 h 2705233"/>
              <a:gd name="connsiteX6006" fmla="*/ 2273329 w 6886183"/>
              <a:gd name="connsiteY6006" fmla="*/ 1515054 h 2705233"/>
              <a:gd name="connsiteX6007" fmla="*/ 2288949 w 6886183"/>
              <a:gd name="connsiteY6007" fmla="*/ 1504386 h 2705233"/>
              <a:gd name="connsiteX6008" fmla="*/ 2314762 w 6886183"/>
              <a:gd name="connsiteY6008" fmla="*/ 1496577 h 2705233"/>
              <a:gd name="connsiteX6009" fmla="*/ 4114139 w 6886183"/>
              <a:gd name="connsiteY6009" fmla="*/ 1495974 h 2705233"/>
              <a:gd name="connsiteX6010" fmla="*/ 4132677 w 6886183"/>
              <a:gd name="connsiteY6010" fmla="*/ 1512201 h 2705233"/>
              <a:gd name="connsiteX6011" fmla="*/ 4056477 w 6886183"/>
              <a:gd name="connsiteY6011" fmla="*/ 1563726 h 2705233"/>
              <a:gd name="connsiteX6012" fmla="*/ 3985039 w 6886183"/>
              <a:gd name="connsiteY6012" fmla="*/ 1555628 h 2705233"/>
              <a:gd name="connsiteX6013" fmla="*/ 4061239 w 6886183"/>
              <a:gd name="connsiteY6013" fmla="*/ 1502676 h 2705233"/>
              <a:gd name="connsiteX6014" fmla="*/ 4114139 w 6886183"/>
              <a:gd name="connsiteY6014" fmla="*/ 1495974 h 2705233"/>
              <a:gd name="connsiteX6015" fmla="*/ 4802392 w 6886183"/>
              <a:gd name="connsiteY6015" fmla="*/ 1494678 h 2705233"/>
              <a:gd name="connsiteX6016" fmla="*/ 4805523 w 6886183"/>
              <a:gd name="connsiteY6016" fmla="*/ 1510774 h 2705233"/>
              <a:gd name="connsiteX6017" fmla="*/ 4773805 w 6886183"/>
              <a:gd name="connsiteY6017" fmla="*/ 1533539 h 2705233"/>
              <a:gd name="connsiteX6018" fmla="*/ 4728561 w 6886183"/>
              <a:gd name="connsiteY6018" fmla="*/ 1550485 h 2705233"/>
              <a:gd name="connsiteX6019" fmla="*/ 4717417 w 6886183"/>
              <a:gd name="connsiteY6019" fmla="*/ 1552582 h 2705233"/>
              <a:gd name="connsiteX6020" fmla="*/ 4707892 w 6886183"/>
              <a:gd name="connsiteY6020" fmla="*/ 1553628 h 2705233"/>
              <a:gd name="connsiteX6021" fmla="*/ 4692842 w 6886183"/>
              <a:gd name="connsiteY6021" fmla="*/ 1552201 h 2705233"/>
              <a:gd name="connsiteX6022" fmla="*/ 4687794 w 6886183"/>
              <a:gd name="connsiteY6022" fmla="*/ 1537349 h 2705233"/>
              <a:gd name="connsiteX6023" fmla="*/ 4699795 w 6886183"/>
              <a:gd name="connsiteY6023" fmla="*/ 1525539 h 2705233"/>
              <a:gd name="connsiteX6024" fmla="*/ 4708558 w 6886183"/>
              <a:gd name="connsiteY6024" fmla="*/ 1519442 h 2705233"/>
              <a:gd name="connsiteX6025" fmla="*/ 4718750 w 6886183"/>
              <a:gd name="connsiteY6025" fmla="*/ 1513632 h 2705233"/>
              <a:gd name="connsiteX6026" fmla="*/ 4765327 w 6886183"/>
              <a:gd name="connsiteY6026" fmla="*/ 1495440 h 2705233"/>
              <a:gd name="connsiteX6027" fmla="*/ 4802392 w 6886183"/>
              <a:gd name="connsiteY6027" fmla="*/ 1494678 h 2705233"/>
              <a:gd name="connsiteX6028" fmla="*/ 5626102 w 6886183"/>
              <a:gd name="connsiteY6028" fmla="*/ 1493341 h 2705233"/>
              <a:gd name="connsiteX6029" fmla="*/ 5635627 w 6886183"/>
              <a:gd name="connsiteY6029" fmla="*/ 1507245 h 2705233"/>
              <a:gd name="connsiteX6030" fmla="*/ 5622578 w 6886183"/>
              <a:gd name="connsiteY6030" fmla="*/ 1511817 h 2705233"/>
              <a:gd name="connsiteX6031" fmla="*/ 5614767 w 6886183"/>
              <a:gd name="connsiteY6031" fmla="*/ 1513817 h 2705233"/>
              <a:gd name="connsiteX6032" fmla="*/ 5606480 w 6886183"/>
              <a:gd name="connsiteY6032" fmla="*/ 1515722 h 2705233"/>
              <a:gd name="connsiteX6033" fmla="*/ 5574476 w 6886183"/>
              <a:gd name="connsiteY6033" fmla="*/ 1519532 h 2705233"/>
              <a:gd name="connsiteX6034" fmla="*/ 5561999 w 6886183"/>
              <a:gd name="connsiteY6034" fmla="*/ 1507245 h 2705233"/>
              <a:gd name="connsiteX6035" fmla="*/ 5574476 w 6886183"/>
              <a:gd name="connsiteY6035" fmla="*/ 1501911 h 2705233"/>
              <a:gd name="connsiteX6036" fmla="*/ 5591240 w 6886183"/>
              <a:gd name="connsiteY6036" fmla="*/ 1497530 h 2705233"/>
              <a:gd name="connsiteX6037" fmla="*/ 5626102 w 6886183"/>
              <a:gd name="connsiteY6037" fmla="*/ 1493341 h 2705233"/>
              <a:gd name="connsiteX6038" fmla="*/ 5332256 w 6886183"/>
              <a:gd name="connsiteY6038" fmla="*/ 1493059 h 2705233"/>
              <a:gd name="connsiteX6039" fmla="*/ 5353115 w 6886183"/>
              <a:gd name="connsiteY6039" fmla="*/ 1506867 h 2705233"/>
              <a:gd name="connsiteX6040" fmla="*/ 5322350 w 6886183"/>
              <a:gd name="connsiteY6040" fmla="*/ 1520773 h 2705233"/>
              <a:gd name="connsiteX6041" fmla="*/ 5283297 w 6886183"/>
              <a:gd name="connsiteY6041" fmla="*/ 1528964 h 2705233"/>
              <a:gd name="connsiteX6042" fmla="*/ 5261390 w 6886183"/>
              <a:gd name="connsiteY6042" fmla="*/ 1516296 h 2705233"/>
              <a:gd name="connsiteX6043" fmla="*/ 5274153 w 6886183"/>
              <a:gd name="connsiteY6043" fmla="*/ 1508485 h 2705233"/>
              <a:gd name="connsiteX6044" fmla="*/ 5282345 w 6886183"/>
              <a:gd name="connsiteY6044" fmla="*/ 1504771 h 2705233"/>
              <a:gd name="connsiteX6045" fmla="*/ 5291870 w 6886183"/>
              <a:gd name="connsiteY6045" fmla="*/ 1501534 h 2705233"/>
              <a:gd name="connsiteX6046" fmla="*/ 5332256 w 6886183"/>
              <a:gd name="connsiteY6046" fmla="*/ 1493059 h 2705233"/>
              <a:gd name="connsiteX6047" fmla="*/ 5481799 w 6886183"/>
              <a:gd name="connsiteY6047" fmla="*/ 1489056 h 2705233"/>
              <a:gd name="connsiteX6048" fmla="*/ 5495896 w 6886183"/>
              <a:gd name="connsiteY6048" fmla="*/ 1503532 h 2705233"/>
              <a:gd name="connsiteX6049" fmla="*/ 5482751 w 6886183"/>
              <a:gd name="connsiteY6049" fmla="*/ 1509437 h 2705233"/>
              <a:gd name="connsiteX6050" fmla="*/ 5466844 w 6886183"/>
              <a:gd name="connsiteY6050" fmla="*/ 1514390 h 2705233"/>
              <a:gd name="connsiteX6051" fmla="*/ 5431983 w 6886183"/>
              <a:gd name="connsiteY6051" fmla="*/ 1519724 h 2705233"/>
              <a:gd name="connsiteX6052" fmla="*/ 5416838 w 6886183"/>
              <a:gd name="connsiteY6052" fmla="*/ 1506198 h 2705233"/>
              <a:gd name="connsiteX6053" fmla="*/ 5429792 w 6886183"/>
              <a:gd name="connsiteY6053" fmla="*/ 1499817 h 2705233"/>
              <a:gd name="connsiteX6054" fmla="*/ 5445889 w 6886183"/>
              <a:gd name="connsiteY6054" fmla="*/ 1494674 h 2705233"/>
              <a:gd name="connsiteX6055" fmla="*/ 5481799 w 6886183"/>
              <a:gd name="connsiteY6055" fmla="*/ 1489056 h 2705233"/>
              <a:gd name="connsiteX6056" fmla="*/ 6325047 w 6886183"/>
              <a:gd name="connsiteY6056" fmla="*/ 1487139 h 2705233"/>
              <a:gd name="connsiteX6057" fmla="*/ 6361718 w 6886183"/>
              <a:gd name="connsiteY6057" fmla="*/ 1489901 h 2705233"/>
              <a:gd name="connsiteX6058" fmla="*/ 6357717 w 6886183"/>
              <a:gd name="connsiteY6058" fmla="*/ 1497045 h 2705233"/>
              <a:gd name="connsiteX6059" fmla="*/ 6348192 w 6886183"/>
              <a:gd name="connsiteY6059" fmla="*/ 1497521 h 2705233"/>
              <a:gd name="connsiteX6060" fmla="*/ 6338667 w 6886183"/>
              <a:gd name="connsiteY6060" fmla="*/ 1497521 h 2705233"/>
              <a:gd name="connsiteX6061" fmla="*/ 6321332 w 6886183"/>
              <a:gd name="connsiteY6061" fmla="*/ 1494283 h 2705233"/>
              <a:gd name="connsiteX6062" fmla="*/ 6325047 w 6886183"/>
              <a:gd name="connsiteY6062" fmla="*/ 1487139 h 2705233"/>
              <a:gd name="connsiteX6063" fmla="*/ 4506034 w 6886183"/>
              <a:gd name="connsiteY6063" fmla="*/ 1484286 h 2705233"/>
              <a:gd name="connsiteX6064" fmla="*/ 4517297 w 6886183"/>
              <a:gd name="connsiteY6064" fmla="*/ 1500014 h 2705233"/>
              <a:gd name="connsiteX6065" fmla="*/ 4507772 w 6886183"/>
              <a:gd name="connsiteY6065" fmla="*/ 1513155 h 2705233"/>
              <a:gd name="connsiteX6066" fmla="*/ 4505867 w 6886183"/>
              <a:gd name="connsiteY6066" fmla="*/ 1514870 h 2705233"/>
              <a:gd name="connsiteX6067" fmla="*/ 4503676 w 6886183"/>
              <a:gd name="connsiteY6067" fmla="*/ 1516681 h 2705233"/>
              <a:gd name="connsiteX6068" fmla="*/ 4498819 w 6886183"/>
              <a:gd name="connsiteY6068" fmla="*/ 1520299 h 2705233"/>
              <a:gd name="connsiteX6069" fmla="*/ 4487865 w 6886183"/>
              <a:gd name="connsiteY6069" fmla="*/ 1527538 h 2705233"/>
              <a:gd name="connsiteX6070" fmla="*/ 4433953 w 6886183"/>
              <a:gd name="connsiteY6070" fmla="*/ 1551057 h 2705233"/>
              <a:gd name="connsiteX6071" fmla="*/ 4375470 w 6886183"/>
              <a:gd name="connsiteY6071" fmla="*/ 1541818 h 2705233"/>
              <a:gd name="connsiteX6072" fmla="*/ 4461195 w 6886183"/>
              <a:gd name="connsiteY6072" fmla="*/ 1488774 h 2705233"/>
              <a:gd name="connsiteX6073" fmla="*/ 4506034 w 6886183"/>
              <a:gd name="connsiteY6073" fmla="*/ 1484286 h 2705233"/>
              <a:gd name="connsiteX6074" fmla="*/ 6050917 w 6886183"/>
              <a:gd name="connsiteY6074" fmla="*/ 1481143 h 2705233"/>
              <a:gd name="connsiteX6075" fmla="*/ 6054727 w 6886183"/>
              <a:gd name="connsiteY6075" fmla="*/ 1491811 h 2705233"/>
              <a:gd name="connsiteX6076" fmla="*/ 6030153 w 6886183"/>
              <a:gd name="connsiteY6076" fmla="*/ 1495334 h 2705233"/>
              <a:gd name="connsiteX6077" fmla="*/ 6003959 w 6886183"/>
              <a:gd name="connsiteY6077" fmla="*/ 1495334 h 2705233"/>
              <a:gd name="connsiteX6078" fmla="*/ 5999387 w 6886183"/>
              <a:gd name="connsiteY6078" fmla="*/ 1484668 h 2705233"/>
              <a:gd name="connsiteX6079" fmla="*/ 6050917 w 6886183"/>
              <a:gd name="connsiteY6079" fmla="*/ 1481143 h 2705233"/>
              <a:gd name="connsiteX6080" fmla="*/ 4942683 w 6886183"/>
              <a:gd name="connsiteY6080" fmla="*/ 1464865 h 2705233"/>
              <a:gd name="connsiteX6081" fmla="*/ 4976211 w 6886183"/>
              <a:gd name="connsiteY6081" fmla="*/ 1480773 h 2705233"/>
              <a:gd name="connsiteX6082" fmla="*/ 4963448 w 6886183"/>
              <a:gd name="connsiteY6082" fmla="*/ 1490297 h 2705233"/>
              <a:gd name="connsiteX6083" fmla="*/ 4945446 w 6886183"/>
              <a:gd name="connsiteY6083" fmla="*/ 1499821 h 2705233"/>
              <a:gd name="connsiteX6084" fmla="*/ 4902107 w 6886183"/>
              <a:gd name="connsiteY6084" fmla="*/ 1514488 h 2705233"/>
              <a:gd name="connsiteX6085" fmla="*/ 4896487 w 6886183"/>
              <a:gd name="connsiteY6085" fmla="*/ 1515440 h 2705233"/>
              <a:gd name="connsiteX6086" fmla="*/ 4891248 w 6886183"/>
              <a:gd name="connsiteY6086" fmla="*/ 1516298 h 2705233"/>
              <a:gd name="connsiteX6087" fmla="*/ 4881723 w 6886183"/>
              <a:gd name="connsiteY6087" fmla="*/ 1517060 h 2705233"/>
              <a:gd name="connsiteX6088" fmla="*/ 4868103 w 6886183"/>
              <a:gd name="connsiteY6088" fmla="*/ 1515631 h 2705233"/>
              <a:gd name="connsiteX6089" fmla="*/ 4865150 w 6886183"/>
              <a:gd name="connsiteY6089" fmla="*/ 1501726 h 2705233"/>
              <a:gd name="connsiteX6090" fmla="*/ 4877342 w 6886183"/>
              <a:gd name="connsiteY6090" fmla="*/ 1490679 h 2705233"/>
              <a:gd name="connsiteX6091" fmla="*/ 4895820 w 6886183"/>
              <a:gd name="connsiteY6091" fmla="*/ 1480107 h 2705233"/>
              <a:gd name="connsiteX6092" fmla="*/ 4942683 w 6886183"/>
              <a:gd name="connsiteY6092" fmla="*/ 1464865 h 2705233"/>
              <a:gd name="connsiteX6093" fmla="*/ 5906423 w 6886183"/>
              <a:gd name="connsiteY6093" fmla="*/ 1455619 h 2705233"/>
              <a:gd name="connsiteX6094" fmla="*/ 5915948 w 6886183"/>
              <a:gd name="connsiteY6094" fmla="*/ 1468096 h 2705233"/>
              <a:gd name="connsiteX6095" fmla="*/ 5904328 w 6886183"/>
              <a:gd name="connsiteY6095" fmla="*/ 1471240 h 2705233"/>
              <a:gd name="connsiteX6096" fmla="*/ 5889659 w 6886183"/>
              <a:gd name="connsiteY6096" fmla="*/ 1473716 h 2705233"/>
              <a:gd name="connsiteX6097" fmla="*/ 5874038 w 6886183"/>
              <a:gd name="connsiteY6097" fmla="*/ 1475145 h 2705233"/>
              <a:gd name="connsiteX6098" fmla="*/ 5866704 w 6886183"/>
              <a:gd name="connsiteY6098" fmla="*/ 1475145 h 2705233"/>
              <a:gd name="connsiteX6099" fmla="*/ 5859846 w 6886183"/>
              <a:gd name="connsiteY6099" fmla="*/ 1475145 h 2705233"/>
              <a:gd name="connsiteX6100" fmla="*/ 5849559 w 6886183"/>
              <a:gd name="connsiteY6100" fmla="*/ 1463238 h 2705233"/>
              <a:gd name="connsiteX6101" fmla="*/ 5860989 w 6886183"/>
              <a:gd name="connsiteY6101" fmla="*/ 1459810 h 2705233"/>
              <a:gd name="connsiteX6102" fmla="*/ 5868228 w 6886183"/>
              <a:gd name="connsiteY6102" fmla="*/ 1458286 h 2705233"/>
              <a:gd name="connsiteX6103" fmla="*/ 5875848 w 6886183"/>
              <a:gd name="connsiteY6103" fmla="*/ 1457143 h 2705233"/>
              <a:gd name="connsiteX6104" fmla="*/ 5906423 w 6886183"/>
              <a:gd name="connsiteY6104" fmla="*/ 1455619 h 2705233"/>
              <a:gd name="connsiteX6105" fmla="*/ 3357925 w 6886183"/>
              <a:gd name="connsiteY6105" fmla="*/ 1450897 h 2705233"/>
              <a:gd name="connsiteX6106" fmla="*/ 3389753 w 6886183"/>
              <a:gd name="connsiteY6106" fmla="*/ 1469150 h 2705233"/>
              <a:gd name="connsiteX6107" fmla="*/ 3327663 w 6886183"/>
              <a:gd name="connsiteY6107" fmla="*/ 1520486 h 2705233"/>
              <a:gd name="connsiteX6108" fmla="*/ 3237465 w 6886183"/>
              <a:gd name="connsiteY6108" fmla="*/ 1507056 h 2705233"/>
              <a:gd name="connsiteX6109" fmla="*/ 3299090 w 6886183"/>
              <a:gd name="connsiteY6109" fmla="*/ 1454290 h 2705233"/>
              <a:gd name="connsiteX6110" fmla="*/ 3357925 w 6886183"/>
              <a:gd name="connsiteY6110" fmla="*/ 1450897 h 2705233"/>
              <a:gd name="connsiteX6111" fmla="*/ 3896291 w 6886183"/>
              <a:gd name="connsiteY6111" fmla="*/ 1446267 h 2705233"/>
              <a:gd name="connsiteX6112" fmla="*/ 3918270 w 6886183"/>
              <a:gd name="connsiteY6112" fmla="*/ 1463913 h 2705233"/>
              <a:gd name="connsiteX6113" fmla="*/ 3843880 w 6886183"/>
              <a:gd name="connsiteY6113" fmla="*/ 1516963 h 2705233"/>
              <a:gd name="connsiteX6114" fmla="*/ 3768251 w 6886183"/>
              <a:gd name="connsiteY6114" fmla="*/ 1505248 h 2705233"/>
              <a:gd name="connsiteX6115" fmla="*/ 3842737 w 6886183"/>
              <a:gd name="connsiteY6115" fmla="*/ 1450768 h 2705233"/>
              <a:gd name="connsiteX6116" fmla="*/ 3896291 w 6886183"/>
              <a:gd name="connsiteY6116" fmla="*/ 1446267 h 2705233"/>
              <a:gd name="connsiteX6117" fmla="*/ 6188934 w 6886183"/>
              <a:gd name="connsiteY6117" fmla="*/ 1445613 h 2705233"/>
              <a:gd name="connsiteX6118" fmla="*/ 6213223 w 6886183"/>
              <a:gd name="connsiteY6118" fmla="*/ 1446852 h 2705233"/>
              <a:gd name="connsiteX6119" fmla="*/ 6221510 w 6886183"/>
              <a:gd name="connsiteY6119" fmla="*/ 1449233 h 2705233"/>
              <a:gd name="connsiteX6120" fmla="*/ 6224463 w 6886183"/>
              <a:gd name="connsiteY6120" fmla="*/ 1451900 h 2705233"/>
              <a:gd name="connsiteX6121" fmla="*/ 6214938 w 6886183"/>
              <a:gd name="connsiteY6121" fmla="*/ 1456853 h 2705233"/>
              <a:gd name="connsiteX6122" fmla="*/ 6191220 w 6886183"/>
              <a:gd name="connsiteY6122" fmla="*/ 1459139 h 2705233"/>
              <a:gd name="connsiteX6123" fmla="*/ 6184934 w 6886183"/>
              <a:gd name="connsiteY6123" fmla="*/ 1459139 h 2705233"/>
              <a:gd name="connsiteX6124" fmla="*/ 6178647 w 6886183"/>
              <a:gd name="connsiteY6124" fmla="*/ 1459139 h 2705233"/>
              <a:gd name="connsiteX6125" fmla="*/ 6167122 w 6886183"/>
              <a:gd name="connsiteY6125" fmla="*/ 1457805 h 2705233"/>
              <a:gd name="connsiteX6126" fmla="*/ 6165122 w 6886183"/>
              <a:gd name="connsiteY6126" fmla="*/ 1448280 h 2705233"/>
              <a:gd name="connsiteX6127" fmla="*/ 6188934 w 6886183"/>
              <a:gd name="connsiteY6127" fmla="*/ 1445613 h 2705233"/>
              <a:gd name="connsiteX6128" fmla="*/ 5129373 w 6886183"/>
              <a:gd name="connsiteY6128" fmla="*/ 1443911 h 2705233"/>
              <a:gd name="connsiteX6129" fmla="*/ 5141279 w 6886183"/>
              <a:gd name="connsiteY6129" fmla="*/ 1446959 h 2705233"/>
              <a:gd name="connsiteX6130" fmla="*/ 5139469 w 6886183"/>
              <a:gd name="connsiteY6130" fmla="*/ 1461627 h 2705233"/>
              <a:gd name="connsiteX6131" fmla="*/ 5106322 w 6886183"/>
              <a:gd name="connsiteY6131" fmla="*/ 1479534 h 2705233"/>
              <a:gd name="connsiteX6132" fmla="*/ 5084605 w 6886183"/>
              <a:gd name="connsiteY6132" fmla="*/ 1486964 h 2705233"/>
              <a:gd name="connsiteX6133" fmla="*/ 5073747 w 6886183"/>
              <a:gd name="connsiteY6133" fmla="*/ 1489726 h 2705233"/>
              <a:gd name="connsiteX6134" fmla="*/ 5062793 w 6886183"/>
              <a:gd name="connsiteY6134" fmla="*/ 1491917 h 2705233"/>
              <a:gd name="connsiteX6135" fmla="*/ 5032599 w 6886183"/>
              <a:gd name="connsiteY6135" fmla="*/ 1476772 h 2705233"/>
              <a:gd name="connsiteX6136" fmla="*/ 5046124 w 6886183"/>
              <a:gd name="connsiteY6136" fmla="*/ 1466866 h 2705233"/>
              <a:gd name="connsiteX6137" fmla="*/ 5055649 w 6886183"/>
              <a:gd name="connsiteY6137" fmla="*/ 1462009 h 2705233"/>
              <a:gd name="connsiteX6138" fmla="*/ 5065936 w 6886183"/>
              <a:gd name="connsiteY6138" fmla="*/ 1457436 h 2705233"/>
              <a:gd name="connsiteX6139" fmla="*/ 5110323 w 6886183"/>
              <a:gd name="connsiteY6139" fmla="*/ 1444768 h 2705233"/>
              <a:gd name="connsiteX6140" fmla="*/ 5129373 w 6886183"/>
              <a:gd name="connsiteY6140" fmla="*/ 1443911 h 2705233"/>
              <a:gd name="connsiteX6141" fmla="*/ 2694870 w 6886183"/>
              <a:gd name="connsiteY6141" fmla="*/ 1441287 h 2705233"/>
              <a:gd name="connsiteX6142" fmla="*/ 2735204 w 6886183"/>
              <a:gd name="connsiteY6142" fmla="*/ 1459813 h 2705233"/>
              <a:gd name="connsiteX6143" fmla="*/ 2694049 w 6886183"/>
              <a:gd name="connsiteY6143" fmla="*/ 1506482 h 2705233"/>
              <a:gd name="connsiteX6144" fmla="*/ 2636423 w 6886183"/>
              <a:gd name="connsiteY6144" fmla="*/ 1509721 h 2705233"/>
              <a:gd name="connsiteX6145" fmla="*/ 2593846 w 6886183"/>
              <a:gd name="connsiteY6145" fmla="*/ 1493055 h 2705233"/>
              <a:gd name="connsiteX6146" fmla="*/ 2635470 w 6886183"/>
              <a:gd name="connsiteY6146" fmla="*/ 1443334 h 2705233"/>
              <a:gd name="connsiteX6147" fmla="*/ 2694870 w 6886183"/>
              <a:gd name="connsiteY6147" fmla="*/ 1441287 h 2705233"/>
              <a:gd name="connsiteX6148" fmla="*/ 5750022 w 6886183"/>
              <a:gd name="connsiteY6148" fmla="*/ 1439238 h 2705233"/>
              <a:gd name="connsiteX6149" fmla="*/ 5758880 w 6886183"/>
              <a:gd name="connsiteY6149" fmla="*/ 1453240 h 2705233"/>
              <a:gd name="connsiteX6150" fmla="*/ 5745164 w 6886183"/>
              <a:gd name="connsiteY6150" fmla="*/ 1457907 h 2705233"/>
              <a:gd name="connsiteX6151" fmla="*/ 5729067 w 6886183"/>
              <a:gd name="connsiteY6151" fmla="*/ 1461527 h 2705233"/>
              <a:gd name="connsiteX6152" fmla="*/ 5712112 w 6886183"/>
              <a:gd name="connsiteY6152" fmla="*/ 1463527 h 2705233"/>
              <a:gd name="connsiteX6153" fmla="*/ 5703730 w 6886183"/>
              <a:gd name="connsiteY6153" fmla="*/ 1463527 h 2705233"/>
              <a:gd name="connsiteX6154" fmla="*/ 5695825 w 6886183"/>
              <a:gd name="connsiteY6154" fmla="*/ 1463527 h 2705233"/>
              <a:gd name="connsiteX6155" fmla="*/ 5686300 w 6886183"/>
              <a:gd name="connsiteY6155" fmla="*/ 1450668 h 2705233"/>
              <a:gd name="connsiteX6156" fmla="*/ 5715637 w 6886183"/>
              <a:gd name="connsiteY6156" fmla="*/ 1441143 h 2705233"/>
              <a:gd name="connsiteX6157" fmla="*/ 5750022 w 6886183"/>
              <a:gd name="connsiteY6157" fmla="*/ 1439238 h 2705233"/>
              <a:gd name="connsiteX6158" fmla="*/ 4678079 w 6886183"/>
              <a:gd name="connsiteY6158" fmla="*/ 1438386 h 2705233"/>
              <a:gd name="connsiteX6159" fmla="*/ 4694176 w 6886183"/>
              <a:gd name="connsiteY6159" fmla="*/ 1439815 h 2705233"/>
              <a:gd name="connsiteX6160" fmla="*/ 4699129 w 6886183"/>
              <a:gd name="connsiteY6160" fmla="*/ 1456866 h 2705233"/>
              <a:gd name="connsiteX6161" fmla="*/ 4694462 w 6886183"/>
              <a:gd name="connsiteY6161" fmla="*/ 1463151 h 2705233"/>
              <a:gd name="connsiteX6162" fmla="*/ 4688080 w 6886183"/>
              <a:gd name="connsiteY6162" fmla="*/ 1469439 h 2705233"/>
              <a:gd name="connsiteX6163" fmla="*/ 4670554 w 6886183"/>
              <a:gd name="connsiteY6163" fmla="*/ 1481534 h 2705233"/>
              <a:gd name="connsiteX6164" fmla="*/ 4648361 w 6886183"/>
              <a:gd name="connsiteY6164" fmla="*/ 1492203 h 2705233"/>
              <a:gd name="connsiteX6165" fmla="*/ 4636074 w 6886183"/>
              <a:gd name="connsiteY6165" fmla="*/ 1496678 h 2705233"/>
              <a:gd name="connsiteX6166" fmla="*/ 4623501 w 6886183"/>
              <a:gd name="connsiteY6166" fmla="*/ 1500679 h 2705233"/>
              <a:gd name="connsiteX6167" fmla="*/ 4575876 w 6886183"/>
              <a:gd name="connsiteY6167" fmla="*/ 1489346 h 2705233"/>
              <a:gd name="connsiteX6168" fmla="*/ 4603689 w 6886183"/>
              <a:gd name="connsiteY6168" fmla="*/ 1462866 h 2705233"/>
              <a:gd name="connsiteX6169" fmla="*/ 4627025 w 6886183"/>
              <a:gd name="connsiteY6169" fmla="*/ 1451151 h 2705233"/>
              <a:gd name="connsiteX6170" fmla="*/ 4654362 w 6886183"/>
              <a:gd name="connsiteY6170" fmla="*/ 1442292 h 2705233"/>
              <a:gd name="connsiteX6171" fmla="*/ 4678079 w 6886183"/>
              <a:gd name="connsiteY6171" fmla="*/ 1438386 h 2705233"/>
              <a:gd name="connsiteX6172" fmla="*/ 4339287 w 6886183"/>
              <a:gd name="connsiteY6172" fmla="*/ 1437589 h 2705233"/>
              <a:gd name="connsiteX6173" fmla="*/ 4353943 w 6886183"/>
              <a:gd name="connsiteY6173" fmla="*/ 1454865 h 2705233"/>
              <a:gd name="connsiteX6174" fmla="*/ 4275362 w 6886183"/>
              <a:gd name="connsiteY6174" fmla="*/ 1506487 h 2705233"/>
              <a:gd name="connsiteX6175" fmla="*/ 4209735 w 6886183"/>
              <a:gd name="connsiteY6175" fmla="*/ 1496963 h 2705233"/>
              <a:gd name="connsiteX6176" fmla="*/ 4288697 w 6886183"/>
              <a:gd name="connsiteY6176" fmla="*/ 1443816 h 2705233"/>
              <a:gd name="connsiteX6177" fmla="*/ 4339287 w 6886183"/>
              <a:gd name="connsiteY6177" fmla="*/ 1437589 h 2705233"/>
              <a:gd name="connsiteX6178" fmla="*/ 5276820 w 6886183"/>
              <a:gd name="connsiteY6178" fmla="*/ 1431336 h 2705233"/>
              <a:gd name="connsiteX6179" fmla="*/ 5300633 w 6886183"/>
              <a:gd name="connsiteY6179" fmla="*/ 1446862 h 2705233"/>
              <a:gd name="connsiteX6180" fmla="*/ 5287012 w 6886183"/>
              <a:gd name="connsiteY6180" fmla="*/ 1455243 h 2705233"/>
              <a:gd name="connsiteX6181" fmla="*/ 5278344 w 6886183"/>
              <a:gd name="connsiteY6181" fmla="*/ 1459150 h 2705233"/>
              <a:gd name="connsiteX6182" fmla="*/ 5268819 w 6886183"/>
              <a:gd name="connsiteY6182" fmla="*/ 1462864 h 2705233"/>
              <a:gd name="connsiteX6183" fmla="*/ 5227100 w 6886183"/>
              <a:gd name="connsiteY6183" fmla="*/ 1472294 h 2705233"/>
              <a:gd name="connsiteX6184" fmla="*/ 5201478 w 6886183"/>
              <a:gd name="connsiteY6184" fmla="*/ 1457816 h 2705233"/>
              <a:gd name="connsiteX6185" fmla="*/ 5215003 w 6886183"/>
              <a:gd name="connsiteY6185" fmla="*/ 1448863 h 2705233"/>
              <a:gd name="connsiteX6186" fmla="*/ 5223861 w 6886183"/>
              <a:gd name="connsiteY6186" fmla="*/ 1444576 h 2705233"/>
              <a:gd name="connsiteX6187" fmla="*/ 5233386 w 6886183"/>
              <a:gd name="connsiteY6187" fmla="*/ 1440862 h 2705233"/>
              <a:gd name="connsiteX6188" fmla="*/ 5276820 w 6886183"/>
              <a:gd name="connsiteY6188" fmla="*/ 1431336 h 2705233"/>
              <a:gd name="connsiteX6189" fmla="*/ 5598480 w 6886183"/>
              <a:gd name="connsiteY6189" fmla="*/ 1428095 h 2705233"/>
              <a:gd name="connsiteX6190" fmla="*/ 5619054 w 6886183"/>
              <a:gd name="connsiteY6190" fmla="*/ 1432762 h 2705233"/>
              <a:gd name="connsiteX6191" fmla="*/ 5619054 w 6886183"/>
              <a:gd name="connsiteY6191" fmla="*/ 1437715 h 2705233"/>
              <a:gd name="connsiteX6192" fmla="*/ 5616101 w 6886183"/>
              <a:gd name="connsiteY6192" fmla="*/ 1440478 h 2705233"/>
              <a:gd name="connsiteX6193" fmla="*/ 5611243 w 6886183"/>
              <a:gd name="connsiteY6193" fmla="*/ 1443621 h 2705233"/>
              <a:gd name="connsiteX6194" fmla="*/ 5579239 w 6886183"/>
              <a:gd name="connsiteY6194" fmla="*/ 1454194 h 2705233"/>
              <a:gd name="connsiteX6195" fmla="*/ 5569714 w 6886183"/>
              <a:gd name="connsiteY6195" fmla="*/ 1456099 h 2705233"/>
              <a:gd name="connsiteX6196" fmla="*/ 5560189 w 6886183"/>
              <a:gd name="connsiteY6196" fmla="*/ 1457719 h 2705233"/>
              <a:gd name="connsiteX6197" fmla="*/ 5542378 w 6886183"/>
              <a:gd name="connsiteY6197" fmla="*/ 1459148 h 2705233"/>
              <a:gd name="connsiteX6198" fmla="*/ 5521994 w 6886183"/>
              <a:gd name="connsiteY6198" fmla="*/ 1455051 h 2705233"/>
              <a:gd name="connsiteX6199" fmla="*/ 5521994 w 6886183"/>
              <a:gd name="connsiteY6199" fmla="*/ 1450288 h 2705233"/>
              <a:gd name="connsiteX6200" fmla="*/ 5529043 w 6886183"/>
              <a:gd name="connsiteY6200" fmla="*/ 1444288 h 2705233"/>
              <a:gd name="connsiteX6201" fmla="*/ 5561047 w 6886183"/>
              <a:gd name="connsiteY6201" fmla="*/ 1432954 h 2705233"/>
              <a:gd name="connsiteX6202" fmla="*/ 5570572 w 6886183"/>
              <a:gd name="connsiteY6202" fmla="*/ 1430858 h 2705233"/>
              <a:gd name="connsiteX6203" fmla="*/ 5580097 w 6886183"/>
              <a:gd name="connsiteY6203" fmla="*/ 1429333 h 2705233"/>
              <a:gd name="connsiteX6204" fmla="*/ 5598480 w 6886183"/>
              <a:gd name="connsiteY6204" fmla="*/ 1428095 h 2705233"/>
              <a:gd name="connsiteX6205" fmla="*/ 5436650 w 6886183"/>
              <a:gd name="connsiteY6205" fmla="*/ 1426764 h 2705233"/>
              <a:gd name="connsiteX6206" fmla="*/ 5455700 w 6886183"/>
              <a:gd name="connsiteY6206" fmla="*/ 1442670 h 2705233"/>
              <a:gd name="connsiteX6207" fmla="*/ 5441793 w 6886183"/>
              <a:gd name="connsiteY6207" fmla="*/ 1449624 h 2705233"/>
              <a:gd name="connsiteX6208" fmla="*/ 5423315 w 6886183"/>
              <a:gd name="connsiteY6208" fmla="*/ 1455815 h 2705233"/>
              <a:gd name="connsiteX6209" fmla="*/ 5383500 w 6886183"/>
              <a:gd name="connsiteY6209" fmla="*/ 1463529 h 2705233"/>
              <a:gd name="connsiteX6210" fmla="*/ 5363021 w 6886183"/>
              <a:gd name="connsiteY6210" fmla="*/ 1448766 h 2705233"/>
              <a:gd name="connsiteX6211" fmla="*/ 5376547 w 6886183"/>
              <a:gd name="connsiteY6211" fmla="*/ 1441242 h 2705233"/>
              <a:gd name="connsiteX6212" fmla="*/ 5395597 w 6886183"/>
              <a:gd name="connsiteY6212" fmla="*/ 1434574 h 2705233"/>
              <a:gd name="connsiteX6213" fmla="*/ 5416457 w 6886183"/>
              <a:gd name="connsiteY6213" fmla="*/ 1429431 h 2705233"/>
              <a:gd name="connsiteX6214" fmla="*/ 5426839 w 6886183"/>
              <a:gd name="connsiteY6214" fmla="*/ 1427716 h 2705233"/>
              <a:gd name="connsiteX6215" fmla="*/ 5436650 w 6886183"/>
              <a:gd name="connsiteY6215" fmla="*/ 1426764 h 2705233"/>
              <a:gd name="connsiteX6216" fmla="*/ 6369909 w 6886183"/>
              <a:gd name="connsiteY6216" fmla="*/ 1417608 h 2705233"/>
              <a:gd name="connsiteX6217" fmla="*/ 6393817 w 6886183"/>
              <a:gd name="connsiteY6217" fmla="*/ 1417608 h 2705233"/>
              <a:gd name="connsiteX6218" fmla="*/ 6416296 w 6886183"/>
              <a:gd name="connsiteY6218" fmla="*/ 1421228 h 2705233"/>
              <a:gd name="connsiteX6219" fmla="*/ 6414201 w 6886183"/>
              <a:gd name="connsiteY6219" fmla="*/ 1430753 h 2705233"/>
              <a:gd name="connsiteX6220" fmla="*/ 6388864 w 6886183"/>
              <a:gd name="connsiteY6220" fmla="*/ 1430753 h 2705233"/>
              <a:gd name="connsiteX6221" fmla="*/ 6365147 w 6886183"/>
              <a:gd name="connsiteY6221" fmla="*/ 1427133 h 2705233"/>
              <a:gd name="connsiteX6222" fmla="*/ 6369909 w 6886183"/>
              <a:gd name="connsiteY6222" fmla="*/ 1417608 h 2705233"/>
              <a:gd name="connsiteX6223" fmla="*/ 1121840 w 6886183"/>
              <a:gd name="connsiteY6223" fmla="*/ 1411419 h 2705233"/>
              <a:gd name="connsiteX6224" fmla="*/ 1132413 w 6886183"/>
              <a:gd name="connsiteY6224" fmla="*/ 1412467 h 2705233"/>
              <a:gd name="connsiteX6225" fmla="*/ 1143272 w 6886183"/>
              <a:gd name="connsiteY6225" fmla="*/ 1414372 h 2705233"/>
              <a:gd name="connsiteX6226" fmla="*/ 1153939 w 6886183"/>
              <a:gd name="connsiteY6226" fmla="*/ 1417324 h 2705233"/>
              <a:gd name="connsiteX6227" fmla="*/ 1159273 w 6886183"/>
              <a:gd name="connsiteY6227" fmla="*/ 1419134 h 2705233"/>
              <a:gd name="connsiteX6228" fmla="*/ 1164512 w 6886183"/>
              <a:gd name="connsiteY6228" fmla="*/ 1421039 h 2705233"/>
              <a:gd name="connsiteX6229" fmla="*/ 1184610 w 6886183"/>
              <a:gd name="connsiteY6229" fmla="*/ 1430564 h 2705233"/>
              <a:gd name="connsiteX6230" fmla="*/ 1202326 w 6886183"/>
              <a:gd name="connsiteY6230" fmla="*/ 1443137 h 2705233"/>
              <a:gd name="connsiteX6231" fmla="*/ 1215661 w 6886183"/>
              <a:gd name="connsiteY6231" fmla="*/ 1466473 h 2705233"/>
              <a:gd name="connsiteX6232" fmla="*/ 1188229 w 6886183"/>
              <a:gd name="connsiteY6232" fmla="*/ 1474760 h 2705233"/>
              <a:gd name="connsiteX6233" fmla="*/ 1108411 w 6886183"/>
              <a:gd name="connsiteY6233" fmla="*/ 1443613 h 2705233"/>
              <a:gd name="connsiteX6234" fmla="*/ 1104504 w 6886183"/>
              <a:gd name="connsiteY6234" fmla="*/ 1439803 h 2705233"/>
              <a:gd name="connsiteX6235" fmla="*/ 1101266 w 6886183"/>
              <a:gd name="connsiteY6235" fmla="*/ 1436184 h 2705233"/>
              <a:gd name="connsiteX6236" fmla="*/ 1096695 w 6886183"/>
              <a:gd name="connsiteY6236" fmla="*/ 1429516 h 2705233"/>
              <a:gd name="connsiteX6237" fmla="*/ 1095171 w 6886183"/>
              <a:gd name="connsiteY6237" fmla="*/ 1419039 h 2705233"/>
              <a:gd name="connsiteX6238" fmla="*/ 1103553 w 6886183"/>
              <a:gd name="connsiteY6238" fmla="*/ 1412848 h 2705233"/>
              <a:gd name="connsiteX6239" fmla="*/ 1121840 w 6886183"/>
              <a:gd name="connsiteY6239" fmla="*/ 1411419 h 2705233"/>
              <a:gd name="connsiteX6240" fmla="*/ 6036154 w 6886183"/>
              <a:gd name="connsiteY6240" fmla="*/ 1410183 h 2705233"/>
              <a:gd name="connsiteX6241" fmla="*/ 6052156 w 6886183"/>
              <a:gd name="connsiteY6241" fmla="*/ 1410183 h 2705233"/>
              <a:gd name="connsiteX6242" fmla="*/ 6059585 w 6886183"/>
              <a:gd name="connsiteY6242" fmla="*/ 1410183 h 2705233"/>
              <a:gd name="connsiteX6243" fmla="*/ 6066062 w 6886183"/>
              <a:gd name="connsiteY6243" fmla="*/ 1411041 h 2705233"/>
              <a:gd name="connsiteX6244" fmla="*/ 6065395 w 6886183"/>
              <a:gd name="connsiteY6244" fmla="*/ 1423995 h 2705233"/>
              <a:gd name="connsiteX6245" fmla="*/ 6037773 w 6886183"/>
              <a:gd name="connsiteY6245" fmla="*/ 1427804 h 2705233"/>
              <a:gd name="connsiteX6246" fmla="*/ 6023105 w 6886183"/>
              <a:gd name="connsiteY6246" fmla="*/ 1427804 h 2705233"/>
              <a:gd name="connsiteX6247" fmla="*/ 6010055 w 6886183"/>
              <a:gd name="connsiteY6247" fmla="*/ 1427043 h 2705233"/>
              <a:gd name="connsiteX6248" fmla="*/ 6006912 w 6886183"/>
              <a:gd name="connsiteY6248" fmla="*/ 1414850 h 2705233"/>
              <a:gd name="connsiteX6249" fmla="*/ 6020342 w 6886183"/>
              <a:gd name="connsiteY6249" fmla="*/ 1411803 h 2705233"/>
              <a:gd name="connsiteX6250" fmla="*/ 6036154 w 6886183"/>
              <a:gd name="connsiteY6250" fmla="*/ 1410183 h 2705233"/>
              <a:gd name="connsiteX6251" fmla="*/ 1465978 w 6886183"/>
              <a:gd name="connsiteY6251" fmla="*/ 1409324 h 2705233"/>
              <a:gd name="connsiteX6252" fmla="*/ 1478361 w 6886183"/>
              <a:gd name="connsiteY6252" fmla="*/ 1409991 h 2705233"/>
              <a:gd name="connsiteX6253" fmla="*/ 1505698 w 6886183"/>
              <a:gd name="connsiteY6253" fmla="*/ 1414848 h 2705233"/>
              <a:gd name="connsiteX6254" fmla="*/ 1532463 w 6886183"/>
              <a:gd name="connsiteY6254" fmla="*/ 1423421 h 2705233"/>
              <a:gd name="connsiteX6255" fmla="*/ 1553323 w 6886183"/>
              <a:gd name="connsiteY6255" fmla="*/ 1434279 h 2705233"/>
              <a:gd name="connsiteX6256" fmla="*/ 1539988 w 6886183"/>
              <a:gd name="connsiteY6256" fmla="*/ 1472189 h 2705233"/>
              <a:gd name="connsiteX6257" fmla="*/ 1516175 w 6886183"/>
              <a:gd name="connsiteY6257" fmla="*/ 1472189 h 2705233"/>
              <a:gd name="connsiteX6258" fmla="*/ 1502840 w 6886183"/>
              <a:gd name="connsiteY6258" fmla="*/ 1470284 h 2705233"/>
              <a:gd name="connsiteX6259" fmla="*/ 1489220 w 6886183"/>
              <a:gd name="connsiteY6259" fmla="*/ 1467141 h 2705233"/>
              <a:gd name="connsiteX6260" fmla="*/ 1443976 w 6886183"/>
              <a:gd name="connsiteY6260" fmla="*/ 1447043 h 2705233"/>
              <a:gd name="connsiteX6261" fmla="*/ 1455406 w 6886183"/>
              <a:gd name="connsiteY6261" fmla="*/ 1410086 h 2705233"/>
              <a:gd name="connsiteX6262" fmla="*/ 1465978 w 6886183"/>
              <a:gd name="connsiteY6262" fmla="*/ 1409324 h 2705233"/>
              <a:gd name="connsiteX6263" fmla="*/ 4876675 w 6886183"/>
              <a:gd name="connsiteY6263" fmla="*/ 1407241 h 2705233"/>
              <a:gd name="connsiteX6264" fmla="*/ 4880390 w 6886183"/>
              <a:gd name="connsiteY6264" fmla="*/ 1424004 h 2705233"/>
              <a:gd name="connsiteX6265" fmla="*/ 4848957 w 6886183"/>
              <a:gd name="connsiteY6265" fmla="*/ 1447055 h 2705233"/>
              <a:gd name="connsiteX6266" fmla="*/ 4826192 w 6886183"/>
              <a:gd name="connsiteY6266" fmla="*/ 1456579 h 2705233"/>
              <a:gd name="connsiteX6267" fmla="*/ 4814191 w 6886183"/>
              <a:gd name="connsiteY6267" fmla="*/ 1460580 h 2705233"/>
              <a:gd name="connsiteX6268" fmla="*/ 4802189 w 6886183"/>
              <a:gd name="connsiteY6268" fmla="*/ 1463818 h 2705233"/>
              <a:gd name="connsiteX6269" fmla="*/ 4765804 w 6886183"/>
              <a:gd name="connsiteY6269" fmla="*/ 1465438 h 2705233"/>
              <a:gd name="connsiteX6270" fmla="*/ 4758184 w 6886183"/>
              <a:gd name="connsiteY6270" fmla="*/ 1459914 h 2705233"/>
              <a:gd name="connsiteX6271" fmla="*/ 4759517 w 6886183"/>
              <a:gd name="connsiteY6271" fmla="*/ 1450864 h 2705233"/>
              <a:gd name="connsiteX6272" fmla="*/ 4789045 w 6886183"/>
              <a:gd name="connsiteY6272" fmla="*/ 1426957 h 2705233"/>
              <a:gd name="connsiteX6273" fmla="*/ 4812286 w 6886183"/>
              <a:gd name="connsiteY6273" fmla="*/ 1416193 h 2705233"/>
              <a:gd name="connsiteX6274" fmla="*/ 4837527 w 6886183"/>
              <a:gd name="connsiteY6274" fmla="*/ 1408573 h 2705233"/>
              <a:gd name="connsiteX6275" fmla="*/ 4876675 w 6886183"/>
              <a:gd name="connsiteY6275" fmla="*/ 1407241 h 2705233"/>
              <a:gd name="connsiteX6276" fmla="*/ 578905 w 6886183"/>
              <a:gd name="connsiteY6276" fmla="*/ 1390651 h 2705233"/>
              <a:gd name="connsiteX6277" fmla="*/ 583572 w 6886183"/>
              <a:gd name="connsiteY6277" fmla="*/ 1391508 h 2705233"/>
              <a:gd name="connsiteX6278" fmla="*/ 586524 w 6886183"/>
              <a:gd name="connsiteY6278" fmla="*/ 1396747 h 2705233"/>
              <a:gd name="connsiteX6279" fmla="*/ 586524 w 6886183"/>
              <a:gd name="connsiteY6279" fmla="*/ 1398462 h 2705233"/>
              <a:gd name="connsiteX6280" fmla="*/ 586524 w 6886183"/>
              <a:gd name="connsiteY6280" fmla="*/ 1400271 h 2705233"/>
              <a:gd name="connsiteX6281" fmla="*/ 586524 w 6886183"/>
              <a:gd name="connsiteY6281" fmla="*/ 1404177 h 2705233"/>
              <a:gd name="connsiteX6282" fmla="*/ 586524 w 6886183"/>
              <a:gd name="connsiteY6282" fmla="*/ 1406177 h 2705233"/>
              <a:gd name="connsiteX6283" fmla="*/ 586524 w 6886183"/>
              <a:gd name="connsiteY6283" fmla="*/ 1408272 h 2705233"/>
              <a:gd name="connsiteX6284" fmla="*/ 585858 w 6886183"/>
              <a:gd name="connsiteY6284" fmla="*/ 1412844 h 2705233"/>
              <a:gd name="connsiteX6285" fmla="*/ 585858 w 6886183"/>
              <a:gd name="connsiteY6285" fmla="*/ 1413987 h 2705233"/>
              <a:gd name="connsiteX6286" fmla="*/ 585858 w 6886183"/>
              <a:gd name="connsiteY6286" fmla="*/ 1415131 h 2705233"/>
              <a:gd name="connsiteX6287" fmla="*/ 585858 w 6886183"/>
              <a:gd name="connsiteY6287" fmla="*/ 1417512 h 2705233"/>
              <a:gd name="connsiteX6288" fmla="*/ 584524 w 6886183"/>
              <a:gd name="connsiteY6288" fmla="*/ 1422655 h 2705233"/>
              <a:gd name="connsiteX6289" fmla="*/ 583763 w 6886183"/>
              <a:gd name="connsiteY6289" fmla="*/ 1425227 h 2705233"/>
              <a:gd name="connsiteX6290" fmla="*/ 583096 w 6886183"/>
              <a:gd name="connsiteY6290" fmla="*/ 1427800 h 2705233"/>
              <a:gd name="connsiteX6291" fmla="*/ 581191 w 6886183"/>
              <a:gd name="connsiteY6291" fmla="*/ 1433228 h 2705233"/>
              <a:gd name="connsiteX6292" fmla="*/ 580715 w 6886183"/>
              <a:gd name="connsiteY6292" fmla="*/ 1434752 h 2705233"/>
              <a:gd name="connsiteX6293" fmla="*/ 580239 w 6886183"/>
              <a:gd name="connsiteY6293" fmla="*/ 1436085 h 2705233"/>
              <a:gd name="connsiteX6294" fmla="*/ 579286 w 6886183"/>
              <a:gd name="connsiteY6294" fmla="*/ 1438752 h 2705233"/>
              <a:gd name="connsiteX6295" fmla="*/ 577190 w 6886183"/>
              <a:gd name="connsiteY6295" fmla="*/ 1443229 h 2705233"/>
              <a:gd name="connsiteX6296" fmla="*/ 572714 w 6886183"/>
              <a:gd name="connsiteY6296" fmla="*/ 1448658 h 2705233"/>
              <a:gd name="connsiteX6297" fmla="*/ 567951 w 6886183"/>
              <a:gd name="connsiteY6297" fmla="*/ 1448658 h 2705233"/>
              <a:gd name="connsiteX6298" fmla="*/ 565475 w 6886183"/>
              <a:gd name="connsiteY6298" fmla="*/ 1446753 h 2705233"/>
              <a:gd name="connsiteX6299" fmla="*/ 564236 w 6886183"/>
              <a:gd name="connsiteY6299" fmla="*/ 1445230 h 2705233"/>
              <a:gd name="connsiteX6300" fmla="*/ 563189 w 6886183"/>
              <a:gd name="connsiteY6300" fmla="*/ 1443324 h 2705233"/>
              <a:gd name="connsiteX6301" fmla="*/ 561474 w 6886183"/>
              <a:gd name="connsiteY6301" fmla="*/ 1439324 h 2705233"/>
              <a:gd name="connsiteX6302" fmla="*/ 560331 w 6886183"/>
              <a:gd name="connsiteY6302" fmla="*/ 1434847 h 2705233"/>
              <a:gd name="connsiteX6303" fmla="*/ 559760 w 6886183"/>
              <a:gd name="connsiteY6303" fmla="*/ 1429894 h 2705233"/>
              <a:gd name="connsiteX6304" fmla="*/ 559760 w 6886183"/>
              <a:gd name="connsiteY6304" fmla="*/ 1427418 h 2705233"/>
              <a:gd name="connsiteX6305" fmla="*/ 559760 w 6886183"/>
              <a:gd name="connsiteY6305" fmla="*/ 1424751 h 2705233"/>
              <a:gd name="connsiteX6306" fmla="*/ 566522 w 6886183"/>
              <a:gd name="connsiteY6306" fmla="*/ 1403129 h 2705233"/>
              <a:gd name="connsiteX6307" fmla="*/ 572999 w 6886183"/>
              <a:gd name="connsiteY6307" fmla="*/ 1394271 h 2705233"/>
              <a:gd name="connsiteX6308" fmla="*/ 578905 w 6886183"/>
              <a:gd name="connsiteY6308" fmla="*/ 1390651 h 2705233"/>
              <a:gd name="connsiteX6309" fmla="*/ 4141929 w 6886183"/>
              <a:gd name="connsiteY6309" fmla="*/ 1386890 h 2705233"/>
              <a:gd name="connsiteX6310" fmla="*/ 4161253 w 6886183"/>
              <a:gd name="connsiteY6310" fmla="*/ 1404667 h 2705233"/>
              <a:gd name="connsiteX6311" fmla="*/ 4084100 w 6886183"/>
              <a:gd name="connsiteY6311" fmla="*/ 1459435 h 2705233"/>
              <a:gd name="connsiteX6312" fmla="*/ 4012853 w 6886183"/>
              <a:gd name="connsiteY6312" fmla="*/ 1448481 h 2705233"/>
              <a:gd name="connsiteX6313" fmla="*/ 4090101 w 6886183"/>
              <a:gd name="connsiteY6313" fmla="*/ 1392188 h 2705233"/>
              <a:gd name="connsiteX6314" fmla="*/ 4141929 w 6886183"/>
              <a:gd name="connsiteY6314" fmla="*/ 1386890 h 2705233"/>
              <a:gd name="connsiteX6315" fmla="*/ 1821360 w 6886183"/>
              <a:gd name="connsiteY6315" fmla="*/ 1386085 h 2705233"/>
              <a:gd name="connsiteX6316" fmla="*/ 1918990 w 6886183"/>
              <a:gd name="connsiteY6316" fmla="*/ 1408278 h 2705233"/>
              <a:gd name="connsiteX6317" fmla="*/ 1926991 w 6886183"/>
              <a:gd name="connsiteY6317" fmla="*/ 1432853 h 2705233"/>
              <a:gd name="connsiteX6318" fmla="*/ 1895177 w 6886183"/>
              <a:gd name="connsiteY6318" fmla="*/ 1448474 h 2705233"/>
              <a:gd name="connsiteX6319" fmla="*/ 1798785 w 6886183"/>
              <a:gd name="connsiteY6319" fmla="*/ 1427138 h 2705233"/>
              <a:gd name="connsiteX6320" fmla="*/ 1821360 w 6886183"/>
              <a:gd name="connsiteY6320" fmla="*/ 1386085 h 2705233"/>
              <a:gd name="connsiteX6321" fmla="*/ 426311 w 6886183"/>
              <a:gd name="connsiteY6321" fmla="*/ 1386078 h 2705233"/>
              <a:gd name="connsiteX6322" fmla="*/ 432692 w 6886183"/>
              <a:gd name="connsiteY6322" fmla="*/ 1398936 h 2705233"/>
              <a:gd name="connsiteX6323" fmla="*/ 433264 w 6886183"/>
              <a:gd name="connsiteY6323" fmla="*/ 1402556 h 2705233"/>
              <a:gd name="connsiteX6324" fmla="*/ 433741 w 6886183"/>
              <a:gd name="connsiteY6324" fmla="*/ 1406271 h 2705233"/>
              <a:gd name="connsiteX6325" fmla="*/ 434311 w 6886183"/>
              <a:gd name="connsiteY6325" fmla="*/ 1414271 h 2705233"/>
              <a:gd name="connsiteX6326" fmla="*/ 434311 w 6886183"/>
              <a:gd name="connsiteY6326" fmla="*/ 1418463 h 2705233"/>
              <a:gd name="connsiteX6327" fmla="*/ 434311 w 6886183"/>
              <a:gd name="connsiteY6327" fmla="*/ 1422749 h 2705233"/>
              <a:gd name="connsiteX6328" fmla="*/ 434311 w 6886183"/>
              <a:gd name="connsiteY6328" fmla="*/ 1431417 h 2705233"/>
              <a:gd name="connsiteX6329" fmla="*/ 434311 w 6886183"/>
              <a:gd name="connsiteY6329" fmla="*/ 1435893 h 2705233"/>
              <a:gd name="connsiteX6330" fmla="*/ 434311 w 6886183"/>
              <a:gd name="connsiteY6330" fmla="*/ 1440275 h 2705233"/>
              <a:gd name="connsiteX6331" fmla="*/ 434311 w 6886183"/>
              <a:gd name="connsiteY6331" fmla="*/ 1449038 h 2705233"/>
              <a:gd name="connsiteX6332" fmla="*/ 433836 w 6886183"/>
              <a:gd name="connsiteY6332" fmla="*/ 1453419 h 2705233"/>
              <a:gd name="connsiteX6333" fmla="*/ 433836 w 6886183"/>
              <a:gd name="connsiteY6333" fmla="*/ 1457610 h 2705233"/>
              <a:gd name="connsiteX6334" fmla="*/ 432692 w 6886183"/>
              <a:gd name="connsiteY6334" fmla="*/ 1465802 h 2705233"/>
              <a:gd name="connsiteX6335" fmla="*/ 431549 w 6886183"/>
              <a:gd name="connsiteY6335" fmla="*/ 1472088 h 2705233"/>
              <a:gd name="connsiteX6336" fmla="*/ 430216 w 6886183"/>
              <a:gd name="connsiteY6336" fmla="*/ 1476660 h 2705233"/>
              <a:gd name="connsiteX6337" fmla="*/ 426787 w 6886183"/>
              <a:gd name="connsiteY6337" fmla="*/ 1480946 h 2705233"/>
              <a:gd name="connsiteX6338" fmla="*/ 422215 w 6886183"/>
              <a:gd name="connsiteY6338" fmla="*/ 1478565 h 2705233"/>
              <a:gd name="connsiteX6339" fmla="*/ 420977 w 6886183"/>
              <a:gd name="connsiteY6339" fmla="*/ 1476946 h 2705233"/>
              <a:gd name="connsiteX6340" fmla="*/ 420310 w 6886183"/>
              <a:gd name="connsiteY6340" fmla="*/ 1475898 h 2705233"/>
              <a:gd name="connsiteX6341" fmla="*/ 419739 w 6886183"/>
              <a:gd name="connsiteY6341" fmla="*/ 1474755 h 2705233"/>
              <a:gd name="connsiteX6342" fmla="*/ 416215 w 6886183"/>
              <a:gd name="connsiteY6342" fmla="*/ 1469326 h 2705233"/>
              <a:gd name="connsiteX6343" fmla="*/ 413643 w 6886183"/>
              <a:gd name="connsiteY6343" fmla="*/ 1461801 h 2705233"/>
              <a:gd name="connsiteX6344" fmla="*/ 413643 w 6886183"/>
              <a:gd name="connsiteY6344" fmla="*/ 1459706 h 2705233"/>
              <a:gd name="connsiteX6345" fmla="*/ 413167 w 6886183"/>
              <a:gd name="connsiteY6345" fmla="*/ 1457610 h 2705233"/>
              <a:gd name="connsiteX6346" fmla="*/ 412403 w 6886183"/>
              <a:gd name="connsiteY6346" fmla="*/ 1453324 h 2705233"/>
              <a:gd name="connsiteX6347" fmla="*/ 411262 w 6886183"/>
              <a:gd name="connsiteY6347" fmla="*/ 1444466 h 2705233"/>
              <a:gd name="connsiteX6348" fmla="*/ 411262 w 6886183"/>
              <a:gd name="connsiteY6348" fmla="*/ 1442180 h 2705233"/>
              <a:gd name="connsiteX6349" fmla="*/ 411262 w 6886183"/>
              <a:gd name="connsiteY6349" fmla="*/ 1435226 h 2705233"/>
              <a:gd name="connsiteX6350" fmla="*/ 411262 w 6886183"/>
              <a:gd name="connsiteY6350" fmla="*/ 1425701 h 2705233"/>
              <a:gd name="connsiteX6351" fmla="*/ 411833 w 6886183"/>
              <a:gd name="connsiteY6351" fmla="*/ 1421129 h 2705233"/>
              <a:gd name="connsiteX6352" fmla="*/ 412500 w 6886183"/>
              <a:gd name="connsiteY6352" fmla="*/ 1416558 h 2705233"/>
              <a:gd name="connsiteX6353" fmla="*/ 416786 w 6886183"/>
              <a:gd name="connsiteY6353" fmla="*/ 1399794 h 2705233"/>
              <a:gd name="connsiteX6354" fmla="*/ 426311 w 6886183"/>
              <a:gd name="connsiteY6354" fmla="*/ 1386078 h 2705233"/>
              <a:gd name="connsiteX6355" fmla="*/ 3637556 w 6886183"/>
              <a:gd name="connsiteY6355" fmla="*/ 1385425 h 2705233"/>
              <a:gd name="connsiteX6356" fmla="*/ 3662618 w 6886183"/>
              <a:gd name="connsiteY6356" fmla="*/ 1405428 h 2705233"/>
              <a:gd name="connsiteX6357" fmla="*/ 3592229 w 6886183"/>
              <a:gd name="connsiteY6357" fmla="*/ 1458387 h 2705233"/>
              <a:gd name="connsiteX6358" fmla="*/ 3510885 w 6886183"/>
              <a:gd name="connsiteY6358" fmla="*/ 1442480 h 2705233"/>
              <a:gd name="connsiteX6359" fmla="*/ 3581275 w 6886183"/>
              <a:gd name="connsiteY6359" fmla="*/ 1387997 h 2705233"/>
              <a:gd name="connsiteX6360" fmla="*/ 3637556 w 6886183"/>
              <a:gd name="connsiteY6360" fmla="*/ 1385425 h 2705233"/>
              <a:gd name="connsiteX6361" fmla="*/ 4535204 w 6886183"/>
              <a:gd name="connsiteY6361" fmla="*/ 1384665 h 2705233"/>
              <a:gd name="connsiteX6362" fmla="*/ 4554254 w 6886183"/>
              <a:gd name="connsiteY6362" fmla="*/ 1385809 h 2705233"/>
              <a:gd name="connsiteX6363" fmla="*/ 4564731 w 6886183"/>
              <a:gd name="connsiteY6363" fmla="*/ 1403906 h 2705233"/>
              <a:gd name="connsiteX6364" fmla="*/ 4536156 w 6886183"/>
              <a:gd name="connsiteY6364" fmla="*/ 1431243 h 2705233"/>
              <a:gd name="connsiteX6365" fmla="*/ 4487674 w 6886183"/>
              <a:gd name="connsiteY6365" fmla="*/ 1453436 h 2705233"/>
              <a:gd name="connsiteX6366" fmla="*/ 4484340 w 6886183"/>
              <a:gd name="connsiteY6366" fmla="*/ 1454389 h 2705233"/>
              <a:gd name="connsiteX6367" fmla="*/ 4480911 w 6886183"/>
              <a:gd name="connsiteY6367" fmla="*/ 1455246 h 2705233"/>
              <a:gd name="connsiteX6368" fmla="*/ 4474625 w 6886183"/>
              <a:gd name="connsiteY6368" fmla="*/ 1456389 h 2705233"/>
              <a:gd name="connsiteX6369" fmla="*/ 4462528 w 6886183"/>
              <a:gd name="connsiteY6369" fmla="*/ 1458389 h 2705233"/>
              <a:gd name="connsiteX6370" fmla="*/ 4442907 w 6886183"/>
              <a:gd name="connsiteY6370" fmla="*/ 1458389 h 2705233"/>
              <a:gd name="connsiteX6371" fmla="*/ 4429667 w 6886183"/>
              <a:gd name="connsiteY6371" fmla="*/ 1442768 h 2705233"/>
              <a:gd name="connsiteX6372" fmla="*/ 4458242 w 6886183"/>
              <a:gd name="connsiteY6372" fmla="*/ 1414193 h 2705233"/>
              <a:gd name="connsiteX6373" fmla="*/ 4470148 w 6886183"/>
              <a:gd name="connsiteY6373" fmla="*/ 1406859 h 2705233"/>
              <a:gd name="connsiteX6374" fmla="*/ 4473291 w 6886183"/>
              <a:gd name="connsiteY6374" fmla="*/ 1405144 h 2705233"/>
              <a:gd name="connsiteX6375" fmla="*/ 4476339 w 6886183"/>
              <a:gd name="connsiteY6375" fmla="*/ 1403525 h 2705233"/>
              <a:gd name="connsiteX6376" fmla="*/ 4482626 w 6886183"/>
              <a:gd name="connsiteY6376" fmla="*/ 1400382 h 2705233"/>
              <a:gd name="connsiteX6377" fmla="*/ 4509296 w 6886183"/>
              <a:gd name="connsiteY6377" fmla="*/ 1389999 h 2705233"/>
              <a:gd name="connsiteX6378" fmla="*/ 4535204 w 6886183"/>
              <a:gd name="connsiteY6378" fmla="*/ 1384665 h 2705233"/>
              <a:gd name="connsiteX6379" fmla="*/ 5884419 w 6886183"/>
              <a:gd name="connsiteY6379" fmla="*/ 1384468 h 2705233"/>
              <a:gd name="connsiteX6380" fmla="*/ 5901088 w 6886183"/>
              <a:gd name="connsiteY6380" fmla="*/ 1384468 h 2705233"/>
              <a:gd name="connsiteX6381" fmla="*/ 5913280 w 6886183"/>
              <a:gd name="connsiteY6381" fmla="*/ 1386564 h 2705233"/>
              <a:gd name="connsiteX6382" fmla="*/ 5918995 w 6886183"/>
              <a:gd name="connsiteY6382" fmla="*/ 1390374 h 2705233"/>
              <a:gd name="connsiteX6383" fmla="*/ 5909470 w 6886183"/>
              <a:gd name="connsiteY6383" fmla="*/ 1399899 h 2705233"/>
              <a:gd name="connsiteX6384" fmla="*/ 5878133 w 6886183"/>
              <a:gd name="connsiteY6384" fmla="*/ 1406661 h 2705233"/>
              <a:gd name="connsiteX6385" fmla="*/ 5860321 w 6886183"/>
              <a:gd name="connsiteY6385" fmla="*/ 1408376 h 2705233"/>
              <a:gd name="connsiteX6386" fmla="*/ 5844605 w 6886183"/>
              <a:gd name="connsiteY6386" fmla="*/ 1408376 h 2705233"/>
              <a:gd name="connsiteX6387" fmla="*/ 5828222 w 6886183"/>
              <a:gd name="connsiteY6387" fmla="*/ 1403137 h 2705233"/>
              <a:gd name="connsiteX6388" fmla="*/ 5835556 w 6886183"/>
              <a:gd name="connsiteY6388" fmla="*/ 1393898 h 2705233"/>
              <a:gd name="connsiteX6389" fmla="*/ 5866036 w 6886183"/>
              <a:gd name="connsiteY6389" fmla="*/ 1386278 h 2705233"/>
              <a:gd name="connsiteX6390" fmla="*/ 5884419 w 6886183"/>
              <a:gd name="connsiteY6390" fmla="*/ 1384468 h 2705233"/>
              <a:gd name="connsiteX6391" fmla="*/ 5047934 w 6886183"/>
              <a:gd name="connsiteY6391" fmla="*/ 1378188 h 2705233"/>
              <a:gd name="connsiteX6392" fmla="*/ 5060888 w 6886183"/>
              <a:gd name="connsiteY6392" fmla="*/ 1381426 h 2705233"/>
              <a:gd name="connsiteX6393" fmla="*/ 5060317 w 6886183"/>
              <a:gd name="connsiteY6393" fmla="*/ 1397619 h 2705233"/>
              <a:gd name="connsiteX6394" fmla="*/ 5025836 w 6886183"/>
              <a:gd name="connsiteY6394" fmla="*/ 1418574 h 2705233"/>
              <a:gd name="connsiteX6395" fmla="*/ 5002595 w 6886183"/>
              <a:gd name="connsiteY6395" fmla="*/ 1427145 h 2705233"/>
              <a:gd name="connsiteX6396" fmla="*/ 4990879 w 6886183"/>
              <a:gd name="connsiteY6396" fmla="*/ 1430480 h 2705233"/>
              <a:gd name="connsiteX6397" fmla="*/ 4979449 w 6886183"/>
              <a:gd name="connsiteY6397" fmla="*/ 1432861 h 2705233"/>
              <a:gd name="connsiteX6398" fmla="*/ 4945540 w 6886183"/>
              <a:gd name="connsiteY6398" fmla="*/ 1416479 h 2705233"/>
              <a:gd name="connsiteX6399" fmla="*/ 4979449 w 6886183"/>
              <a:gd name="connsiteY6399" fmla="*/ 1394285 h 2705233"/>
              <a:gd name="connsiteX6400" fmla="*/ 4991165 w 6886183"/>
              <a:gd name="connsiteY6400" fmla="*/ 1389331 h 2705233"/>
              <a:gd name="connsiteX6401" fmla="*/ 5003357 w 6886183"/>
              <a:gd name="connsiteY6401" fmla="*/ 1385236 h 2705233"/>
              <a:gd name="connsiteX6402" fmla="*/ 5027646 w 6886183"/>
              <a:gd name="connsiteY6402" fmla="*/ 1379426 h 2705233"/>
              <a:gd name="connsiteX6403" fmla="*/ 5047934 w 6886183"/>
              <a:gd name="connsiteY6403" fmla="*/ 1378188 h 2705233"/>
              <a:gd name="connsiteX6404" fmla="*/ 3005716 w 6886183"/>
              <a:gd name="connsiteY6404" fmla="*/ 1375993 h 2705233"/>
              <a:gd name="connsiteX6405" fmla="*/ 3044862 w 6886183"/>
              <a:gd name="connsiteY6405" fmla="*/ 1393043 h 2705233"/>
              <a:gd name="connsiteX6406" fmla="*/ 3040006 w 6886183"/>
              <a:gd name="connsiteY6406" fmla="*/ 1422285 h 2705233"/>
              <a:gd name="connsiteX6407" fmla="*/ 2996477 w 6886183"/>
              <a:gd name="connsiteY6407" fmla="*/ 1446478 h 2705233"/>
              <a:gd name="connsiteX6408" fmla="*/ 2899894 w 6886183"/>
              <a:gd name="connsiteY6408" fmla="*/ 1431619 h 2705233"/>
              <a:gd name="connsiteX6409" fmla="*/ 2948567 w 6886183"/>
              <a:gd name="connsiteY6409" fmla="*/ 1379327 h 2705233"/>
              <a:gd name="connsiteX6410" fmla="*/ 3005716 w 6886183"/>
              <a:gd name="connsiteY6410" fmla="*/ 1375993 h 2705233"/>
              <a:gd name="connsiteX6411" fmla="*/ 292870 w 6886183"/>
              <a:gd name="connsiteY6411" fmla="*/ 1375982 h 2705233"/>
              <a:gd name="connsiteX6412" fmla="*/ 296108 w 6886183"/>
              <a:gd name="connsiteY6412" fmla="*/ 1378744 h 2705233"/>
              <a:gd name="connsiteX6413" fmla="*/ 297347 w 6886183"/>
              <a:gd name="connsiteY6413" fmla="*/ 1383126 h 2705233"/>
              <a:gd name="connsiteX6414" fmla="*/ 298490 w 6886183"/>
              <a:gd name="connsiteY6414" fmla="*/ 1389699 h 2705233"/>
              <a:gd name="connsiteX6415" fmla="*/ 299442 w 6886183"/>
              <a:gd name="connsiteY6415" fmla="*/ 1398556 h 2705233"/>
              <a:gd name="connsiteX6416" fmla="*/ 299442 w 6886183"/>
              <a:gd name="connsiteY6416" fmla="*/ 1403414 h 2705233"/>
              <a:gd name="connsiteX6417" fmla="*/ 299442 w 6886183"/>
              <a:gd name="connsiteY6417" fmla="*/ 1408368 h 2705233"/>
              <a:gd name="connsiteX6418" fmla="*/ 299442 w 6886183"/>
              <a:gd name="connsiteY6418" fmla="*/ 1418749 h 2705233"/>
              <a:gd name="connsiteX6419" fmla="*/ 299442 w 6886183"/>
              <a:gd name="connsiteY6419" fmla="*/ 1424179 h 2705233"/>
              <a:gd name="connsiteX6420" fmla="*/ 299442 w 6886183"/>
              <a:gd name="connsiteY6420" fmla="*/ 1429703 h 2705233"/>
              <a:gd name="connsiteX6421" fmla="*/ 299442 w 6886183"/>
              <a:gd name="connsiteY6421" fmla="*/ 1451992 h 2705233"/>
              <a:gd name="connsiteX6422" fmla="*/ 298680 w 6886183"/>
              <a:gd name="connsiteY6422" fmla="*/ 1473423 h 2705233"/>
              <a:gd name="connsiteX6423" fmla="*/ 298014 w 6886183"/>
              <a:gd name="connsiteY6423" fmla="*/ 1481615 h 2705233"/>
              <a:gd name="connsiteX6424" fmla="*/ 297250 w 6886183"/>
              <a:gd name="connsiteY6424" fmla="*/ 1487710 h 2705233"/>
              <a:gd name="connsiteX6425" fmla="*/ 294583 w 6886183"/>
              <a:gd name="connsiteY6425" fmla="*/ 1493902 h 2705233"/>
              <a:gd name="connsiteX6426" fmla="*/ 286868 w 6886183"/>
              <a:gd name="connsiteY6426" fmla="*/ 1480091 h 2705233"/>
              <a:gd name="connsiteX6427" fmla="*/ 282393 w 6886183"/>
              <a:gd name="connsiteY6427" fmla="*/ 1461040 h 2705233"/>
              <a:gd name="connsiteX6428" fmla="*/ 281630 w 6886183"/>
              <a:gd name="connsiteY6428" fmla="*/ 1455612 h 2705233"/>
              <a:gd name="connsiteX6429" fmla="*/ 281059 w 6886183"/>
              <a:gd name="connsiteY6429" fmla="*/ 1450088 h 2705233"/>
              <a:gd name="connsiteX6430" fmla="*/ 280392 w 6886183"/>
              <a:gd name="connsiteY6430" fmla="*/ 1438847 h 2705233"/>
              <a:gd name="connsiteX6431" fmla="*/ 281154 w 6886183"/>
              <a:gd name="connsiteY6431" fmla="*/ 1416178 h 2705233"/>
              <a:gd name="connsiteX6432" fmla="*/ 282393 w 6886183"/>
              <a:gd name="connsiteY6432" fmla="*/ 1405319 h 2705233"/>
              <a:gd name="connsiteX6433" fmla="*/ 284487 w 6886183"/>
              <a:gd name="connsiteY6433" fmla="*/ 1395127 h 2705233"/>
              <a:gd name="connsiteX6434" fmla="*/ 288774 w 6886183"/>
              <a:gd name="connsiteY6434" fmla="*/ 1381316 h 2705233"/>
              <a:gd name="connsiteX6435" fmla="*/ 292870 w 6886183"/>
              <a:gd name="connsiteY6435" fmla="*/ 1375982 h 2705233"/>
              <a:gd name="connsiteX6436" fmla="*/ 6224367 w 6886183"/>
              <a:gd name="connsiteY6436" fmla="*/ 1369509 h 2705233"/>
              <a:gd name="connsiteX6437" fmla="*/ 6252942 w 6886183"/>
              <a:gd name="connsiteY6437" fmla="*/ 1372367 h 2705233"/>
              <a:gd name="connsiteX6438" fmla="*/ 6252371 w 6886183"/>
              <a:gd name="connsiteY6438" fmla="*/ 1383797 h 2705233"/>
              <a:gd name="connsiteX6439" fmla="*/ 6238750 w 6886183"/>
              <a:gd name="connsiteY6439" fmla="*/ 1385892 h 2705233"/>
              <a:gd name="connsiteX6440" fmla="*/ 6231607 w 6886183"/>
              <a:gd name="connsiteY6440" fmla="*/ 1386464 h 2705233"/>
              <a:gd name="connsiteX6441" fmla="*/ 6224272 w 6886183"/>
              <a:gd name="connsiteY6441" fmla="*/ 1386464 h 2705233"/>
              <a:gd name="connsiteX6442" fmla="*/ 6196078 w 6886183"/>
              <a:gd name="connsiteY6442" fmla="*/ 1384082 h 2705233"/>
              <a:gd name="connsiteX6443" fmla="*/ 6196078 w 6886183"/>
              <a:gd name="connsiteY6443" fmla="*/ 1372748 h 2705233"/>
              <a:gd name="connsiteX6444" fmla="*/ 6202650 w 6886183"/>
              <a:gd name="connsiteY6444" fmla="*/ 1371319 h 2705233"/>
              <a:gd name="connsiteX6445" fmla="*/ 6209699 w 6886183"/>
              <a:gd name="connsiteY6445" fmla="*/ 1370366 h 2705233"/>
              <a:gd name="connsiteX6446" fmla="*/ 6224367 w 6886183"/>
              <a:gd name="connsiteY6446" fmla="*/ 1369509 h 2705233"/>
              <a:gd name="connsiteX6447" fmla="*/ 5738020 w 6886183"/>
              <a:gd name="connsiteY6447" fmla="*/ 1365134 h 2705233"/>
              <a:gd name="connsiteX6448" fmla="*/ 5760404 w 6886183"/>
              <a:gd name="connsiteY6448" fmla="*/ 1369896 h 2705233"/>
              <a:gd name="connsiteX6449" fmla="*/ 5752117 w 6886183"/>
              <a:gd name="connsiteY6449" fmla="*/ 1380373 h 2705233"/>
              <a:gd name="connsiteX6450" fmla="*/ 5719256 w 6886183"/>
              <a:gd name="connsiteY6450" fmla="*/ 1390946 h 2705233"/>
              <a:gd name="connsiteX6451" fmla="*/ 5681156 w 6886183"/>
              <a:gd name="connsiteY6451" fmla="*/ 1394566 h 2705233"/>
              <a:gd name="connsiteX6452" fmla="*/ 5660296 w 6886183"/>
              <a:gd name="connsiteY6452" fmla="*/ 1390089 h 2705233"/>
              <a:gd name="connsiteX6453" fmla="*/ 5668107 w 6886183"/>
              <a:gd name="connsiteY6453" fmla="*/ 1379421 h 2705233"/>
              <a:gd name="connsiteX6454" fmla="*/ 5699920 w 6886183"/>
              <a:gd name="connsiteY6454" fmla="*/ 1368658 h 2705233"/>
              <a:gd name="connsiteX6455" fmla="*/ 5718970 w 6886183"/>
              <a:gd name="connsiteY6455" fmla="*/ 1365895 h 2705233"/>
              <a:gd name="connsiteX6456" fmla="*/ 5738020 w 6886183"/>
              <a:gd name="connsiteY6456" fmla="*/ 1365134 h 2705233"/>
              <a:gd name="connsiteX6457" fmla="*/ 5227195 w 6886183"/>
              <a:gd name="connsiteY6457" fmla="*/ 1363423 h 2705233"/>
              <a:gd name="connsiteX6458" fmla="*/ 5238625 w 6886183"/>
              <a:gd name="connsiteY6458" fmla="*/ 1366757 h 2705233"/>
              <a:gd name="connsiteX6459" fmla="*/ 5233958 w 6886183"/>
              <a:gd name="connsiteY6459" fmla="*/ 1382473 h 2705233"/>
              <a:gd name="connsiteX6460" fmla="*/ 5219670 w 6886183"/>
              <a:gd name="connsiteY6460" fmla="*/ 1391998 h 2705233"/>
              <a:gd name="connsiteX6461" fmla="*/ 5200620 w 6886183"/>
              <a:gd name="connsiteY6461" fmla="*/ 1400571 h 2705233"/>
              <a:gd name="connsiteX6462" fmla="*/ 5179094 w 6886183"/>
              <a:gd name="connsiteY6462" fmla="*/ 1407334 h 2705233"/>
              <a:gd name="connsiteX6463" fmla="*/ 5168045 w 6886183"/>
              <a:gd name="connsiteY6463" fmla="*/ 1409715 h 2705233"/>
              <a:gd name="connsiteX6464" fmla="*/ 5156996 w 6886183"/>
              <a:gd name="connsiteY6464" fmla="*/ 1411620 h 2705233"/>
              <a:gd name="connsiteX6465" fmla="*/ 5126706 w 6886183"/>
              <a:gd name="connsiteY6465" fmla="*/ 1395712 h 2705233"/>
              <a:gd name="connsiteX6466" fmla="*/ 5160425 w 6886183"/>
              <a:gd name="connsiteY6466" fmla="*/ 1375901 h 2705233"/>
              <a:gd name="connsiteX6467" fmla="*/ 5207383 w 6886183"/>
              <a:gd name="connsiteY6467" fmla="*/ 1363995 h 2705233"/>
              <a:gd name="connsiteX6468" fmla="*/ 5227195 w 6886183"/>
              <a:gd name="connsiteY6468" fmla="*/ 1363423 h 2705233"/>
              <a:gd name="connsiteX6469" fmla="*/ 704492 w 6886183"/>
              <a:gd name="connsiteY6469" fmla="*/ 1356260 h 2705233"/>
              <a:gd name="connsiteX6470" fmla="*/ 704157 w 6886183"/>
              <a:gd name="connsiteY6470" fmla="*/ 1356456 h 2705233"/>
              <a:gd name="connsiteX6471" fmla="*/ 704062 w 6886183"/>
              <a:gd name="connsiteY6471" fmla="*/ 1356456 h 2705233"/>
              <a:gd name="connsiteX6472" fmla="*/ 5567618 w 6886183"/>
              <a:gd name="connsiteY6472" fmla="*/ 1356182 h 2705233"/>
              <a:gd name="connsiteX6473" fmla="*/ 5581525 w 6886183"/>
              <a:gd name="connsiteY6473" fmla="*/ 1375231 h 2705233"/>
              <a:gd name="connsiteX6474" fmla="*/ 5574286 w 6886183"/>
              <a:gd name="connsiteY6474" fmla="*/ 1378660 h 2705233"/>
              <a:gd name="connsiteX6475" fmla="*/ 5570190 w 6886183"/>
              <a:gd name="connsiteY6475" fmla="*/ 1380279 h 2705233"/>
              <a:gd name="connsiteX6476" fmla="*/ 5565808 w 6886183"/>
              <a:gd name="connsiteY6476" fmla="*/ 1381898 h 2705233"/>
              <a:gd name="connsiteX6477" fmla="*/ 5546758 w 6886183"/>
              <a:gd name="connsiteY6477" fmla="*/ 1387518 h 2705233"/>
              <a:gd name="connsiteX6478" fmla="*/ 5526375 w 6886183"/>
              <a:gd name="connsiteY6478" fmla="*/ 1391328 h 2705233"/>
              <a:gd name="connsiteX6479" fmla="*/ 5507325 w 6886183"/>
              <a:gd name="connsiteY6479" fmla="*/ 1393043 h 2705233"/>
              <a:gd name="connsiteX6480" fmla="*/ 5491990 w 6886183"/>
              <a:gd name="connsiteY6480" fmla="*/ 1375707 h 2705233"/>
              <a:gd name="connsiteX6481" fmla="*/ 5506944 w 6886183"/>
              <a:gd name="connsiteY6481" fmla="*/ 1368373 h 2705233"/>
              <a:gd name="connsiteX6482" fmla="*/ 5516469 w 6886183"/>
              <a:gd name="connsiteY6482" fmla="*/ 1365135 h 2705233"/>
              <a:gd name="connsiteX6483" fmla="*/ 5526470 w 6886183"/>
              <a:gd name="connsiteY6483" fmla="*/ 1362183 h 2705233"/>
              <a:gd name="connsiteX6484" fmla="*/ 5567618 w 6886183"/>
              <a:gd name="connsiteY6484" fmla="*/ 1356182 h 2705233"/>
              <a:gd name="connsiteX6485" fmla="*/ 824424 w 6886183"/>
              <a:gd name="connsiteY6485" fmla="*/ 1355152 h 2705233"/>
              <a:gd name="connsiteX6486" fmla="*/ 825414 w 6886183"/>
              <a:gd name="connsiteY6486" fmla="*/ 1355504 h 2705233"/>
              <a:gd name="connsiteX6487" fmla="*/ 836273 w 6886183"/>
              <a:gd name="connsiteY6487" fmla="*/ 1360743 h 2705233"/>
              <a:gd name="connsiteX6488" fmla="*/ 837797 w 6886183"/>
              <a:gd name="connsiteY6488" fmla="*/ 1361791 h 2705233"/>
              <a:gd name="connsiteX6489" fmla="*/ 839416 w 6886183"/>
              <a:gd name="connsiteY6489" fmla="*/ 1362838 h 2705233"/>
              <a:gd name="connsiteX6490" fmla="*/ 842750 w 6886183"/>
              <a:gd name="connsiteY6490" fmla="*/ 1365029 h 2705233"/>
              <a:gd name="connsiteX6491" fmla="*/ 849512 w 6886183"/>
              <a:gd name="connsiteY6491" fmla="*/ 1370173 h 2705233"/>
              <a:gd name="connsiteX6492" fmla="*/ 851227 w 6886183"/>
              <a:gd name="connsiteY6492" fmla="*/ 1371601 h 2705233"/>
              <a:gd name="connsiteX6493" fmla="*/ 852941 w 6886183"/>
              <a:gd name="connsiteY6493" fmla="*/ 1373030 h 2705233"/>
              <a:gd name="connsiteX6494" fmla="*/ 856466 w 6886183"/>
              <a:gd name="connsiteY6494" fmla="*/ 1375888 h 2705233"/>
              <a:gd name="connsiteX6495" fmla="*/ 863229 w 6886183"/>
              <a:gd name="connsiteY6495" fmla="*/ 1381984 h 2705233"/>
              <a:gd name="connsiteX6496" fmla="*/ 866372 w 6886183"/>
              <a:gd name="connsiteY6496" fmla="*/ 1385127 h 2705233"/>
              <a:gd name="connsiteX6497" fmla="*/ 869420 w 6886183"/>
              <a:gd name="connsiteY6497" fmla="*/ 1388175 h 2705233"/>
              <a:gd name="connsiteX6498" fmla="*/ 874754 w 6886183"/>
              <a:gd name="connsiteY6498" fmla="*/ 1394271 h 2705233"/>
              <a:gd name="connsiteX6499" fmla="*/ 883707 w 6886183"/>
              <a:gd name="connsiteY6499" fmla="*/ 1416940 h 2705233"/>
              <a:gd name="connsiteX6500" fmla="*/ 879516 w 6886183"/>
              <a:gd name="connsiteY6500" fmla="*/ 1423798 h 2705233"/>
              <a:gd name="connsiteX6501" fmla="*/ 875324 w 6886183"/>
              <a:gd name="connsiteY6501" fmla="*/ 1425418 h 2705233"/>
              <a:gd name="connsiteX6502" fmla="*/ 869896 w 6886183"/>
              <a:gd name="connsiteY6502" fmla="*/ 1425418 h 2705233"/>
              <a:gd name="connsiteX6503" fmla="*/ 863324 w 6886183"/>
              <a:gd name="connsiteY6503" fmla="*/ 1423894 h 2705233"/>
              <a:gd name="connsiteX6504" fmla="*/ 859609 w 6886183"/>
              <a:gd name="connsiteY6504" fmla="*/ 1422560 h 2705233"/>
              <a:gd name="connsiteX6505" fmla="*/ 857704 w 6886183"/>
              <a:gd name="connsiteY6505" fmla="*/ 1421703 h 2705233"/>
              <a:gd name="connsiteX6506" fmla="*/ 855799 w 6886183"/>
              <a:gd name="connsiteY6506" fmla="*/ 1420750 h 2705233"/>
              <a:gd name="connsiteX6507" fmla="*/ 847893 w 6886183"/>
              <a:gd name="connsiteY6507" fmla="*/ 1416369 h 2705233"/>
              <a:gd name="connsiteX6508" fmla="*/ 843797 w 6886183"/>
              <a:gd name="connsiteY6508" fmla="*/ 1413797 h 2705233"/>
              <a:gd name="connsiteX6509" fmla="*/ 841702 w 6886183"/>
              <a:gd name="connsiteY6509" fmla="*/ 1412368 h 2705233"/>
              <a:gd name="connsiteX6510" fmla="*/ 839797 w 6886183"/>
              <a:gd name="connsiteY6510" fmla="*/ 1410940 h 2705233"/>
              <a:gd name="connsiteX6511" fmla="*/ 832176 w 6886183"/>
              <a:gd name="connsiteY6511" fmla="*/ 1404653 h 2705233"/>
              <a:gd name="connsiteX6512" fmla="*/ 828653 w 6886183"/>
              <a:gd name="connsiteY6512" fmla="*/ 1401415 h 2705233"/>
              <a:gd name="connsiteX6513" fmla="*/ 825414 w 6886183"/>
              <a:gd name="connsiteY6513" fmla="*/ 1397986 h 2705233"/>
              <a:gd name="connsiteX6514" fmla="*/ 819699 w 6886183"/>
              <a:gd name="connsiteY6514" fmla="*/ 1391128 h 2705233"/>
              <a:gd name="connsiteX6515" fmla="*/ 817318 w 6886183"/>
              <a:gd name="connsiteY6515" fmla="*/ 1387699 h 2705233"/>
              <a:gd name="connsiteX6516" fmla="*/ 815318 w 6886183"/>
              <a:gd name="connsiteY6516" fmla="*/ 1384460 h 2705233"/>
              <a:gd name="connsiteX6517" fmla="*/ 811984 w 6886183"/>
              <a:gd name="connsiteY6517" fmla="*/ 1361886 h 2705233"/>
              <a:gd name="connsiteX6518" fmla="*/ 824424 w 6886183"/>
              <a:gd name="connsiteY6518" fmla="*/ 1355152 h 2705233"/>
              <a:gd name="connsiteX6519" fmla="*/ 5387120 w 6886183"/>
              <a:gd name="connsiteY6519" fmla="*/ 1354278 h 2705233"/>
              <a:gd name="connsiteX6520" fmla="*/ 5409599 w 6886183"/>
              <a:gd name="connsiteY6520" fmla="*/ 1372280 h 2705233"/>
              <a:gd name="connsiteX6521" fmla="*/ 5374832 w 6886183"/>
              <a:gd name="connsiteY6521" fmla="*/ 1387805 h 2705233"/>
              <a:gd name="connsiteX6522" fmla="*/ 5331684 w 6886183"/>
              <a:gd name="connsiteY6522" fmla="*/ 1397331 h 2705233"/>
              <a:gd name="connsiteX6523" fmla="*/ 5314920 w 6886183"/>
              <a:gd name="connsiteY6523" fmla="*/ 1397331 h 2705233"/>
              <a:gd name="connsiteX6524" fmla="*/ 5304824 w 6886183"/>
              <a:gd name="connsiteY6524" fmla="*/ 1394188 h 2705233"/>
              <a:gd name="connsiteX6525" fmla="*/ 5308253 w 6886183"/>
              <a:gd name="connsiteY6525" fmla="*/ 1380186 h 2705233"/>
              <a:gd name="connsiteX6526" fmla="*/ 5322350 w 6886183"/>
              <a:gd name="connsiteY6526" fmla="*/ 1371613 h 2705233"/>
              <a:gd name="connsiteX6527" fmla="*/ 5342447 w 6886183"/>
              <a:gd name="connsiteY6527" fmla="*/ 1363803 h 2705233"/>
              <a:gd name="connsiteX6528" fmla="*/ 5387120 w 6886183"/>
              <a:gd name="connsiteY6528" fmla="*/ 1354278 h 2705233"/>
              <a:gd name="connsiteX6529" fmla="*/ 180948 w 6886183"/>
              <a:gd name="connsiteY6529" fmla="*/ 1344931 h 2705233"/>
              <a:gd name="connsiteX6530" fmla="*/ 183425 w 6886183"/>
              <a:gd name="connsiteY6530" fmla="*/ 1349408 h 2705233"/>
              <a:gd name="connsiteX6531" fmla="*/ 184091 w 6886183"/>
              <a:gd name="connsiteY6531" fmla="*/ 1355123 h 2705233"/>
              <a:gd name="connsiteX6532" fmla="*/ 184091 w 6886183"/>
              <a:gd name="connsiteY6532" fmla="*/ 1358933 h 2705233"/>
              <a:gd name="connsiteX6533" fmla="*/ 184091 w 6886183"/>
              <a:gd name="connsiteY6533" fmla="*/ 1363314 h 2705233"/>
              <a:gd name="connsiteX6534" fmla="*/ 184091 w 6886183"/>
              <a:gd name="connsiteY6534" fmla="*/ 1405129 h 2705233"/>
              <a:gd name="connsiteX6535" fmla="*/ 181615 w 6886183"/>
              <a:gd name="connsiteY6535" fmla="*/ 1449515 h 2705233"/>
              <a:gd name="connsiteX6536" fmla="*/ 177328 w 6886183"/>
              <a:gd name="connsiteY6536" fmla="*/ 1470852 h 2705233"/>
              <a:gd name="connsiteX6537" fmla="*/ 170470 w 6886183"/>
              <a:gd name="connsiteY6537" fmla="*/ 1451040 h 2705233"/>
              <a:gd name="connsiteX6538" fmla="*/ 167994 w 6886183"/>
              <a:gd name="connsiteY6538" fmla="*/ 1430085 h 2705233"/>
              <a:gd name="connsiteX6539" fmla="*/ 167994 w 6886183"/>
              <a:gd name="connsiteY6539" fmla="*/ 1424465 h 2705233"/>
              <a:gd name="connsiteX6540" fmla="*/ 167994 w 6886183"/>
              <a:gd name="connsiteY6540" fmla="*/ 1421607 h 2705233"/>
              <a:gd name="connsiteX6541" fmla="*/ 167994 w 6886183"/>
              <a:gd name="connsiteY6541" fmla="*/ 1419226 h 2705233"/>
              <a:gd name="connsiteX6542" fmla="*/ 167994 w 6886183"/>
              <a:gd name="connsiteY6542" fmla="*/ 1407891 h 2705233"/>
              <a:gd name="connsiteX6543" fmla="*/ 168470 w 6886183"/>
              <a:gd name="connsiteY6543" fmla="*/ 1396461 h 2705233"/>
              <a:gd name="connsiteX6544" fmla="*/ 168470 w 6886183"/>
              <a:gd name="connsiteY6544" fmla="*/ 1390842 h 2705233"/>
              <a:gd name="connsiteX6545" fmla="*/ 169232 w 6886183"/>
              <a:gd name="connsiteY6545" fmla="*/ 1385317 h 2705233"/>
              <a:gd name="connsiteX6546" fmla="*/ 172756 w 6886183"/>
              <a:gd name="connsiteY6546" fmla="*/ 1364457 h 2705233"/>
              <a:gd name="connsiteX6547" fmla="*/ 175138 w 6886183"/>
              <a:gd name="connsiteY6547" fmla="*/ 1355885 h 2705233"/>
              <a:gd name="connsiteX6548" fmla="*/ 177328 w 6886183"/>
              <a:gd name="connsiteY6548" fmla="*/ 1349884 h 2705233"/>
              <a:gd name="connsiteX6549" fmla="*/ 180948 w 6886183"/>
              <a:gd name="connsiteY6549" fmla="*/ 1344931 h 2705233"/>
              <a:gd name="connsiteX6550" fmla="*/ 4743515 w 6886183"/>
              <a:gd name="connsiteY6550" fmla="*/ 1338946 h 2705233"/>
              <a:gd name="connsiteX6551" fmla="*/ 4760565 w 6886183"/>
              <a:gd name="connsiteY6551" fmla="*/ 1341613 h 2705233"/>
              <a:gd name="connsiteX6552" fmla="*/ 4769063 w 6886183"/>
              <a:gd name="connsiteY6552" fmla="*/ 1354728 h 2705233"/>
              <a:gd name="connsiteX6553" fmla="*/ 4765613 w 6886183"/>
              <a:gd name="connsiteY6553" fmla="*/ 1360663 h 2705233"/>
              <a:gd name="connsiteX6554" fmla="*/ 4752373 w 6886183"/>
              <a:gd name="connsiteY6554" fmla="*/ 1373617 h 2705233"/>
              <a:gd name="connsiteX6555" fmla="*/ 4742848 w 6886183"/>
              <a:gd name="connsiteY6555" fmla="*/ 1380092 h 2705233"/>
              <a:gd name="connsiteX6556" fmla="*/ 4732085 w 6886183"/>
              <a:gd name="connsiteY6556" fmla="*/ 1386571 h 2705233"/>
              <a:gd name="connsiteX6557" fmla="*/ 4683603 w 6886183"/>
              <a:gd name="connsiteY6557" fmla="*/ 1405621 h 2705233"/>
              <a:gd name="connsiteX6558" fmla="*/ 4637883 w 6886183"/>
              <a:gd name="connsiteY6558" fmla="*/ 1389999 h 2705233"/>
              <a:gd name="connsiteX6559" fmla="*/ 4669125 w 6886183"/>
              <a:gd name="connsiteY6559" fmla="*/ 1362758 h 2705233"/>
              <a:gd name="connsiteX6560" fmla="*/ 4719703 w 6886183"/>
              <a:gd name="connsiteY6560" fmla="*/ 1342089 h 2705233"/>
              <a:gd name="connsiteX6561" fmla="*/ 4732276 w 6886183"/>
              <a:gd name="connsiteY6561" fmla="*/ 1339612 h 2705233"/>
              <a:gd name="connsiteX6562" fmla="*/ 4743515 w 6886183"/>
              <a:gd name="connsiteY6562" fmla="*/ 1338946 h 2705233"/>
              <a:gd name="connsiteX6563" fmla="*/ 727112 w 6886183"/>
              <a:gd name="connsiteY6563" fmla="*/ 1338549 h 2705233"/>
              <a:gd name="connsiteX6564" fmla="*/ 726350 w 6886183"/>
              <a:gd name="connsiteY6564" fmla="*/ 1339311 h 2705233"/>
              <a:gd name="connsiteX6565" fmla="*/ 723683 w 6886183"/>
              <a:gd name="connsiteY6565" fmla="*/ 1341978 h 2705233"/>
              <a:gd name="connsiteX6566" fmla="*/ 721397 w 6886183"/>
              <a:gd name="connsiteY6566" fmla="*/ 1344169 h 2705233"/>
              <a:gd name="connsiteX6567" fmla="*/ 719492 w 6886183"/>
              <a:gd name="connsiteY6567" fmla="*/ 1345978 h 2705233"/>
              <a:gd name="connsiteX6568" fmla="*/ 717968 w 6886183"/>
              <a:gd name="connsiteY6568" fmla="*/ 1347407 h 2705233"/>
              <a:gd name="connsiteX6569" fmla="*/ 716063 w 6886183"/>
              <a:gd name="connsiteY6569" fmla="*/ 1348741 h 2705233"/>
              <a:gd name="connsiteX6570" fmla="*/ 715587 w 6886183"/>
              <a:gd name="connsiteY6570" fmla="*/ 1348741 h 2705233"/>
              <a:gd name="connsiteX6571" fmla="*/ 713396 w 6886183"/>
              <a:gd name="connsiteY6571" fmla="*/ 1350550 h 2705233"/>
              <a:gd name="connsiteX6572" fmla="*/ 712253 w 6886183"/>
              <a:gd name="connsiteY6572" fmla="*/ 1351408 h 2705233"/>
              <a:gd name="connsiteX6573" fmla="*/ 711491 w 6886183"/>
              <a:gd name="connsiteY6573" fmla="*/ 1351979 h 2705233"/>
              <a:gd name="connsiteX6574" fmla="*/ 708252 w 6886183"/>
              <a:gd name="connsiteY6574" fmla="*/ 1354456 h 2705233"/>
              <a:gd name="connsiteX6575" fmla="*/ 706538 w 6886183"/>
              <a:gd name="connsiteY6575" fmla="*/ 1355694 h 2705233"/>
              <a:gd name="connsiteX6576" fmla="*/ 705585 w 6886183"/>
              <a:gd name="connsiteY6576" fmla="*/ 1356361 h 2705233"/>
              <a:gd name="connsiteX6577" fmla="*/ 703490 w 6886183"/>
              <a:gd name="connsiteY6577" fmla="*/ 1357694 h 2705233"/>
              <a:gd name="connsiteX6578" fmla="*/ 704157 w 6886183"/>
              <a:gd name="connsiteY6578" fmla="*/ 1356646 h 2705233"/>
              <a:gd name="connsiteX6579" fmla="*/ 705490 w 6886183"/>
              <a:gd name="connsiteY6579" fmla="*/ 1355980 h 2705233"/>
              <a:gd name="connsiteX6580" fmla="*/ 705109 w 6886183"/>
              <a:gd name="connsiteY6580" fmla="*/ 1355980 h 2705233"/>
              <a:gd name="connsiteX6581" fmla="*/ 704492 w 6886183"/>
              <a:gd name="connsiteY6581" fmla="*/ 1356260 h 2705233"/>
              <a:gd name="connsiteX6582" fmla="*/ 705300 w 6886183"/>
              <a:gd name="connsiteY6582" fmla="*/ 1355789 h 2705233"/>
              <a:gd name="connsiteX6583" fmla="*/ 707205 w 6886183"/>
              <a:gd name="connsiteY6583" fmla="*/ 1354361 h 2705233"/>
              <a:gd name="connsiteX6584" fmla="*/ 707681 w 6886183"/>
              <a:gd name="connsiteY6584" fmla="*/ 1354361 h 2705233"/>
              <a:gd name="connsiteX6585" fmla="*/ 708538 w 6886183"/>
              <a:gd name="connsiteY6585" fmla="*/ 1353694 h 2705233"/>
              <a:gd name="connsiteX6586" fmla="*/ 710253 w 6886183"/>
              <a:gd name="connsiteY6586" fmla="*/ 1352456 h 2705233"/>
              <a:gd name="connsiteX6587" fmla="*/ 711872 w 6886183"/>
              <a:gd name="connsiteY6587" fmla="*/ 1351217 h 2705233"/>
              <a:gd name="connsiteX6588" fmla="*/ 712634 w 6886183"/>
              <a:gd name="connsiteY6588" fmla="*/ 1350646 h 2705233"/>
              <a:gd name="connsiteX6589" fmla="*/ 713205 w 6886183"/>
              <a:gd name="connsiteY6589" fmla="*/ 1350646 h 2705233"/>
              <a:gd name="connsiteX6590" fmla="*/ 717587 w 6886183"/>
              <a:gd name="connsiteY6590" fmla="*/ 1347121 h 2705233"/>
              <a:gd name="connsiteX6591" fmla="*/ 721778 w 6886183"/>
              <a:gd name="connsiteY6591" fmla="*/ 1343407 h 2705233"/>
              <a:gd name="connsiteX6592" fmla="*/ 725588 w 6886183"/>
              <a:gd name="connsiteY6592" fmla="*/ 1339978 h 2705233"/>
              <a:gd name="connsiteX6593" fmla="*/ 6438394 w 6886183"/>
              <a:gd name="connsiteY6593" fmla="*/ 1337692 h 2705233"/>
              <a:gd name="connsiteX6594" fmla="*/ 6453920 w 6886183"/>
              <a:gd name="connsiteY6594" fmla="*/ 1339312 h 2705233"/>
              <a:gd name="connsiteX6595" fmla="*/ 6466207 w 6886183"/>
              <a:gd name="connsiteY6595" fmla="*/ 1341979 h 2705233"/>
              <a:gd name="connsiteX6596" fmla="*/ 6465541 w 6886183"/>
              <a:gd name="connsiteY6596" fmla="*/ 1353123 h 2705233"/>
              <a:gd name="connsiteX6597" fmla="*/ 6438204 w 6886183"/>
              <a:gd name="connsiteY6597" fmla="*/ 1353599 h 2705233"/>
              <a:gd name="connsiteX6598" fmla="*/ 6409629 w 6886183"/>
              <a:gd name="connsiteY6598" fmla="*/ 1350075 h 2705233"/>
              <a:gd name="connsiteX6599" fmla="*/ 6409819 w 6886183"/>
              <a:gd name="connsiteY6599" fmla="*/ 1338264 h 2705233"/>
              <a:gd name="connsiteX6600" fmla="*/ 6438394 w 6886183"/>
              <a:gd name="connsiteY6600" fmla="*/ 1337692 h 2705233"/>
              <a:gd name="connsiteX6601" fmla="*/ 2209218 w 6886183"/>
              <a:gd name="connsiteY6601" fmla="*/ 1335318 h 2705233"/>
              <a:gd name="connsiteX6602" fmla="*/ 2235888 w 6886183"/>
              <a:gd name="connsiteY6602" fmla="*/ 1339128 h 2705233"/>
              <a:gd name="connsiteX6603" fmla="*/ 2274750 w 6886183"/>
              <a:gd name="connsiteY6603" fmla="*/ 1360749 h 2705233"/>
              <a:gd name="connsiteX6604" fmla="*/ 2235983 w 6886183"/>
              <a:gd name="connsiteY6604" fmla="*/ 1403327 h 2705233"/>
              <a:gd name="connsiteX6605" fmla="*/ 2181881 w 6886183"/>
              <a:gd name="connsiteY6605" fmla="*/ 1401421 h 2705233"/>
              <a:gd name="connsiteX6606" fmla="*/ 2142543 w 6886183"/>
              <a:gd name="connsiteY6606" fmla="*/ 1380465 h 2705233"/>
              <a:gd name="connsiteX6607" fmla="*/ 2180643 w 6886183"/>
              <a:gd name="connsiteY6607" fmla="*/ 1336842 h 2705233"/>
              <a:gd name="connsiteX6608" fmla="*/ 2209218 w 6886183"/>
              <a:gd name="connsiteY6608" fmla="*/ 1335318 h 2705233"/>
              <a:gd name="connsiteX6609" fmla="*/ 6063205 w 6886183"/>
              <a:gd name="connsiteY6609" fmla="*/ 1327793 h 2705233"/>
              <a:gd name="connsiteX6610" fmla="*/ 6071587 w 6886183"/>
              <a:gd name="connsiteY6610" fmla="*/ 1327793 h 2705233"/>
              <a:gd name="connsiteX6611" fmla="*/ 6079492 w 6886183"/>
              <a:gd name="connsiteY6611" fmla="*/ 1329507 h 2705233"/>
              <a:gd name="connsiteX6612" fmla="*/ 6083683 w 6886183"/>
              <a:gd name="connsiteY6612" fmla="*/ 1344271 h 2705233"/>
              <a:gd name="connsiteX6613" fmla="*/ 6068158 w 6886183"/>
              <a:gd name="connsiteY6613" fmla="*/ 1347890 h 2705233"/>
              <a:gd name="connsiteX6614" fmla="*/ 6050536 w 6886183"/>
              <a:gd name="connsiteY6614" fmla="*/ 1350081 h 2705233"/>
              <a:gd name="connsiteX6615" fmla="*/ 6032725 w 6886183"/>
              <a:gd name="connsiteY6615" fmla="*/ 1350081 h 2705233"/>
              <a:gd name="connsiteX6616" fmla="*/ 6016246 w 6886183"/>
              <a:gd name="connsiteY6616" fmla="*/ 1348938 h 2705233"/>
              <a:gd name="connsiteX6617" fmla="*/ 6014056 w 6886183"/>
              <a:gd name="connsiteY6617" fmla="*/ 1334270 h 2705233"/>
              <a:gd name="connsiteX6618" fmla="*/ 6045869 w 6886183"/>
              <a:gd name="connsiteY6618" fmla="*/ 1328269 h 2705233"/>
              <a:gd name="connsiteX6619" fmla="*/ 6063205 w 6886183"/>
              <a:gd name="connsiteY6619" fmla="*/ 1327793 h 2705233"/>
              <a:gd name="connsiteX6620" fmla="*/ 6669947 w 6886183"/>
              <a:gd name="connsiteY6620" fmla="*/ 1326738 h 2705233"/>
              <a:gd name="connsiteX6621" fmla="*/ 6675757 w 6886183"/>
              <a:gd name="connsiteY6621" fmla="*/ 1326738 h 2705233"/>
              <a:gd name="connsiteX6622" fmla="*/ 6682234 w 6886183"/>
              <a:gd name="connsiteY6622" fmla="*/ 1326738 h 2705233"/>
              <a:gd name="connsiteX6623" fmla="*/ 6695665 w 6886183"/>
              <a:gd name="connsiteY6623" fmla="*/ 1328548 h 2705233"/>
              <a:gd name="connsiteX6624" fmla="*/ 6707952 w 6886183"/>
              <a:gd name="connsiteY6624" fmla="*/ 1331501 h 2705233"/>
              <a:gd name="connsiteX6625" fmla="*/ 6713191 w 6886183"/>
              <a:gd name="connsiteY6625" fmla="*/ 1333311 h 2705233"/>
              <a:gd name="connsiteX6626" fmla="*/ 6717667 w 6886183"/>
              <a:gd name="connsiteY6626" fmla="*/ 1335406 h 2705233"/>
              <a:gd name="connsiteX6627" fmla="*/ 6722144 w 6886183"/>
              <a:gd name="connsiteY6627" fmla="*/ 1341693 h 2705233"/>
              <a:gd name="connsiteX6628" fmla="*/ 6709571 w 6886183"/>
              <a:gd name="connsiteY6628" fmla="*/ 1343883 h 2705233"/>
              <a:gd name="connsiteX6629" fmla="*/ 6704428 w 6886183"/>
              <a:gd name="connsiteY6629" fmla="*/ 1343883 h 2705233"/>
              <a:gd name="connsiteX6630" fmla="*/ 6698998 w 6886183"/>
              <a:gd name="connsiteY6630" fmla="*/ 1343883 h 2705233"/>
              <a:gd name="connsiteX6631" fmla="*/ 6693283 w 6886183"/>
              <a:gd name="connsiteY6631" fmla="*/ 1343121 h 2705233"/>
              <a:gd name="connsiteX6632" fmla="*/ 6690426 w 6886183"/>
              <a:gd name="connsiteY6632" fmla="*/ 1343121 h 2705233"/>
              <a:gd name="connsiteX6633" fmla="*/ 6687473 w 6886183"/>
              <a:gd name="connsiteY6633" fmla="*/ 1342550 h 2705233"/>
              <a:gd name="connsiteX6634" fmla="*/ 6681663 w 6886183"/>
              <a:gd name="connsiteY6634" fmla="*/ 1341407 h 2705233"/>
              <a:gd name="connsiteX6635" fmla="*/ 6676043 w 6886183"/>
              <a:gd name="connsiteY6635" fmla="*/ 1339978 h 2705233"/>
              <a:gd name="connsiteX6636" fmla="*/ 6670995 w 6886183"/>
              <a:gd name="connsiteY6636" fmla="*/ 1338454 h 2705233"/>
              <a:gd name="connsiteX6637" fmla="*/ 6666518 w 6886183"/>
              <a:gd name="connsiteY6637" fmla="*/ 1336168 h 2705233"/>
              <a:gd name="connsiteX6638" fmla="*/ 6659279 w 6886183"/>
              <a:gd name="connsiteY6638" fmla="*/ 1329977 h 2705233"/>
              <a:gd name="connsiteX6639" fmla="*/ 6669947 w 6886183"/>
              <a:gd name="connsiteY6639" fmla="*/ 1326738 h 2705233"/>
              <a:gd name="connsiteX6640" fmla="*/ 4386828 w 6886183"/>
              <a:gd name="connsiteY6640" fmla="*/ 1324884 h 2705233"/>
              <a:gd name="connsiteX6641" fmla="*/ 4397472 w 6886183"/>
              <a:gd name="connsiteY6641" fmla="*/ 1344850 h 2705233"/>
              <a:gd name="connsiteX6642" fmla="*/ 4316510 w 6886183"/>
              <a:gd name="connsiteY6642" fmla="*/ 1397809 h 2705233"/>
              <a:gd name="connsiteX6643" fmla="*/ 4256598 w 6886183"/>
              <a:gd name="connsiteY6643" fmla="*/ 1384760 h 2705233"/>
              <a:gd name="connsiteX6644" fmla="*/ 4340322 w 6886183"/>
              <a:gd name="connsiteY6644" fmla="*/ 1328563 h 2705233"/>
              <a:gd name="connsiteX6645" fmla="*/ 4386828 w 6886183"/>
              <a:gd name="connsiteY6645" fmla="*/ 1324884 h 2705233"/>
              <a:gd name="connsiteX6646" fmla="*/ 3909268 w 6886183"/>
              <a:gd name="connsiteY6646" fmla="*/ 1322464 h 2705233"/>
              <a:gd name="connsiteX6647" fmla="*/ 3930747 w 6886183"/>
              <a:gd name="connsiteY6647" fmla="*/ 1341514 h 2705233"/>
              <a:gd name="connsiteX6648" fmla="*/ 3855499 w 6886183"/>
              <a:gd name="connsiteY6648" fmla="*/ 1398188 h 2705233"/>
              <a:gd name="connsiteX6649" fmla="*/ 3781585 w 6886183"/>
              <a:gd name="connsiteY6649" fmla="*/ 1383710 h 2705233"/>
              <a:gd name="connsiteX6650" fmla="*/ 3857214 w 6886183"/>
              <a:gd name="connsiteY6650" fmla="*/ 1325417 h 2705233"/>
              <a:gd name="connsiteX6651" fmla="*/ 3909268 w 6886183"/>
              <a:gd name="connsiteY6651" fmla="*/ 1322464 h 2705233"/>
              <a:gd name="connsiteX6652" fmla="*/ 3333194 w 6886183"/>
              <a:gd name="connsiteY6652" fmla="*/ 1311033 h 2705233"/>
              <a:gd name="connsiteX6653" fmla="*/ 3362991 w 6886183"/>
              <a:gd name="connsiteY6653" fmla="*/ 1330274 h 2705233"/>
              <a:gd name="connsiteX6654" fmla="*/ 3302132 w 6886183"/>
              <a:gd name="connsiteY6654" fmla="*/ 1384757 h 2705233"/>
              <a:gd name="connsiteX6655" fmla="*/ 3215647 w 6886183"/>
              <a:gd name="connsiteY6655" fmla="*/ 1367517 h 2705233"/>
              <a:gd name="connsiteX6656" fmla="*/ 3279177 w 6886183"/>
              <a:gd name="connsiteY6656" fmla="*/ 1312081 h 2705233"/>
              <a:gd name="connsiteX6657" fmla="*/ 3333194 w 6886183"/>
              <a:gd name="connsiteY6657" fmla="*/ 1311033 h 2705233"/>
              <a:gd name="connsiteX6658" fmla="*/ 4922205 w 6886183"/>
              <a:gd name="connsiteY6658" fmla="*/ 1310750 h 2705233"/>
              <a:gd name="connsiteX6659" fmla="*/ 4960305 w 6886183"/>
              <a:gd name="connsiteY6659" fmla="*/ 1329800 h 2705233"/>
              <a:gd name="connsiteX6660" fmla="*/ 4926967 w 6886183"/>
              <a:gd name="connsiteY6660" fmla="*/ 1352946 h 2705233"/>
              <a:gd name="connsiteX6661" fmla="*/ 4878866 w 6886183"/>
              <a:gd name="connsiteY6661" fmla="*/ 1368852 h 2705233"/>
              <a:gd name="connsiteX6662" fmla="*/ 4867150 w 6886183"/>
              <a:gd name="connsiteY6662" fmla="*/ 1370662 h 2705233"/>
              <a:gd name="connsiteX6663" fmla="*/ 4857149 w 6886183"/>
              <a:gd name="connsiteY6663" fmla="*/ 1371424 h 2705233"/>
              <a:gd name="connsiteX6664" fmla="*/ 4842862 w 6886183"/>
              <a:gd name="connsiteY6664" fmla="*/ 1369329 h 2705233"/>
              <a:gd name="connsiteX6665" fmla="*/ 4840671 w 6886183"/>
              <a:gd name="connsiteY6665" fmla="*/ 1352565 h 2705233"/>
              <a:gd name="connsiteX6666" fmla="*/ 4922205 w 6886183"/>
              <a:gd name="connsiteY6666" fmla="*/ 1310750 h 2705233"/>
              <a:gd name="connsiteX6667" fmla="*/ 5882706 w 6886183"/>
              <a:gd name="connsiteY6667" fmla="*/ 1300076 h 2705233"/>
              <a:gd name="connsiteX6668" fmla="*/ 5900422 w 6886183"/>
              <a:gd name="connsiteY6668" fmla="*/ 1300076 h 2705233"/>
              <a:gd name="connsiteX6669" fmla="*/ 5905947 w 6886183"/>
              <a:gd name="connsiteY6669" fmla="*/ 1318173 h 2705233"/>
              <a:gd name="connsiteX6670" fmla="*/ 5889945 w 6886183"/>
              <a:gd name="connsiteY6670" fmla="*/ 1322650 h 2705233"/>
              <a:gd name="connsiteX6671" fmla="*/ 5870895 w 6886183"/>
              <a:gd name="connsiteY6671" fmla="*/ 1326079 h 2705233"/>
              <a:gd name="connsiteX6672" fmla="*/ 5834224 w 6886183"/>
              <a:gd name="connsiteY6672" fmla="*/ 1328270 h 2705233"/>
              <a:gd name="connsiteX6673" fmla="*/ 5827270 w 6886183"/>
              <a:gd name="connsiteY6673" fmla="*/ 1310744 h 2705233"/>
              <a:gd name="connsiteX6674" fmla="*/ 5862608 w 6886183"/>
              <a:gd name="connsiteY6674" fmla="*/ 1302076 h 2705233"/>
              <a:gd name="connsiteX6675" fmla="*/ 5882706 w 6886183"/>
              <a:gd name="connsiteY6675" fmla="*/ 1300076 h 2705233"/>
              <a:gd name="connsiteX6676" fmla="*/ 88939 w 6886183"/>
              <a:gd name="connsiteY6676" fmla="*/ 1297783 h 2705233"/>
              <a:gd name="connsiteX6677" fmla="*/ 91511 w 6886183"/>
              <a:gd name="connsiteY6677" fmla="*/ 1311784 h 2705233"/>
              <a:gd name="connsiteX6678" fmla="*/ 90559 w 6886183"/>
              <a:gd name="connsiteY6678" fmla="*/ 1329120 h 2705233"/>
              <a:gd name="connsiteX6679" fmla="*/ 90559 w 6886183"/>
              <a:gd name="connsiteY6679" fmla="*/ 1331597 h 2705233"/>
              <a:gd name="connsiteX6680" fmla="*/ 90559 w 6886183"/>
              <a:gd name="connsiteY6680" fmla="*/ 1334073 h 2705233"/>
              <a:gd name="connsiteX6681" fmla="*/ 90559 w 6886183"/>
              <a:gd name="connsiteY6681" fmla="*/ 1339312 h 2705233"/>
              <a:gd name="connsiteX6682" fmla="*/ 89701 w 6886183"/>
              <a:gd name="connsiteY6682" fmla="*/ 1350075 h 2705233"/>
              <a:gd name="connsiteX6683" fmla="*/ 88558 w 6886183"/>
              <a:gd name="connsiteY6683" fmla="*/ 1361028 h 2705233"/>
              <a:gd name="connsiteX6684" fmla="*/ 87987 w 6886183"/>
              <a:gd name="connsiteY6684" fmla="*/ 1366457 h 2705233"/>
              <a:gd name="connsiteX6685" fmla="*/ 87511 w 6886183"/>
              <a:gd name="connsiteY6685" fmla="*/ 1371982 h 2705233"/>
              <a:gd name="connsiteX6686" fmla="*/ 85225 w 6886183"/>
              <a:gd name="connsiteY6686" fmla="*/ 1392365 h 2705233"/>
              <a:gd name="connsiteX6687" fmla="*/ 84462 w 6886183"/>
              <a:gd name="connsiteY6687" fmla="*/ 1397223 h 2705233"/>
              <a:gd name="connsiteX6688" fmla="*/ 84462 w 6886183"/>
              <a:gd name="connsiteY6688" fmla="*/ 1399414 h 2705233"/>
              <a:gd name="connsiteX6689" fmla="*/ 84462 w 6886183"/>
              <a:gd name="connsiteY6689" fmla="*/ 1401509 h 2705233"/>
              <a:gd name="connsiteX6690" fmla="*/ 83224 w 6886183"/>
              <a:gd name="connsiteY6690" fmla="*/ 1408272 h 2705233"/>
              <a:gd name="connsiteX6691" fmla="*/ 80462 w 6886183"/>
              <a:gd name="connsiteY6691" fmla="*/ 1414463 h 2705233"/>
              <a:gd name="connsiteX6692" fmla="*/ 77795 w 6886183"/>
              <a:gd name="connsiteY6692" fmla="*/ 1410272 h 2705233"/>
              <a:gd name="connsiteX6693" fmla="*/ 76557 w 6886183"/>
              <a:gd name="connsiteY6693" fmla="*/ 1404367 h 2705233"/>
              <a:gd name="connsiteX6694" fmla="*/ 76080 w 6886183"/>
              <a:gd name="connsiteY6694" fmla="*/ 1400366 h 2705233"/>
              <a:gd name="connsiteX6695" fmla="*/ 76080 w 6886183"/>
              <a:gd name="connsiteY6695" fmla="*/ 1395794 h 2705233"/>
              <a:gd name="connsiteX6696" fmla="*/ 76080 w 6886183"/>
              <a:gd name="connsiteY6696" fmla="*/ 1376744 h 2705233"/>
              <a:gd name="connsiteX6697" fmla="*/ 76080 w 6886183"/>
              <a:gd name="connsiteY6697" fmla="*/ 1365695 h 2705233"/>
              <a:gd name="connsiteX6698" fmla="*/ 76938 w 6886183"/>
              <a:gd name="connsiteY6698" fmla="*/ 1354742 h 2705233"/>
              <a:gd name="connsiteX6699" fmla="*/ 79700 w 6886183"/>
              <a:gd name="connsiteY6699" fmla="*/ 1333121 h 2705233"/>
              <a:gd name="connsiteX6700" fmla="*/ 81795 w 6886183"/>
              <a:gd name="connsiteY6700" fmla="*/ 1314451 h 2705233"/>
              <a:gd name="connsiteX6701" fmla="*/ 88939 w 6886183"/>
              <a:gd name="connsiteY6701" fmla="*/ 1297783 h 2705233"/>
              <a:gd name="connsiteX6702" fmla="*/ 5135089 w 6886183"/>
              <a:gd name="connsiteY6702" fmla="*/ 1283984 h 2705233"/>
              <a:gd name="connsiteX6703" fmla="*/ 5168426 w 6886183"/>
              <a:gd name="connsiteY6703" fmla="*/ 1287127 h 2705233"/>
              <a:gd name="connsiteX6704" fmla="*/ 5165569 w 6886183"/>
              <a:gd name="connsiteY6704" fmla="*/ 1304463 h 2705233"/>
              <a:gd name="connsiteX6705" fmla="*/ 5158806 w 6886183"/>
              <a:gd name="connsiteY6705" fmla="*/ 1309987 h 2705233"/>
              <a:gd name="connsiteX6706" fmla="*/ 5150329 w 6886183"/>
              <a:gd name="connsiteY6706" fmla="*/ 1315416 h 2705233"/>
              <a:gd name="connsiteX6707" fmla="*/ 5129374 w 6886183"/>
              <a:gd name="connsiteY6707" fmla="*/ 1325608 h 2705233"/>
              <a:gd name="connsiteX6708" fmla="*/ 5105561 w 6886183"/>
              <a:gd name="connsiteY6708" fmla="*/ 1333800 h 2705233"/>
              <a:gd name="connsiteX6709" fmla="*/ 5099465 w 6886183"/>
              <a:gd name="connsiteY6709" fmla="*/ 1335323 h 2705233"/>
              <a:gd name="connsiteX6710" fmla="*/ 5093369 w 6886183"/>
              <a:gd name="connsiteY6710" fmla="*/ 1336847 h 2705233"/>
              <a:gd name="connsiteX6711" fmla="*/ 5081558 w 6886183"/>
              <a:gd name="connsiteY6711" fmla="*/ 1339039 h 2705233"/>
              <a:gd name="connsiteX6712" fmla="*/ 5049649 w 6886183"/>
              <a:gd name="connsiteY6712" fmla="*/ 1320274 h 2705233"/>
              <a:gd name="connsiteX6713" fmla="*/ 5085368 w 6886183"/>
              <a:gd name="connsiteY6713" fmla="*/ 1297985 h 2705233"/>
              <a:gd name="connsiteX6714" fmla="*/ 5110038 w 6886183"/>
              <a:gd name="connsiteY6714" fmla="*/ 1289317 h 2705233"/>
              <a:gd name="connsiteX6715" fmla="*/ 5135089 w 6886183"/>
              <a:gd name="connsiteY6715" fmla="*/ 1283984 h 2705233"/>
              <a:gd name="connsiteX6716" fmla="*/ 6256181 w 6886183"/>
              <a:gd name="connsiteY6716" fmla="*/ 1280546 h 2705233"/>
              <a:gd name="connsiteX6717" fmla="*/ 6288947 w 6886183"/>
              <a:gd name="connsiteY6717" fmla="*/ 1283404 h 2705233"/>
              <a:gd name="connsiteX6718" fmla="*/ 6288947 w 6886183"/>
              <a:gd name="connsiteY6718" fmla="*/ 1297786 h 2705233"/>
              <a:gd name="connsiteX6719" fmla="*/ 6281898 w 6886183"/>
              <a:gd name="connsiteY6719" fmla="*/ 1299025 h 2705233"/>
              <a:gd name="connsiteX6720" fmla="*/ 6274564 w 6886183"/>
              <a:gd name="connsiteY6720" fmla="*/ 1300072 h 2705233"/>
              <a:gd name="connsiteX6721" fmla="*/ 6259229 w 6886183"/>
              <a:gd name="connsiteY6721" fmla="*/ 1301025 h 2705233"/>
              <a:gd name="connsiteX6722" fmla="*/ 6229130 w 6886183"/>
              <a:gd name="connsiteY6722" fmla="*/ 1298929 h 2705233"/>
              <a:gd name="connsiteX6723" fmla="*/ 6217128 w 6886183"/>
              <a:gd name="connsiteY6723" fmla="*/ 1295881 h 2705233"/>
              <a:gd name="connsiteX6724" fmla="*/ 6212271 w 6886183"/>
              <a:gd name="connsiteY6724" fmla="*/ 1292357 h 2705233"/>
              <a:gd name="connsiteX6725" fmla="*/ 6214652 w 6886183"/>
              <a:gd name="connsiteY6725" fmla="*/ 1288547 h 2705233"/>
              <a:gd name="connsiteX6726" fmla="*/ 6224463 w 6886183"/>
              <a:gd name="connsiteY6726" fmla="*/ 1284832 h 2705233"/>
              <a:gd name="connsiteX6727" fmla="*/ 6256181 w 6886183"/>
              <a:gd name="connsiteY6727" fmla="*/ 1280546 h 2705233"/>
              <a:gd name="connsiteX6728" fmla="*/ 2597579 w 6886183"/>
              <a:gd name="connsiteY6728" fmla="*/ 1279812 h 2705233"/>
              <a:gd name="connsiteX6729" fmla="*/ 2640513 w 6886183"/>
              <a:gd name="connsiteY6729" fmla="*/ 1300552 h 2705233"/>
              <a:gd name="connsiteX6730" fmla="*/ 2638036 w 6886183"/>
              <a:gd name="connsiteY6730" fmla="*/ 1329127 h 2705233"/>
              <a:gd name="connsiteX6731" fmla="*/ 2599936 w 6886183"/>
              <a:gd name="connsiteY6731" fmla="*/ 1350273 h 2705233"/>
              <a:gd name="connsiteX6732" fmla="*/ 2545263 w 6886183"/>
              <a:gd name="connsiteY6732" fmla="*/ 1350844 h 2705233"/>
              <a:gd name="connsiteX6733" fmla="*/ 2503829 w 6886183"/>
              <a:gd name="connsiteY6733" fmla="*/ 1332366 h 2705233"/>
              <a:gd name="connsiteX6734" fmla="*/ 2502115 w 6886183"/>
              <a:gd name="connsiteY6734" fmla="*/ 1303791 h 2705233"/>
              <a:gd name="connsiteX6735" fmla="*/ 2538500 w 6886183"/>
              <a:gd name="connsiteY6735" fmla="*/ 1280931 h 2705233"/>
              <a:gd name="connsiteX6736" fmla="*/ 2597579 w 6886183"/>
              <a:gd name="connsiteY6736" fmla="*/ 1279812 h 2705233"/>
              <a:gd name="connsiteX6737" fmla="*/ 5708493 w 6886183"/>
              <a:gd name="connsiteY6737" fmla="*/ 1279314 h 2705233"/>
              <a:gd name="connsiteX6738" fmla="*/ 5718685 w 6886183"/>
              <a:gd name="connsiteY6738" fmla="*/ 1279504 h 2705233"/>
              <a:gd name="connsiteX6739" fmla="*/ 5730782 w 6886183"/>
              <a:gd name="connsiteY6739" fmla="*/ 1297983 h 2705233"/>
              <a:gd name="connsiteX6740" fmla="*/ 5693825 w 6886183"/>
              <a:gd name="connsiteY6740" fmla="*/ 1310175 h 2705233"/>
              <a:gd name="connsiteX6741" fmla="*/ 5672584 w 6886183"/>
              <a:gd name="connsiteY6741" fmla="*/ 1313413 h 2705233"/>
              <a:gd name="connsiteX6742" fmla="*/ 5662106 w 6886183"/>
              <a:gd name="connsiteY6742" fmla="*/ 1314080 h 2705233"/>
              <a:gd name="connsiteX6743" fmla="*/ 5652010 w 6886183"/>
              <a:gd name="connsiteY6743" fmla="*/ 1314080 h 2705233"/>
              <a:gd name="connsiteX6744" fmla="*/ 5641437 w 6886183"/>
              <a:gd name="connsiteY6744" fmla="*/ 1295792 h 2705233"/>
              <a:gd name="connsiteX6745" fmla="*/ 5677156 w 6886183"/>
              <a:gd name="connsiteY6745" fmla="*/ 1283314 h 2705233"/>
              <a:gd name="connsiteX6746" fmla="*/ 5698111 w 6886183"/>
              <a:gd name="connsiteY6746" fmla="*/ 1280076 h 2705233"/>
              <a:gd name="connsiteX6747" fmla="*/ 5708493 w 6886183"/>
              <a:gd name="connsiteY6747" fmla="*/ 1279314 h 2705233"/>
              <a:gd name="connsiteX6748" fmla="*/ 5328732 w 6886183"/>
              <a:gd name="connsiteY6748" fmla="*/ 1274647 h 2705233"/>
              <a:gd name="connsiteX6749" fmla="*/ 5353783 w 6886183"/>
              <a:gd name="connsiteY6749" fmla="*/ 1294651 h 2705233"/>
              <a:gd name="connsiteX6750" fmla="*/ 5317111 w 6886183"/>
              <a:gd name="connsiteY6750" fmla="*/ 1312844 h 2705233"/>
              <a:gd name="connsiteX6751" fmla="*/ 5270820 w 6886183"/>
              <a:gd name="connsiteY6751" fmla="*/ 1322369 h 2705233"/>
              <a:gd name="connsiteX6752" fmla="*/ 5265581 w 6886183"/>
              <a:gd name="connsiteY6752" fmla="*/ 1322369 h 2705233"/>
              <a:gd name="connsiteX6753" fmla="*/ 5260819 w 6886183"/>
              <a:gd name="connsiteY6753" fmla="*/ 1322369 h 2705233"/>
              <a:gd name="connsiteX6754" fmla="*/ 5252818 w 6886183"/>
              <a:gd name="connsiteY6754" fmla="*/ 1322369 h 2705233"/>
              <a:gd name="connsiteX6755" fmla="*/ 5242626 w 6886183"/>
              <a:gd name="connsiteY6755" fmla="*/ 1319131 h 2705233"/>
              <a:gd name="connsiteX6756" fmla="*/ 5247960 w 6886183"/>
              <a:gd name="connsiteY6756" fmla="*/ 1303700 h 2705233"/>
              <a:gd name="connsiteX6757" fmla="*/ 5262914 w 6886183"/>
              <a:gd name="connsiteY6757" fmla="*/ 1293508 h 2705233"/>
              <a:gd name="connsiteX6758" fmla="*/ 5282536 w 6886183"/>
              <a:gd name="connsiteY6758" fmla="*/ 1284935 h 2705233"/>
              <a:gd name="connsiteX6759" fmla="*/ 5305110 w 6886183"/>
              <a:gd name="connsiteY6759" fmla="*/ 1278364 h 2705233"/>
              <a:gd name="connsiteX6760" fmla="*/ 5316921 w 6886183"/>
              <a:gd name="connsiteY6760" fmla="*/ 1275980 h 2705233"/>
              <a:gd name="connsiteX6761" fmla="*/ 5328732 w 6886183"/>
              <a:gd name="connsiteY6761" fmla="*/ 1274647 h 2705233"/>
              <a:gd name="connsiteX6762" fmla="*/ 5526376 w 6886183"/>
              <a:gd name="connsiteY6762" fmla="*/ 1271122 h 2705233"/>
              <a:gd name="connsiteX6763" fmla="*/ 5545426 w 6886183"/>
              <a:gd name="connsiteY6763" fmla="*/ 1290936 h 2705233"/>
              <a:gd name="connsiteX6764" fmla="*/ 5464654 w 6886183"/>
              <a:gd name="connsiteY6764" fmla="*/ 1313606 h 2705233"/>
              <a:gd name="connsiteX6765" fmla="*/ 5444175 w 6886183"/>
              <a:gd name="connsiteY6765" fmla="*/ 1295032 h 2705233"/>
              <a:gd name="connsiteX6766" fmla="*/ 5459891 w 6886183"/>
              <a:gd name="connsiteY6766" fmla="*/ 1286459 h 2705233"/>
              <a:gd name="connsiteX6767" fmla="*/ 5469416 w 6886183"/>
              <a:gd name="connsiteY6767" fmla="*/ 1282459 h 2705233"/>
              <a:gd name="connsiteX6768" fmla="*/ 5480370 w 6886183"/>
              <a:gd name="connsiteY6768" fmla="*/ 1278935 h 2705233"/>
              <a:gd name="connsiteX6769" fmla="*/ 5503516 w 6886183"/>
              <a:gd name="connsiteY6769" fmla="*/ 1273599 h 2705233"/>
              <a:gd name="connsiteX6770" fmla="*/ 5526376 w 6886183"/>
              <a:gd name="connsiteY6770" fmla="*/ 1271122 h 2705233"/>
              <a:gd name="connsiteX6771" fmla="*/ 4598545 w 6886183"/>
              <a:gd name="connsiteY6771" fmla="*/ 1265980 h 2705233"/>
              <a:gd name="connsiteX6772" fmla="*/ 4616833 w 6886183"/>
              <a:gd name="connsiteY6772" fmla="*/ 1267885 h 2705233"/>
              <a:gd name="connsiteX6773" fmla="*/ 4624358 w 6886183"/>
              <a:gd name="connsiteY6773" fmla="*/ 1287985 h 2705233"/>
              <a:gd name="connsiteX6774" fmla="*/ 4595783 w 6886183"/>
              <a:gd name="connsiteY6774" fmla="*/ 1315798 h 2705233"/>
              <a:gd name="connsiteX6775" fmla="*/ 4590449 w 6886183"/>
              <a:gd name="connsiteY6775" fmla="*/ 1318941 h 2705233"/>
              <a:gd name="connsiteX6776" fmla="*/ 4584925 w 6886183"/>
              <a:gd name="connsiteY6776" fmla="*/ 1322084 h 2705233"/>
              <a:gd name="connsiteX6777" fmla="*/ 4573114 w 6886183"/>
              <a:gd name="connsiteY6777" fmla="*/ 1327990 h 2705233"/>
              <a:gd name="connsiteX6778" fmla="*/ 4547491 w 6886183"/>
              <a:gd name="connsiteY6778" fmla="*/ 1337515 h 2705233"/>
              <a:gd name="connsiteX6779" fmla="*/ 4534156 w 6886183"/>
              <a:gd name="connsiteY6779" fmla="*/ 1340753 h 2705233"/>
              <a:gd name="connsiteX6780" fmla="*/ 4522345 w 6886183"/>
              <a:gd name="connsiteY6780" fmla="*/ 1342468 h 2705233"/>
              <a:gd name="connsiteX6781" fmla="*/ 4503867 w 6886183"/>
              <a:gd name="connsiteY6781" fmla="*/ 1341896 h 2705233"/>
              <a:gd name="connsiteX6782" fmla="*/ 4492723 w 6886183"/>
              <a:gd name="connsiteY6782" fmla="*/ 1323989 h 2705233"/>
              <a:gd name="connsiteX6783" fmla="*/ 4502248 w 6886183"/>
              <a:gd name="connsiteY6783" fmla="*/ 1308845 h 2705233"/>
              <a:gd name="connsiteX6784" fmla="*/ 4520250 w 6886183"/>
              <a:gd name="connsiteY6784" fmla="*/ 1293795 h 2705233"/>
              <a:gd name="connsiteX6785" fmla="*/ 4572542 w 6886183"/>
              <a:gd name="connsiteY6785" fmla="*/ 1270362 h 2705233"/>
              <a:gd name="connsiteX6786" fmla="*/ 4586449 w 6886183"/>
              <a:gd name="connsiteY6786" fmla="*/ 1267314 h 2705233"/>
              <a:gd name="connsiteX6787" fmla="*/ 4598545 w 6886183"/>
              <a:gd name="connsiteY6787" fmla="*/ 1265980 h 2705233"/>
              <a:gd name="connsiteX6788" fmla="*/ 4186934 w 6886183"/>
              <a:gd name="connsiteY6788" fmla="*/ 1252740 h 2705233"/>
              <a:gd name="connsiteX6789" fmla="*/ 4203353 w 6886183"/>
              <a:gd name="connsiteY6789" fmla="*/ 1272647 h 2705233"/>
              <a:gd name="connsiteX6790" fmla="*/ 4122009 w 6886183"/>
              <a:gd name="connsiteY6790" fmla="*/ 1330561 h 2705233"/>
              <a:gd name="connsiteX6791" fmla="*/ 4056572 w 6886183"/>
              <a:gd name="connsiteY6791" fmla="*/ 1314463 h 2705233"/>
              <a:gd name="connsiteX6792" fmla="*/ 4138297 w 6886183"/>
              <a:gd name="connsiteY6792" fmla="*/ 1254835 h 2705233"/>
              <a:gd name="connsiteX6793" fmla="*/ 4186934 w 6886183"/>
              <a:gd name="connsiteY6793" fmla="*/ 1252740 h 2705233"/>
              <a:gd name="connsiteX6794" fmla="*/ 6486876 w 6886183"/>
              <a:gd name="connsiteY6794" fmla="*/ 1243206 h 2705233"/>
              <a:gd name="connsiteX6795" fmla="*/ 6504974 w 6886183"/>
              <a:gd name="connsiteY6795" fmla="*/ 1243968 h 2705233"/>
              <a:gd name="connsiteX6796" fmla="*/ 6522595 w 6886183"/>
              <a:gd name="connsiteY6796" fmla="*/ 1246159 h 2705233"/>
              <a:gd name="connsiteX6797" fmla="*/ 6536121 w 6886183"/>
              <a:gd name="connsiteY6797" fmla="*/ 1249397 h 2705233"/>
              <a:gd name="connsiteX6798" fmla="*/ 6543836 w 6886183"/>
              <a:gd name="connsiteY6798" fmla="*/ 1257398 h 2705233"/>
              <a:gd name="connsiteX6799" fmla="*/ 6527834 w 6886183"/>
              <a:gd name="connsiteY6799" fmla="*/ 1262732 h 2705233"/>
              <a:gd name="connsiteX6800" fmla="*/ 6494115 w 6886183"/>
              <a:gd name="connsiteY6800" fmla="*/ 1261875 h 2705233"/>
              <a:gd name="connsiteX6801" fmla="*/ 6464874 w 6886183"/>
              <a:gd name="connsiteY6801" fmla="*/ 1256732 h 2705233"/>
              <a:gd name="connsiteX6802" fmla="*/ 6471636 w 6886183"/>
              <a:gd name="connsiteY6802" fmla="*/ 1244063 h 2705233"/>
              <a:gd name="connsiteX6803" fmla="*/ 6486876 w 6886183"/>
              <a:gd name="connsiteY6803" fmla="*/ 1243206 h 2705233"/>
              <a:gd name="connsiteX6804" fmla="*/ 3635353 w 6886183"/>
              <a:gd name="connsiteY6804" fmla="*/ 1239488 h 2705233"/>
              <a:gd name="connsiteX6805" fmla="*/ 3661000 w 6886183"/>
              <a:gd name="connsiteY6805" fmla="*/ 1260550 h 2705233"/>
              <a:gd name="connsiteX6806" fmla="*/ 3594325 w 6886183"/>
              <a:gd name="connsiteY6806" fmla="*/ 1316844 h 2705233"/>
              <a:gd name="connsiteX6807" fmla="*/ 3514600 w 6886183"/>
              <a:gd name="connsiteY6807" fmla="*/ 1299889 h 2705233"/>
              <a:gd name="connsiteX6808" fmla="*/ 3581275 w 6886183"/>
              <a:gd name="connsiteY6808" fmla="*/ 1242071 h 2705233"/>
              <a:gd name="connsiteX6809" fmla="*/ 3635353 w 6886183"/>
              <a:gd name="connsiteY6809" fmla="*/ 1239488 h 2705233"/>
              <a:gd name="connsiteX6810" fmla="*/ 6058170 w 6886183"/>
              <a:gd name="connsiteY6810" fmla="*/ 1237712 h 2705233"/>
              <a:gd name="connsiteX6811" fmla="*/ 6094923 w 6886183"/>
              <a:gd name="connsiteY6811" fmla="*/ 1237971 h 2705233"/>
              <a:gd name="connsiteX6812" fmla="*/ 6100352 w 6886183"/>
              <a:gd name="connsiteY6812" fmla="*/ 1255878 h 2705233"/>
              <a:gd name="connsiteX6813" fmla="*/ 6083683 w 6886183"/>
              <a:gd name="connsiteY6813" fmla="*/ 1259879 h 2705233"/>
              <a:gd name="connsiteX6814" fmla="*/ 6064633 w 6886183"/>
              <a:gd name="connsiteY6814" fmla="*/ 1262355 h 2705233"/>
              <a:gd name="connsiteX6815" fmla="*/ 6045583 w 6886183"/>
              <a:gd name="connsiteY6815" fmla="*/ 1263117 h 2705233"/>
              <a:gd name="connsiteX6816" fmla="*/ 6027867 w 6886183"/>
              <a:gd name="connsiteY6816" fmla="*/ 1262069 h 2705233"/>
              <a:gd name="connsiteX6817" fmla="*/ 6022247 w 6886183"/>
              <a:gd name="connsiteY6817" fmla="*/ 1245496 h 2705233"/>
              <a:gd name="connsiteX6818" fmla="*/ 6058170 w 6886183"/>
              <a:gd name="connsiteY6818" fmla="*/ 1237712 h 2705233"/>
              <a:gd name="connsiteX6819" fmla="*/ 4833907 w 6886183"/>
              <a:gd name="connsiteY6819" fmla="*/ 1223976 h 2705233"/>
              <a:gd name="connsiteX6820" fmla="*/ 4849909 w 6886183"/>
              <a:gd name="connsiteY6820" fmla="*/ 1227214 h 2705233"/>
              <a:gd name="connsiteX6821" fmla="*/ 4853053 w 6886183"/>
              <a:gd name="connsiteY6821" fmla="*/ 1247121 h 2705233"/>
              <a:gd name="connsiteX6822" fmla="*/ 4839337 w 6886183"/>
              <a:gd name="connsiteY6822" fmla="*/ 1260742 h 2705233"/>
              <a:gd name="connsiteX6823" fmla="*/ 4818763 w 6886183"/>
              <a:gd name="connsiteY6823" fmla="*/ 1273886 h 2705233"/>
              <a:gd name="connsiteX6824" fmla="*/ 4768185 w 6886183"/>
              <a:gd name="connsiteY6824" fmla="*/ 1292938 h 2705233"/>
              <a:gd name="connsiteX6825" fmla="*/ 4724179 w 6886183"/>
              <a:gd name="connsiteY6825" fmla="*/ 1274363 h 2705233"/>
              <a:gd name="connsiteX6826" fmla="*/ 4757517 w 6886183"/>
              <a:gd name="connsiteY6826" fmla="*/ 1246264 h 2705233"/>
              <a:gd name="connsiteX6827" fmla="*/ 4810190 w 6886183"/>
              <a:gd name="connsiteY6827" fmla="*/ 1226452 h 2705233"/>
              <a:gd name="connsiteX6828" fmla="*/ 4833907 w 6886183"/>
              <a:gd name="connsiteY6828" fmla="*/ 1223976 h 2705233"/>
              <a:gd name="connsiteX6829" fmla="*/ 2890645 w 6886183"/>
              <a:gd name="connsiteY6829" fmla="*/ 1211875 h 2705233"/>
              <a:gd name="connsiteX6830" fmla="*/ 2981989 w 6886183"/>
              <a:gd name="connsiteY6830" fmla="*/ 1233973 h 2705233"/>
              <a:gd name="connsiteX6831" fmla="*/ 2934365 w 6886183"/>
              <a:gd name="connsiteY6831" fmla="*/ 1285217 h 2705233"/>
              <a:gd name="connsiteX6832" fmla="*/ 2841591 w 6886183"/>
              <a:gd name="connsiteY6832" fmla="*/ 1266833 h 2705233"/>
              <a:gd name="connsiteX6833" fmla="*/ 2890645 w 6886183"/>
              <a:gd name="connsiteY6833" fmla="*/ 1211875 h 2705233"/>
              <a:gd name="connsiteX6834" fmla="*/ 5901756 w 6886183"/>
              <a:gd name="connsiteY6834" fmla="*/ 1202634 h 2705233"/>
              <a:gd name="connsiteX6835" fmla="*/ 5913281 w 6886183"/>
              <a:gd name="connsiteY6835" fmla="*/ 1222160 h 2705233"/>
              <a:gd name="connsiteX6836" fmla="*/ 5830318 w 6886183"/>
              <a:gd name="connsiteY6836" fmla="*/ 1235781 h 2705233"/>
              <a:gd name="connsiteX6837" fmla="*/ 5820793 w 6886183"/>
              <a:gd name="connsiteY6837" fmla="*/ 1216731 h 2705233"/>
              <a:gd name="connsiteX6838" fmla="*/ 5858893 w 6886183"/>
              <a:gd name="connsiteY6838" fmla="*/ 1205968 h 2705233"/>
              <a:gd name="connsiteX6839" fmla="*/ 5901756 w 6886183"/>
              <a:gd name="connsiteY6839" fmla="*/ 1202634 h 2705233"/>
              <a:gd name="connsiteX6840" fmla="*/ 5038028 w 6886183"/>
              <a:gd name="connsiteY6840" fmla="*/ 1193685 h 2705233"/>
              <a:gd name="connsiteX6841" fmla="*/ 5072223 w 6886183"/>
              <a:gd name="connsiteY6841" fmla="*/ 1216640 h 2705233"/>
              <a:gd name="connsiteX6842" fmla="*/ 5034123 w 6886183"/>
              <a:gd name="connsiteY6842" fmla="*/ 1240738 h 2705233"/>
              <a:gd name="connsiteX6843" fmla="*/ 5028027 w 6886183"/>
              <a:gd name="connsiteY6843" fmla="*/ 1243310 h 2705233"/>
              <a:gd name="connsiteX6844" fmla="*/ 5021740 w 6886183"/>
              <a:gd name="connsiteY6844" fmla="*/ 1245881 h 2705233"/>
              <a:gd name="connsiteX6845" fmla="*/ 5009072 w 6886183"/>
              <a:gd name="connsiteY6845" fmla="*/ 1250358 h 2705233"/>
              <a:gd name="connsiteX6846" fmla="*/ 4984593 w 6886183"/>
              <a:gd name="connsiteY6846" fmla="*/ 1256454 h 2705233"/>
              <a:gd name="connsiteX6847" fmla="*/ 4949922 w 6886183"/>
              <a:gd name="connsiteY6847" fmla="*/ 1254073 h 2705233"/>
              <a:gd name="connsiteX6848" fmla="*/ 4948874 w 6886183"/>
              <a:gd name="connsiteY6848" fmla="*/ 1235594 h 2705233"/>
              <a:gd name="connsiteX6849" fmla="*/ 4963828 w 6886183"/>
              <a:gd name="connsiteY6849" fmla="*/ 1222450 h 2705233"/>
              <a:gd name="connsiteX6850" fmla="*/ 4986022 w 6886183"/>
              <a:gd name="connsiteY6850" fmla="*/ 1210067 h 2705233"/>
              <a:gd name="connsiteX6851" fmla="*/ 5038028 w 6886183"/>
              <a:gd name="connsiteY6851" fmla="*/ 1193685 h 2705233"/>
              <a:gd name="connsiteX6852" fmla="*/ 4429190 w 6886183"/>
              <a:gd name="connsiteY6852" fmla="*/ 1187875 h 2705233"/>
              <a:gd name="connsiteX6853" fmla="*/ 4448240 w 6886183"/>
              <a:gd name="connsiteY6853" fmla="*/ 1190637 h 2705233"/>
              <a:gd name="connsiteX6854" fmla="*/ 4460085 w 6886183"/>
              <a:gd name="connsiteY6854" fmla="*/ 1208316 h 2705233"/>
              <a:gd name="connsiteX6855" fmla="*/ 4458718 w 6886183"/>
              <a:gd name="connsiteY6855" fmla="*/ 1212259 h 2705233"/>
              <a:gd name="connsiteX6856" fmla="*/ 4427571 w 6886183"/>
              <a:gd name="connsiteY6856" fmla="*/ 1244168 h 2705233"/>
              <a:gd name="connsiteX6857" fmla="*/ 4421665 w 6886183"/>
              <a:gd name="connsiteY6857" fmla="*/ 1247882 h 2705233"/>
              <a:gd name="connsiteX6858" fmla="*/ 4415474 w 6886183"/>
              <a:gd name="connsiteY6858" fmla="*/ 1251597 h 2705233"/>
              <a:gd name="connsiteX6859" fmla="*/ 4402425 w 6886183"/>
              <a:gd name="connsiteY6859" fmla="*/ 1258265 h 2705233"/>
              <a:gd name="connsiteX6860" fmla="*/ 4375279 w 6886183"/>
              <a:gd name="connsiteY6860" fmla="*/ 1268266 h 2705233"/>
              <a:gd name="connsiteX6861" fmla="*/ 4318129 w 6886183"/>
              <a:gd name="connsiteY6861" fmla="*/ 1249978 h 2705233"/>
              <a:gd name="connsiteX6862" fmla="*/ 4403282 w 6886183"/>
              <a:gd name="connsiteY6862" fmla="*/ 1191590 h 2705233"/>
              <a:gd name="connsiteX6863" fmla="*/ 4410331 w 6886183"/>
              <a:gd name="connsiteY6863" fmla="*/ 1189970 h 2705233"/>
              <a:gd name="connsiteX6864" fmla="*/ 4416998 w 6886183"/>
              <a:gd name="connsiteY6864" fmla="*/ 1188827 h 2705233"/>
              <a:gd name="connsiteX6865" fmla="*/ 4429190 w 6886183"/>
              <a:gd name="connsiteY6865" fmla="*/ 1187875 h 2705233"/>
              <a:gd name="connsiteX6866" fmla="*/ 1258610 w 6886183"/>
              <a:gd name="connsiteY6866" fmla="*/ 1185674 h 2705233"/>
              <a:gd name="connsiteX6867" fmla="*/ 1278899 w 6886183"/>
              <a:gd name="connsiteY6867" fmla="*/ 1188817 h 2705233"/>
              <a:gd name="connsiteX6868" fmla="*/ 1301949 w 6886183"/>
              <a:gd name="connsiteY6868" fmla="*/ 1196818 h 2705233"/>
              <a:gd name="connsiteX6869" fmla="*/ 1323476 w 6886183"/>
              <a:gd name="connsiteY6869" fmla="*/ 1207963 h 2705233"/>
              <a:gd name="connsiteX6870" fmla="*/ 1339097 w 6886183"/>
              <a:gd name="connsiteY6870" fmla="*/ 1220155 h 2705233"/>
              <a:gd name="connsiteX6871" fmla="*/ 1326048 w 6886183"/>
              <a:gd name="connsiteY6871" fmla="*/ 1253492 h 2705233"/>
              <a:gd name="connsiteX6872" fmla="*/ 1306521 w 6886183"/>
              <a:gd name="connsiteY6872" fmla="*/ 1251777 h 2705233"/>
              <a:gd name="connsiteX6873" fmla="*/ 1295187 w 6886183"/>
              <a:gd name="connsiteY6873" fmla="*/ 1248920 h 2705233"/>
              <a:gd name="connsiteX6874" fmla="*/ 1283661 w 6886183"/>
              <a:gd name="connsiteY6874" fmla="*/ 1244919 h 2705233"/>
              <a:gd name="connsiteX6875" fmla="*/ 1272422 w 6886183"/>
              <a:gd name="connsiteY6875" fmla="*/ 1240062 h 2705233"/>
              <a:gd name="connsiteX6876" fmla="*/ 1267088 w 6886183"/>
              <a:gd name="connsiteY6876" fmla="*/ 1237395 h 2705233"/>
              <a:gd name="connsiteX6877" fmla="*/ 1262040 w 6886183"/>
              <a:gd name="connsiteY6877" fmla="*/ 1234537 h 2705233"/>
              <a:gd name="connsiteX6878" fmla="*/ 1245657 w 6886183"/>
              <a:gd name="connsiteY6878" fmla="*/ 1222155 h 2705233"/>
              <a:gd name="connsiteX6879" fmla="*/ 1237275 w 6886183"/>
              <a:gd name="connsiteY6879" fmla="*/ 1197485 h 2705233"/>
              <a:gd name="connsiteX6880" fmla="*/ 1258610 w 6886183"/>
              <a:gd name="connsiteY6880" fmla="*/ 1185674 h 2705233"/>
              <a:gd name="connsiteX6881" fmla="*/ 5686015 w 6886183"/>
              <a:gd name="connsiteY6881" fmla="*/ 1183205 h 2705233"/>
              <a:gd name="connsiteX6882" fmla="*/ 5697921 w 6886183"/>
              <a:gd name="connsiteY6882" fmla="*/ 1205112 h 2705233"/>
              <a:gd name="connsiteX6883" fmla="*/ 5660583 w 6886183"/>
              <a:gd name="connsiteY6883" fmla="*/ 1218257 h 2705233"/>
              <a:gd name="connsiteX6884" fmla="*/ 5618197 w 6886183"/>
              <a:gd name="connsiteY6884" fmla="*/ 1223686 h 2705233"/>
              <a:gd name="connsiteX6885" fmla="*/ 5601337 w 6886183"/>
              <a:gd name="connsiteY6885" fmla="*/ 1203588 h 2705233"/>
              <a:gd name="connsiteX6886" fmla="*/ 5618673 w 6886183"/>
              <a:gd name="connsiteY6886" fmla="*/ 1195016 h 2705233"/>
              <a:gd name="connsiteX6887" fmla="*/ 5640009 w 6886183"/>
              <a:gd name="connsiteY6887" fmla="*/ 1188444 h 2705233"/>
              <a:gd name="connsiteX6888" fmla="*/ 5663250 w 6886183"/>
              <a:gd name="connsiteY6888" fmla="*/ 1184253 h 2705233"/>
              <a:gd name="connsiteX6889" fmla="*/ 5686015 w 6886183"/>
              <a:gd name="connsiteY6889" fmla="*/ 1183205 h 2705233"/>
              <a:gd name="connsiteX6890" fmla="*/ 5259580 w 6886183"/>
              <a:gd name="connsiteY6890" fmla="*/ 1178825 h 2705233"/>
              <a:gd name="connsiteX6891" fmla="*/ 5282536 w 6886183"/>
              <a:gd name="connsiteY6891" fmla="*/ 1203400 h 2705233"/>
              <a:gd name="connsiteX6892" fmla="*/ 5265200 w 6886183"/>
              <a:gd name="connsiteY6892" fmla="*/ 1214162 h 2705233"/>
              <a:gd name="connsiteX6893" fmla="*/ 5255104 w 6886183"/>
              <a:gd name="connsiteY6893" fmla="*/ 1218925 h 2705233"/>
              <a:gd name="connsiteX6894" fmla="*/ 5244245 w 6886183"/>
              <a:gd name="connsiteY6894" fmla="*/ 1223401 h 2705233"/>
              <a:gd name="connsiteX6895" fmla="*/ 5220909 w 6886183"/>
              <a:gd name="connsiteY6895" fmla="*/ 1230545 h 2705233"/>
              <a:gd name="connsiteX6896" fmla="*/ 5208907 w 6886183"/>
              <a:gd name="connsiteY6896" fmla="*/ 1233022 h 2705233"/>
              <a:gd name="connsiteX6897" fmla="*/ 5196906 w 6886183"/>
              <a:gd name="connsiteY6897" fmla="*/ 1234736 h 2705233"/>
              <a:gd name="connsiteX6898" fmla="*/ 5169950 w 6886183"/>
              <a:gd name="connsiteY6898" fmla="*/ 1213114 h 2705233"/>
              <a:gd name="connsiteX6899" fmla="*/ 5186428 w 6886183"/>
              <a:gd name="connsiteY6899" fmla="*/ 1201019 h 2705233"/>
              <a:gd name="connsiteX6900" fmla="*/ 5196811 w 6886183"/>
              <a:gd name="connsiteY6900" fmla="*/ 1195493 h 2705233"/>
              <a:gd name="connsiteX6901" fmla="*/ 5208336 w 6886183"/>
              <a:gd name="connsiteY6901" fmla="*/ 1190732 h 2705233"/>
              <a:gd name="connsiteX6902" fmla="*/ 5233482 w 6886183"/>
              <a:gd name="connsiteY6902" fmla="*/ 1183016 h 2705233"/>
              <a:gd name="connsiteX6903" fmla="*/ 5259580 w 6886183"/>
              <a:gd name="connsiteY6903" fmla="*/ 1178825 h 2705233"/>
              <a:gd name="connsiteX6904" fmla="*/ 1637612 w 6886183"/>
              <a:gd name="connsiteY6904" fmla="*/ 1178626 h 2705233"/>
              <a:gd name="connsiteX6905" fmla="*/ 1661519 w 6886183"/>
              <a:gd name="connsiteY6905" fmla="*/ 1178626 h 2705233"/>
              <a:gd name="connsiteX6906" fmla="*/ 1685808 w 6886183"/>
              <a:gd name="connsiteY6906" fmla="*/ 1183484 h 2705233"/>
              <a:gd name="connsiteX6907" fmla="*/ 1726385 w 6886183"/>
              <a:gd name="connsiteY6907" fmla="*/ 1205486 h 2705233"/>
              <a:gd name="connsiteX6908" fmla="*/ 1735910 w 6886183"/>
              <a:gd name="connsiteY6908" fmla="*/ 1231014 h 2705233"/>
              <a:gd name="connsiteX6909" fmla="*/ 1726385 w 6886183"/>
              <a:gd name="connsiteY6909" fmla="*/ 1240539 h 2705233"/>
              <a:gd name="connsiteX6910" fmla="*/ 1708097 w 6886183"/>
              <a:gd name="connsiteY6910" fmla="*/ 1245968 h 2705233"/>
              <a:gd name="connsiteX6911" fmla="*/ 1684570 w 6886183"/>
              <a:gd name="connsiteY6911" fmla="*/ 1246539 h 2705233"/>
              <a:gd name="connsiteX6912" fmla="*/ 1660567 w 6886183"/>
              <a:gd name="connsiteY6912" fmla="*/ 1241967 h 2705233"/>
              <a:gd name="connsiteX6913" fmla="*/ 1620943 w 6886183"/>
              <a:gd name="connsiteY6913" fmla="*/ 1219774 h 2705233"/>
              <a:gd name="connsiteX6914" fmla="*/ 1637612 w 6886183"/>
              <a:gd name="connsiteY6914" fmla="*/ 1178626 h 2705233"/>
              <a:gd name="connsiteX6915" fmla="*/ 6288661 w 6886183"/>
              <a:gd name="connsiteY6915" fmla="*/ 1177961 h 2705233"/>
              <a:gd name="connsiteX6916" fmla="*/ 6307711 w 6886183"/>
              <a:gd name="connsiteY6916" fmla="*/ 1177961 h 2705233"/>
              <a:gd name="connsiteX6917" fmla="*/ 6325904 w 6886183"/>
              <a:gd name="connsiteY6917" fmla="*/ 1181104 h 2705233"/>
              <a:gd name="connsiteX6918" fmla="*/ 6338858 w 6886183"/>
              <a:gd name="connsiteY6918" fmla="*/ 1185105 h 2705233"/>
              <a:gd name="connsiteX6919" fmla="*/ 6343144 w 6886183"/>
              <a:gd name="connsiteY6919" fmla="*/ 1189486 h 2705233"/>
              <a:gd name="connsiteX6920" fmla="*/ 6325999 w 6886183"/>
              <a:gd name="connsiteY6920" fmla="*/ 1197964 h 2705233"/>
              <a:gd name="connsiteX6921" fmla="*/ 6289709 w 6886183"/>
              <a:gd name="connsiteY6921" fmla="*/ 1202059 h 2705233"/>
              <a:gd name="connsiteX6922" fmla="*/ 6271230 w 6886183"/>
              <a:gd name="connsiteY6922" fmla="*/ 1201297 h 2705233"/>
              <a:gd name="connsiteX6923" fmla="*/ 6254181 w 6886183"/>
              <a:gd name="connsiteY6923" fmla="*/ 1198916 h 2705233"/>
              <a:gd name="connsiteX6924" fmla="*/ 6252752 w 6886183"/>
              <a:gd name="connsiteY6924" fmla="*/ 1183200 h 2705233"/>
              <a:gd name="connsiteX6925" fmla="*/ 6288661 w 6886183"/>
              <a:gd name="connsiteY6925" fmla="*/ 1177961 h 2705233"/>
              <a:gd name="connsiteX6926" fmla="*/ 5479703 w 6886183"/>
              <a:gd name="connsiteY6926" fmla="*/ 1171871 h 2705233"/>
              <a:gd name="connsiteX6927" fmla="*/ 5497800 w 6886183"/>
              <a:gd name="connsiteY6927" fmla="*/ 1195303 h 2705233"/>
              <a:gd name="connsiteX6928" fmla="*/ 5479703 w 6886183"/>
              <a:gd name="connsiteY6928" fmla="*/ 1204828 h 2705233"/>
              <a:gd name="connsiteX6929" fmla="*/ 5468368 w 6886183"/>
              <a:gd name="connsiteY6929" fmla="*/ 1209114 h 2705233"/>
              <a:gd name="connsiteX6930" fmla="*/ 5456081 w 6886183"/>
              <a:gd name="connsiteY6930" fmla="*/ 1213209 h 2705233"/>
              <a:gd name="connsiteX6931" fmla="*/ 5430935 w 6886183"/>
              <a:gd name="connsiteY6931" fmla="*/ 1219401 h 2705233"/>
              <a:gd name="connsiteX6932" fmla="*/ 5418838 w 6886183"/>
              <a:gd name="connsiteY6932" fmla="*/ 1221211 h 2705233"/>
              <a:gd name="connsiteX6933" fmla="*/ 5407789 w 6886183"/>
              <a:gd name="connsiteY6933" fmla="*/ 1222163 h 2705233"/>
              <a:gd name="connsiteX6934" fmla="*/ 5387882 w 6886183"/>
              <a:gd name="connsiteY6934" fmla="*/ 1200160 h 2705233"/>
              <a:gd name="connsiteX6935" fmla="*/ 5405598 w 6886183"/>
              <a:gd name="connsiteY6935" fmla="*/ 1189873 h 2705233"/>
              <a:gd name="connsiteX6936" fmla="*/ 5417028 w 6886183"/>
              <a:gd name="connsiteY6936" fmla="*/ 1185111 h 2705233"/>
              <a:gd name="connsiteX6937" fmla="*/ 5429506 w 6886183"/>
              <a:gd name="connsiteY6937" fmla="*/ 1180920 h 2705233"/>
              <a:gd name="connsiteX6938" fmla="*/ 5455509 w 6886183"/>
              <a:gd name="connsiteY6938" fmla="*/ 1174443 h 2705233"/>
              <a:gd name="connsiteX6939" fmla="*/ 5468082 w 6886183"/>
              <a:gd name="connsiteY6939" fmla="*/ 1172538 h 2705233"/>
              <a:gd name="connsiteX6940" fmla="*/ 5479703 w 6886183"/>
              <a:gd name="connsiteY6940" fmla="*/ 1171871 h 2705233"/>
              <a:gd name="connsiteX6941" fmla="*/ 3910105 w 6886183"/>
              <a:gd name="connsiteY6941" fmla="*/ 1170437 h 2705233"/>
              <a:gd name="connsiteX6942" fmla="*/ 3953798 w 6886183"/>
              <a:gd name="connsiteY6942" fmla="*/ 1194065 h 2705233"/>
              <a:gd name="connsiteX6943" fmla="*/ 3881122 w 6886183"/>
              <a:gd name="connsiteY6943" fmla="*/ 1251786 h 2705233"/>
              <a:gd name="connsiteX6944" fmla="*/ 3809209 w 6886183"/>
              <a:gd name="connsiteY6944" fmla="*/ 1234451 h 2705233"/>
              <a:gd name="connsiteX6945" fmla="*/ 3881884 w 6886183"/>
              <a:gd name="connsiteY6945" fmla="*/ 1175015 h 2705233"/>
              <a:gd name="connsiteX6946" fmla="*/ 3910105 w 6886183"/>
              <a:gd name="connsiteY6946" fmla="*/ 1170437 h 2705233"/>
              <a:gd name="connsiteX6947" fmla="*/ 939900 w 6886183"/>
              <a:gd name="connsiteY6947" fmla="*/ 1157954 h 2705233"/>
              <a:gd name="connsiteX6948" fmla="*/ 942757 w 6886183"/>
              <a:gd name="connsiteY6948" fmla="*/ 1158717 h 2705233"/>
              <a:gd name="connsiteX6949" fmla="*/ 945805 w 6886183"/>
              <a:gd name="connsiteY6949" fmla="*/ 1159669 h 2705233"/>
              <a:gd name="connsiteX6950" fmla="*/ 951711 w 6886183"/>
              <a:gd name="connsiteY6950" fmla="*/ 1162336 h 2705233"/>
              <a:gd name="connsiteX6951" fmla="*/ 954664 w 6886183"/>
              <a:gd name="connsiteY6951" fmla="*/ 1164146 h 2705233"/>
              <a:gd name="connsiteX6952" fmla="*/ 957711 w 6886183"/>
              <a:gd name="connsiteY6952" fmla="*/ 1166050 h 2705233"/>
              <a:gd name="connsiteX6953" fmla="*/ 963807 w 6886183"/>
              <a:gd name="connsiteY6953" fmla="*/ 1170623 h 2705233"/>
              <a:gd name="connsiteX6954" fmla="*/ 969618 w 6886183"/>
              <a:gd name="connsiteY6954" fmla="*/ 1175957 h 2705233"/>
              <a:gd name="connsiteX6955" fmla="*/ 975523 w 6886183"/>
              <a:gd name="connsiteY6955" fmla="*/ 1182053 h 2705233"/>
              <a:gd name="connsiteX6956" fmla="*/ 985810 w 6886183"/>
              <a:gd name="connsiteY6956" fmla="*/ 1196055 h 2705233"/>
              <a:gd name="connsiteX6957" fmla="*/ 992764 w 6886183"/>
              <a:gd name="connsiteY6957" fmla="*/ 1218248 h 2705233"/>
              <a:gd name="connsiteX6958" fmla="*/ 987239 w 6886183"/>
              <a:gd name="connsiteY6958" fmla="*/ 1223391 h 2705233"/>
              <a:gd name="connsiteX6959" fmla="*/ 982286 w 6886183"/>
              <a:gd name="connsiteY6959" fmla="*/ 1224343 h 2705233"/>
              <a:gd name="connsiteX6960" fmla="*/ 976095 w 6886183"/>
              <a:gd name="connsiteY6960" fmla="*/ 1224343 h 2705233"/>
              <a:gd name="connsiteX6961" fmla="*/ 969332 w 6886183"/>
              <a:gd name="connsiteY6961" fmla="*/ 1222820 h 2705233"/>
              <a:gd name="connsiteX6962" fmla="*/ 965903 w 6886183"/>
              <a:gd name="connsiteY6962" fmla="*/ 1221677 h 2705233"/>
              <a:gd name="connsiteX6963" fmla="*/ 964093 w 6886183"/>
              <a:gd name="connsiteY6963" fmla="*/ 1221010 h 2705233"/>
              <a:gd name="connsiteX6964" fmla="*/ 962474 w 6886183"/>
              <a:gd name="connsiteY6964" fmla="*/ 1220248 h 2705233"/>
              <a:gd name="connsiteX6965" fmla="*/ 949710 w 6886183"/>
              <a:gd name="connsiteY6965" fmla="*/ 1212247 h 2705233"/>
              <a:gd name="connsiteX6966" fmla="*/ 948091 w 6886183"/>
              <a:gd name="connsiteY6966" fmla="*/ 1211009 h 2705233"/>
              <a:gd name="connsiteX6967" fmla="*/ 946662 w 6886183"/>
              <a:gd name="connsiteY6967" fmla="*/ 1209675 h 2705233"/>
              <a:gd name="connsiteX6968" fmla="*/ 943900 w 6886183"/>
              <a:gd name="connsiteY6968" fmla="*/ 1206913 h 2705233"/>
              <a:gd name="connsiteX6969" fmla="*/ 938661 w 6886183"/>
              <a:gd name="connsiteY6969" fmla="*/ 1200817 h 2705233"/>
              <a:gd name="connsiteX6970" fmla="*/ 933899 w 6886183"/>
              <a:gd name="connsiteY6970" fmla="*/ 1194150 h 2705233"/>
              <a:gd name="connsiteX6971" fmla="*/ 930089 w 6886183"/>
              <a:gd name="connsiteY6971" fmla="*/ 1186434 h 2705233"/>
              <a:gd name="connsiteX6972" fmla="*/ 925898 w 6886183"/>
              <a:gd name="connsiteY6972" fmla="*/ 1163384 h 2705233"/>
              <a:gd name="connsiteX6973" fmla="*/ 939900 w 6886183"/>
              <a:gd name="connsiteY6973" fmla="*/ 1157954 h 2705233"/>
              <a:gd name="connsiteX6974" fmla="*/ 3238217 w 6886183"/>
              <a:gd name="connsiteY6974" fmla="*/ 1144153 h 2705233"/>
              <a:gd name="connsiteX6975" fmla="*/ 3319079 w 6886183"/>
              <a:gd name="connsiteY6975" fmla="*/ 1167490 h 2705233"/>
              <a:gd name="connsiteX6976" fmla="*/ 3255553 w 6886183"/>
              <a:gd name="connsiteY6976" fmla="*/ 1223306 h 2705233"/>
              <a:gd name="connsiteX6977" fmla="*/ 3177256 w 6886183"/>
              <a:gd name="connsiteY6977" fmla="*/ 1199398 h 2705233"/>
              <a:gd name="connsiteX6978" fmla="*/ 3190593 w 6886183"/>
              <a:gd name="connsiteY6978" fmla="*/ 1167108 h 2705233"/>
              <a:gd name="connsiteX6979" fmla="*/ 3238217 w 6886183"/>
              <a:gd name="connsiteY6979" fmla="*/ 1144153 h 2705233"/>
              <a:gd name="connsiteX6980" fmla="*/ 6558218 w 6886183"/>
              <a:gd name="connsiteY6980" fmla="*/ 1136621 h 2705233"/>
              <a:gd name="connsiteX6981" fmla="*/ 6594032 w 6886183"/>
              <a:gd name="connsiteY6981" fmla="*/ 1136621 h 2705233"/>
              <a:gd name="connsiteX6982" fmla="*/ 6613082 w 6886183"/>
              <a:gd name="connsiteY6982" fmla="*/ 1139097 h 2705233"/>
              <a:gd name="connsiteX6983" fmla="*/ 6628608 w 6886183"/>
              <a:gd name="connsiteY6983" fmla="*/ 1143003 h 2705233"/>
              <a:gd name="connsiteX6984" fmla="*/ 6625369 w 6886183"/>
              <a:gd name="connsiteY6984" fmla="*/ 1158338 h 2705233"/>
              <a:gd name="connsiteX6985" fmla="*/ 6609748 w 6886183"/>
              <a:gd name="connsiteY6985" fmla="*/ 1159005 h 2705233"/>
              <a:gd name="connsiteX6986" fmla="*/ 6590698 w 6886183"/>
              <a:gd name="connsiteY6986" fmla="*/ 1158146 h 2705233"/>
              <a:gd name="connsiteX6987" fmla="*/ 6571648 w 6886183"/>
              <a:gd name="connsiteY6987" fmla="*/ 1156052 h 2705233"/>
              <a:gd name="connsiteX6988" fmla="*/ 6555932 w 6886183"/>
              <a:gd name="connsiteY6988" fmla="*/ 1152909 h 2705233"/>
              <a:gd name="connsiteX6989" fmla="*/ 6542407 w 6886183"/>
              <a:gd name="connsiteY6989" fmla="*/ 1143860 h 2705233"/>
              <a:gd name="connsiteX6990" fmla="*/ 6558218 w 6886183"/>
              <a:gd name="connsiteY6990" fmla="*/ 1136621 h 2705233"/>
              <a:gd name="connsiteX6991" fmla="*/ 2051953 w 6886183"/>
              <a:gd name="connsiteY6991" fmla="*/ 1133479 h 2705233"/>
              <a:gd name="connsiteX6992" fmla="*/ 2076622 w 6886183"/>
              <a:gd name="connsiteY6992" fmla="*/ 1137575 h 2705233"/>
              <a:gd name="connsiteX6993" fmla="*/ 2114722 w 6886183"/>
              <a:gd name="connsiteY6993" fmla="*/ 1160816 h 2705233"/>
              <a:gd name="connsiteX6994" fmla="*/ 2119961 w 6886183"/>
              <a:gd name="connsiteY6994" fmla="*/ 1186153 h 2705233"/>
              <a:gd name="connsiteX6995" fmla="*/ 2089577 w 6886183"/>
              <a:gd name="connsiteY6995" fmla="*/ 1202059 h 2705233"/>
              <a:gd name="connsiteX6996" fmla="*/ 2064049 w 6886183"/>
              <a:gd name="connsiteY6996" fmla="*/ 1204441 h 2705233"/>
              <a:gd name="connsiteX6997" fmla="*/ 2039761 w 6886183"/>
              <a:gd name="connsiteY6997" fmla="*/ 1201297 h 2705233"/>
              <a:gd name="connsiteX6998" fmla="*/ 2000138 w 6886183"/>
              <a:gd name="connsiteY6998" fmla="*/ 1180152 h 2705233"/>
              <a:gd name="connsiteX6999" fmla="*/ 1991661 w 6886183"/>
              <a:gd name="connsiteY6999" fmla="*/ 1151577 h 2705233"/>
              <a:gd name="connsiteX7000" fmla="*/ 2003566 w 6886183"/>
              <a:gd name="connsiteY7000" fmla="*/ 1141480 h 2705233"/>
              <a:gd name="connsiteX7001" fmla="*/ 2025664 w 6886183"/>
              <a:gd name="connsiteY7001" fmla="*/ 1134908 h 2705233"/>
              <a:gd name="connsiteX7002" fmla="*/ 2051953 w 6886183"/>
              <a:gd name="connsiteY7002" fmla="*/ 1133479 h 2705233"/>
              <a:gd name="connsiteX7003" fmla="*/ 4685604 w 6886183"/>
              <a:gd name="connsiteY7003" fmla="*/ 1130821 h 2705233"/>
              <a:gd name="connsiteX7004" fmla="*/ 4702939 w 6886183"/>
              <a:gd name="connsiteY7004" fmla="*/ 1134059 h 2705233"/>
              <a:gd name="connsiteX7005" fmla="*/ 4705416 w 6886183"/>
              <a:gd name="connsiteY7005" fmla="*/ 1157870 h 2705233"/>
              <a:gd name="connsiteX7006" fmla="*/ 4692271 w 6886183"/>
              <a:gd name="connsiteY7006" fmla="*/ 1172921 h 2705233"/>
              <a:gd name="connsiteX7007" fmla="*/ 4672745 w 6886183"/>
              <a:gd name="connsiteY7007" fmla="*/ 1186922 h 2705233"/>
              <a:gd name="connsiteX7008" fmla="*/ 4648456 w 6886183"/>
              <a:gd name="connsiteY7008" fmla="*/ 1198447 h 2705233"/>
              <a:gd name="connsiteX7009" fmla="*/ 4621310 w 6886183"/>
              <a:gd name="connsiteY7009" fmla="*/ 1206829 h 2705233"/>
              <a:gd name="connsiteX7010" fmla="*/ 4575209 w 6886183"/>
              <a:gd name="connsiteY7010" fmla="*/ 1186636 h 2705233"/>
              <a:gd name="connsiteX7011" fmla="*/ 4605689 w 6886183"/>
              <a:gd name="connsiteY7011" fmla="*/ 1156062 h 2705233"/>
              <a:gd name="connsiteX7012" fmla="*/ 4617405 w 6886183"/>
              <a:gd name="connsiteY7012" fmla="*/ 1149393 h 2705233"/>
              <a:gd name="connsiteX7013" fmla="*/ 4630359 w 6886183"/>
              <a:gd name="connsiteY7013" fmla="*/ 1143584 h 2705233"/>
              <a:gd name="connsiteX7014" fmla="*/ 4658934 w 6886183"/>
              <a:gd name="connsiteY7014" fmla="*/ 1134535 h 2705233"/>
              <a:gd name="connsiteX7015" fmla="*/ 4685604 w 6886183"/>
              <a:gd name="connsiteY7015" fmla="*/ 1130821 h 2705233"/>
              <a:gd name="connsiteX7016" fmla="*/ 6097209 w 6886183"/>
              <a:gd name="connsiteY7016" fmla="*/ 1125767 h 2705233"/>
              <a:gd name="connsiteX7017" fmla="*/ 6117307 w 6886183"/>
              <a:gd name="connsiteY7017" fmla="*/ 1127196 h 2705233"/>
              <a:gd name="connsiteX7018" fmla="*/ 6119212 w 6886183"/>
              <a:gd name="connsiteY7018" fmla="*/ 1147770 h 2705233"/>
              <a:gd name="connsiteX7019" fmla="*/ 6101686 w 6886183"/>
              <a:gd name="connsiteY7019" fmla="*/ 1152056 h 2705233"/>
              <a:gd name="connsiteX7020" fmla="*/ 6092161 w 6886183"/>
              <a:gd name="connsiteY7020" fmla="*/ 1153675 h 2705233"/>
              <a:gd name="connsiteX7021" fmla="*/ 6081683 w 6886183"/>
              <a:gd name="connsiteY7021" fmla="*/ 1155009 h 2705233"/>
              <a:gd name="connsiteX7022" fmla="*/ 6061014 w 6886183"/>
              <a:gd name="connsiteY7022" fmla="*/ 1156152 h 2705233"/>
              <a:gd name="connsiteX7023" fmla="*/ 6042440 w 6886183"/>
              <a:gd name="connsiteY7023" fmla="*/ 1155485 h 2705233"/>
              <a:gd name="connsiteX7024" fmla="*/ 6034439 w 6886183"/>
              <a:gd name="connsiteY7024" fmla="*/ 1135768 h 2705233"/>
              <a:gd name="connsiteX7025" fmla="*/ 6074539 w 6886183"/>
              <a:gd name="connsiteY7025" fmla="*/ 1127005 h 2705233"/>
              <a:gd name="connsiteX7026" fmla="*/ 6097209 w 6886183"/>
              <a:gd name="connsiteY7026" fmla="*/ 1125767 h 2705233"/>
              <a:gd name="connsiteX7027" fmla="*/ 4205142 w 6886183"/>
              <a:gd name="connsiteY7027" fmla="*/ 1096743 h 2705233"/>
              <a:gd name="connsiteX7028" fmla="*/ 4240691 w 6886183"/>
              <a:gd name="connsiteY7028" fmla="*/ 1123104 h 2705233"/>
              <a:gd name="connsiteX7029" fmla="*/ 4164491 w 6886183"/>
              <a:gd name="connsiteY7029" fmla="*/ 1180254 h 2705233"/>
              <a:gd name="connsiteX7030" fmla="*/ 4098673 w 6886183"/>
              <a:gd name="connsiteY7030" fmla="*/ 1162061 h 2705233"/>
              <a:gd name="connsiteX7031" fmla="*/ 4178112 w 6886183"/>
              <a:gd name="connsiteY7031" fmla="*/ 1100815 h 2705233"/>
              <a:gd name="connsiteX7032" fmla="*/ 4205142 w 6886183"/>
              <a:gd name="connsiteY7032" fmla="*/ 1096743 h 2705233"/>
              <a:gd name="connsiteX7033" fmla="*/ 4910203 w 6886183"/>
              <a:gd name="connsiteY7033" fmla="*/ 1096531 h 2705233"/>
              <a:gd name="connsiteX7034" fmla="*/ 4951065 w 6886183"/>
              <a:gd name="connsiteY7034" fmla="*/ 1097959 h 2705233"/>
              <a:gd name="connsiteX7035" fmla="*/ 4951065 w 6886183"/>
              <a:gd name="connsiteY7035" fmla="*/ 1119961 h 2705233"/>
              <a:gd name="connsiteX7036" fmla="*/ 4937254 w 6886183"/>
              <a:gd name="connsiteY7036" fmla="*/ 1133487 h 2705233"/>
              <a:gd name="connsiteX7037" fmla="*/ 4917156 w 6886183"/>
              <a:gd name="connsiteY7037" fmla="*/ 1146155 h 2705233"/>
              <a:gd name="connsiteX7038" fmla="*/ 4893248 w 6886183"/>
              <a:gd name="connsiteY7038" fmla="*/ 1156633 h 2705233"/>
              <a:gd name="connsiteX7039" fmla="*/ 4880390 w 6886183"/>
              <a:gd name="connsiteY7039" fmla="*/ 1160824 h 2705233"/>
              <a:gd name="connsiteX7040" fmla="*/ 4867340 w 6886183"/>
              <a:gd name="connsiteY7040" fmla="*/ 1164157 h 2705233"/>
              <a:gd name="connsiteX7041" fmla="*/ 4826478 w 6886183"/>
              <a:gd name="connsiteY7041" fmla="*/ 1164157 h 2705233"/>
              <a:gd name="connsiteX7042" fmla="*/ 4821906 w 6886183"/>
              <a:gd name="connsiteY7042" fmla="*/ 1144441 h 2705233"/>
              <a:gd name="connsiteX7043" fmla="*/ 4855815 w 6886183"/>
              <a:gd name="connsiteY7043" fmla="*/ 1115866 h 2705233"/>
              <a:gd name="connsiteX7044" fmla="*/ 4881628 w 6886183"/>
              <a:gd name="connsiteY7044" fmla="*/ 1104150 h 2705233"/>
              <a:gd name="connsiteX7045" fmla="*/ 4910203 w 6886183"/>
              <a:gd name="connsiteY7045" fmla="*/ 1096531 h 2705233"/>
              <a:gd name="connsiteX7046" fmla="*/ 5870799 w 6886183"/>
              <a:gd name="connsiteY7046" fmla="*/ 1090430 h 2705233"/>
              <a:gd name="connsiteX7047" fmla="*/ 5891278 w 6886183"/>
              <a:gd name="connsiteY7047" fmla="*/ 1090620 h 2705233"/>
              <a:gd name="connsiteX7048" fmla="*/ 5905947 w 6886183"/>
              <a:gd name="connsiteY7048" fmla="*/ 1094240 h 2705233"/>
              <a:gd name="connsiteX7049" fmla="*/ 5911376 w 6886183"/>
              <a:gd name="connsiteY7049" fmla="*/ 1100336 h 2705233"/>
              <a:gd name="connsiteX7050" fmla="*/ 5894517 w 6886183"/>
              <a:gd name="connsiteY7050" fmla="*/ 1115004 h 2705233"/>
              <a:gd name="connsiteX7051" fmla="*/ 5852035 w 6886183"/>
              <a:gd name="connsiteY7051" fmla="*/ 1125958 h 2705233"/>
              <a:gd name="connsiteX7052" fmla="*/ 5809458 w 6886183"/>
              <a:gd name="connsiteY7052" fmla="*/ 1128816 h 2705233"/>
              <a:gd name="connsiteX7053" fmla="*/ 5801172 w 6886183"/>
              <a:gd name="connsiteY7053" fmla="*/ 1127673 h 2705233"/>
              <a:gd name="connsiteX7054" fmla="*/ 5795076 w 6886183"/>
              <a:gd name="connsiteY7054" fmla="*/ 1125768 h 2705233"/>
              <a:gd name="connsiteX7055" fmla="*/ 5789170 w 6886183"/>
              <a:gd name="connsiteY7055" fmla="*/ 1120148 h 2705233"/>
              <a:gd name="connsiteX7056" fmla="*/ 5804124 w 6886183"/>
              <a:gd name="connsiteY7056" fmla="*/ 1105099 h 2705233"/>
              <a:gd name="connsiteX7057" fmla="*/ 5847082 w 6886183"/>
              <a:gd name="connsiteY7057" fmla="*/ 1093097 h 2705233"/>
              <a:gd name="connsiteX7058" fmla="*/ 5853083 w 6886183"/>
              <a:gd name="connsiteY7058" fmla="*/ 1092145 h 2705233"/>
              <a:gd name="connsiteX7059" fmla="*/ 5859084 w 6886183"/>
              <a:gd name="connsiteY7059" fmla="*/ 1091479 h 2705233"/>
              <a:gd name="connsiteX7060" fmla="*/ 5870799 w 6886183"/>
              <a:gd name="connsiteY7060" fmla="*/ 1090430 h 2705233"/>
              <a:gd name="connsiteX7061" fmla="*/ 2410953 w 6886183"/>
              <a:gd name="connsiteY7061" fmla="*/ 1071759 h 2705233"/>
              <a:gd name="connsiteX7062" fmla="*/ 2503250 w 6886183"/>
              <a:gd name="connsiteY7062" fmla="*/ 1097476 h 2705233"/>
              <a:gd name="connsiteX7063" fmla="*/ 2465722 w 6886183"/>
              <a:gd name="connsiteY7063" fmla="*/ 1147863 h 2705233"/>
              <a:gd name="connsiteX7064" fmla="*/ 2413334 w 6886183"/>
              <a:gd name="connsiteY7064" fmla="*/ 1145101 h 2705233"/>
              <a:gd name="connsiteX7065" fmla="*/ 2374472 w 6886183"/>
              <a:gd name="connsiteY7065" fmla="*/ 1123384 h 2705233"/>
              <a:gd name="connsiteX7066" fmla="*/ 2410953 w 6886183"/>
              <a:gd name="connsiteY7066" fmla="*/ 1071759 h 2705233"/>
              <a:gd name="connsiteX7067" fmla="*/ 5164044 w 6886183"/>
              <a:gd name="connsiteY7067" fmla="*/ 1068049 h 2705233"/>
              <a:gd name="connsiteX7068" fmla="*/ 5186047 w 6886183"/>
              <a:gd name="connsiteY7068" fmla="*/ 1068049 h 2705233"/>
              <a:gd name="connsiteX7069" fmla="*/ 5199477 w 6886183"/>
              <a:gd name="connsiteY7069" fmla="*/ 1073383 h 2705233"/>
              <a:gd name="connsiteX7070" fmla="*/ 5195191 w 6886183"/>
              <a:gd name="connsiteY7070" fmla="*/ 1094624 h 2705233"/>
              <a:gd name="connsiteX7071" fmla="*/ 5155281 w 6886183"/>
              <a:gd name="connsiteY7071" fmla="*/ 1118150 h 2705233"/>
              <a:gd name="connsiteX7072" fmla="*/ 5129849 w 6886183"/>
              <a:gd name="connsiteY7072" fmla="*/ 1127104 h 2705233"/>
              <a:gd name="connsiteX7073" fmla="*/ 5105179 w 6886183"/>
              <a:gd name="connsiteY7073" fmla="*/ 1132438 h 2705233"/>
              <a:gd name="connsiteX7074" fmla="*/ 5070508 w 6886183"/>
              <a:gd name="connsiteY7074" fmla="*/ 1128342 h 2705233"/>
              <a:gd name="connsiteX7075" fmla="*/ 5066032 w 6886183"/>
              <a:gd name="connsiteY7075" fmla="*/ 1119674 h 2705233"/>
              <a:gd name="connsiteX7076" fmla="*/ 5072318 w 6886183"/>
              <a:gd name="connsiteY7076" fmla="*/ 1107863 h 2705233"/>
              <a:gd name="connsiteX7077" fmla="*/ 5111752 w 6886183"/>
              <a:gd name="connsiteY7077" fmla="*/ 1083003 h 2705233"/>
              <a:gd name="connsiteX7078" fmla="*/ 5124706 w 6886183"/>
              <a:gd name="connsiteY7078" fmla="*/ 1077764 h 2705233"/>
              <a:gd name="connsiteX7079" fmla="*/ 5138041 w 6886183"/>
              <a:gd name="connsiteY7079" fmla="*/ 1073478 h 2705233"/>
              <a:gd name="connsiteX7080" fmla="*/ 5164044 w 6886183"/>
              <a:gd name="connsiteY7080" fmla="*/ 1068049 h 2705233"/>
              <a:gd name="connsiteX7081" fmla="*/ 5657629 w 6886183"/>
              <a:gd name="connsiteY7081" fmla="*/ 1066047 h 2705233"/>
              <a:gd name="connsiteX7082" fmla="*/ 5677251 w 6886183"/>
              <a:gd name="connsiteY7082" fmla="*/ 1068048 h 2705233"/>
              <a:gd name="connsiteX7083" fmla="*/ 5686776 w 6886183"/>
              <a:gd name="connsiteY7083" fmla="*/ 1073667 h 2705233"/>
              <a:gd name="connsiteX7084" fmla="*/ 5673727 w 6886183"/>
              <a:gd name="connsiteY7084" fmla="*/ 1091384 h 2705233"/>
              <a:gd name="connsiteX7085" fmla="*/ 5664868 w 6886183"/>
              <a:gd name="connsiteY7085" fmla="*/ 1095956 h 2705233"/>
              <a:gd name="connsiteX7086" fmla="*/ 5654772 w 6886183"/>
              <a:gd name="connsiteY7086" fmla="*/ 1100242 h 2705233"/>
              <a:gd name="connsiteX7087" fmla="*/ 5631912 w 6886183"/>
              <a:gd name="connsiteY7087" fmla="*/ 1107386 h 2705233"/>
              <a:gd name="connsiteX7088" fmla="*/ 5584287 w 6886183"/>
              <a:gd name="connsiteY7088" fmla="*/ 1113863 h 2705233"/>
              <a:gd name="connsiteX7089" fmla="*/ 5566761 w 6886183"/>
              <a:gd name="connsiteY7089" fmla="*/ 1112148 h 2705233"/>
              <a:gd name="connsiteX7090" fmla="*/ 5557236 w 6886183"/>
              <a:gd name="connsiteY7090" fmla="*/ 1107386 h 2705233"/>
              <a:gd name="connsiteX7091" fmla="*/ 5567428 w 6886183"/>
              <a:gd name="connsiteY7091" fmla="*/ 1090622 h 2705233"/>
              <a:gd name="connsiteX7092" fmla="*/ 5608290 w 6886183"/>
              <a:gd name="connsiteY7092" fmla="*/ 1073191 h 2705233"/>
              <a:gd name="connsiteX7093" fmla="*/ 5633245 w 6886183"/>
              <a:gd name="connsiteY7093" fmla="*/ 1067952 h 2705233"/>
              <a:gd name="connsiteX7094" fmla="*/ 5657629 w 6886183"/>
              <a:gd name="connsiteY7094" fmla="*/ 1066047 h 2705233"/>
              <a:gd name="connsiteX7095" fmla="*/ 3596853 w 6886183"/>
              <a:gd name="connsiteY7095" fmla="*/ 1064475 h 2705233"/>
              <a:gd name="connsiteX7096" fmla="*/ 3646427 w 6886183"/>
              <a:gd name="connsiteY7096" fmla="*/ 1091384 h 2705233"/>
              <a:gd name="connsiteX7097" fmla="*/ 3582990 w 6886183"/>
              <a:gd name="connsiteY7097" fmla="*/ 1147963 h 2705233"/>
              <a:gd name="connsiteX7098" fmla="*/ 3507457 w 6886183"/>
              <a:gd name="connsiteY7098" fmla="*/ 1128436 h 2705233"/>
              <a:gd name="connsiteX7099" fmla="*/ 3567369 w 6886183"/>
              <a:gd name="connsiteY7099" fmla="*/ 1069477 h 2705233"/>
              <a:gd name="connsiteX7100" fmla="*/ 3596853 w 6886183"/>
              <a:gd name="connsiteY7100" fmla="*/ 1064475 h 2705233"/>
              <a:gd name="connsiteX7101" fmla="*/ 5408075 w 6886183"/>
              <a:gd name="connsiteY7101" fmla="*/ 1060905 h 2705233"/>
              <a:gd name="connsiteX7102" fmla="*/ 5433602 w 6886183"/>
              <a:gd name="connsiteY7102" fmla="*/ 1085384 h 2705233"/>
              <a:gd name="connsiteX7103" fmla="*/ 5393026 w 6886183"/>
              <a:gd name="connsiteY7103" fmla="*/ 1106435 h 2705233"/>
              <a:gd name="connsiteX7104" fmla="*/ 5341400 w 6886183"/>
              <a:gd name="connsiteY7104" fmla="*/ 1118340 h 2705233"/>
              <a:gd name="connsiteX7105" fmla="*/ 5313301 w 6886183"/>
              <a:gd name="connsiteY7105" fmla="*/ 1094814 h 2705233"/>
              <a:gd name="connsiteX7106" fmla="*/ 5354830 w 6886183"/>
              <a:gd name="connsiteY7106" fmla="*/ 1072335 h 2705233"/>
              <a:gd name="connsiteX7107" fmla="*/ 5408075 w 6886183"/>
              <a:gd name="connsiteY7107" fmla="*/ 1060905 h 2705233"/>
              <a:gd name="connsiteX7108" fmla="*/ 6338477 w 6886183"/>
              <a:gd name="connsiteY7108" fmla="*/ 1054993 h 2705233"/>
              <a:gd name="connsiteX7109" fmla="*/ 6359527 w 6886183"/>
              <a:gd name="connsiteY7109" fmla="*/ 1055469 h 2705233"/>
              <a:gd name="connsiteX7110" fmla="*/ 6369624 w 6886183"/>
              <a:gd name="connsiteY7110" fmla="*/ 1056517 h 2705233"/>
              <a:gd name="connsiteX7111" fmla="*/ 6379149 w 6886183"/>
              <a:gd name="connsiteY7111" fmla="*/ 1058232 h 2705233"/>
              <a:gd name="connsiteX7112" fmla="*/ 6381149 w 6886183"/>
              <a:gd name="connsiteY7112" fmla="*/ 1077282 h 2705233"/>
              <a:gd name="connsiteX7113" fmla="*/ 6362671 w 6886183"/>
              <a:gd name="connsiteY7113" fmla="*/ 1080615 h 2705233"/>
              <a:gd name="connsiteX7114" fmla="*/ 6342192 w 6886183"/>
              <a:gd name="connsiteY7114" fmla="*/ 1082139 h 2705233"/>
              <a:gd name="connsiteX7115" fmla="*/ 6302854 w 6886183"/>
              <a:gd name="connsiteY7115" fmla="*/ 1079472 h 2705233"/>
              <a:gd name="connsiteX7116" fmla="*/ 6295138 w 6886183"/>
              <a:gd name="connsiteY7116" fmla="*/ 1077663 h 2705233"/>
              <a:gd name="connsiteX7117" fmla="*/ 6289423 w 6886183"/>
              <a:gd name="connsiteY7117" fmla="*/ 1075567 h 2705233"/>
              <a:gd name="connsiteX7118" fmla="*/ 6284280 w 6886183"/>
              <a:gd name="connsiteY7118" fmla="*/ 1070900 h 2705233"/>
              <a:gd name="connsiteX7119" fmla="*/ 6299329 w 6886183"/>
              <a:gd name="connsiteY7119" fmla="*/ 1060708 h 2705233"/>
              <a:gd name="connsiteX7120" fmla="*/ 6338477 w 6886183"/>
              <a:gd name="connsiteY7120" fmla="*/ 1054993 h 2705233"/>
              <a:gd name="connsiteX7121" fmla="*/ 4467481 w 6886183"/>
              <a:gd name="connsiteY7121" fmla="*/ 1034330 h 2705233"/>
              <a:gd name="connsiteX7122" fmla="*/ 4513487 w 6886183"/>
              <a:gd name="connsiteY7122" fmla="*/ 1034330 h 2705233"/>
              <a:gd name="connsiteX7123" fmla="*/ 4524000 w 6886183"/>
              <a:gd name="connsiteY7123" fmla="*/ 1055428 h 2705233"/>
              <a:gd name="connsiteX7124" fmla="*/ 4522250 w 6886183"/>
              <a:gd name="connsiteY7124" fmla="*/ 1059095 h 2705233"/>
              <a:gd name="connsiteX7125" fmla="*/ 4489579 w 6886183"/>
              <a:gd name="connsiteY7125" fmla="*/ 1091861 h 2705233"/>
              <a:gd name="connsiteX7126" fmla="*/ 4465100 w 6886183"/>
              <a:gd name="connsiteY7126" fmla="*/ 1105863 h 2705233"/>
              <a:gd name="connsiteX7127" fmla="*/ 4452051 w 6886183"/>
              <a:gd name="connsiteY7127" fmla="*/ 1111388 h 2705233"/>
              <a:gd name="connsiteX7128" fmla="*/ 4438716 w 6886183"/>
              <a:gd name="connsiteY7128" fmla="*/ 1115674 h 2705233"/>
              <a:gd name="connsiteX7129" fmla="*/ 4394044 w 6886183"/>
              <a:gd name="connsiteY7129" fmla="*/ 1116436 h 2705233"/>
              <a:gd name="connsiteX7130" fmla="*/ 4381938 w 6886183"/>
              <a:gd name="connsiteY7130" fmla="*/ 1096367 h 2705233"/>
              <a:gd name="connsiteX7131" fmla="*/ 4382899 w 6886183"/>
              <a:gd name="connsiteY7131" fmla="*/ 1093576 h 2705233"/>
              <a:gd name="connsiteX7132" fmla="*/ 4414427 w 6886183"/>
              <a:gd name="connsiteY7132" fmla="*/ 1059476 h 2705233"/>
              <a:gd name="connsiteX7133" fmla="*/ 4439859 w 6886183"/>
              <a:gd name="connsiteY7133" fmla="*/ 1044427 h 2705233"/>
              <a:gd name="connsiteX7134" fmla="*/ 4467481 w 6886183"/>
              <a:gd name="connsiteY7134" fmla="*/ 1034330 h 2705233"/>
              <a:gd name="connsiteX7135" fmla="*/ 6649278 w 6886183"/>
              <a:gd name="connsiteY7135" fmla="*/ 1009269 h 2705233"/>
              <a:gd name="connsiteX7136" fmla="*/ 6687378 w 6886183"/>
              <a:gd name="connsiteY7136" fmla="*/ 1009269 h 2705233"/>
              <a:gd name="connsiteX7137" fmla="*/ 6696903 w 6886183"/>
              <a:gd name="connsiteY7137" fmla="*/ 1010507 h 2705233"/>
              <a:gd name="connsiteX7138" fmla="*/ 6706428 w 6886183"/>
              <a:gd name="connsiteY7138" fmla="*/ 1012317 h 2705233"/>
              <a:gd name="connsiteX7139" fmla="*/ 6723382 w 6886183"/>
              <a:gd name="connsiteY7139" fmla="*/ 1016889 h 2705233"/>
              <a:gd name="connsiteX7140" fmla="*/ 6737765 w 6886183"/>
              <a:gd name="connsiteY7140" fmla="*/ 1027176 h 2705233"/>
              <a:gd name="connsiteX7141" fmla="*/ 6718144 w 6886183"/>
              <a:gd name="connsiteY7141" fmla="*/ 1032986 h 2705233"/>
              <a:gd name="connsiteX7142" fmla="*/ 6645468 w 6886183"/>
              <a:gd name="connsiteY7142" fmla="*/ 1025461 h 2705233"/>
              <a:gd name="connsiteX7143" fmla="*/ 6649278 w 6886183"/>
              <a:gd name="connsiteY7143" fmla="*/ 1009269 h 2705233"/>
              <a:gd name="connsiteX7144" fmla="*/ 2827409 w 6886183"/>
              <a:gd name="connsiteY7144" fmla="*/ 1005717 h 2705233"/>
              <a:gd name="connsiteX7145" fmla="*/ 2887685 w 6886183"/>
              <a:gd name="connsiteY7145" fmla="*/ 1033565 h 2705233"/>
              <a:gd name="connsiteX7146" fmla="*/ 2881110 w 6886183"/>
              <a:gd name="connsiteY7146" fmla="*/ 1065664 h 2705233"/>
              <a:gd name="connsiteX7147" fmla="*/ 2840630 w 6886183"/>
              <a:gd name="connsiteY7147" fmla="*/ 1087286 h 2705233"/>
              <a:gd name="connsiteX7148" fmla="*/ 2757954 w 6886183"/>
              <a:gd name="connsiteY7148" fmla="*/ 1064997 h 2705233"/>
              <a:gd name="connsiteX7149" fmla="*/ 2760048 w 6886183"/>
              <a:gd name="connsiteY7149" fmla="*/ 1032136 h 2705233"/>
              <a:gd name="connsiteX7150" fmla="*/ 2799769 w 6886183"/>
              <a:gd name="connsiteY7150" fmla="*/ 1008609 h 2705233"/>
              <a:gd name="connsiteX7151" fmla="*/ 2827409 w 6886183"/>
              <a:gd name="connsiteY7151" fmla="*/ 1005717 h 2705233"/>
              <a:gd name="connsiteX7152" fmla="*/ 6120736 w 6886183"/>
              <a:gd name="connsiteY7152" fmla="*/ 992797 h 2705233"/>
              <a:gd name="connsiteX7153" fmla="*/ 6141881 w 6886183"/>
              <a:gd name="connsiteY7153" fmla="*/ 994226 h 2705233"/>
              <a:gd name="connsiteX7154" fmla="*/ 6159979 w 6886183"/>
              <a:gd name="connsiteY7154" fmla="*/ 1004798 h 2705233"/>
              <a:gd name="connsiteX7155" fmla="*/ 6143119 w 6886183"/>
              <a:gd name="connsiteY7155" fmla="*/ 1018229 h 2705233"/>
              <a:gd name="connsiteX7156" fmla="*/ 6098161 w 6886183"/>
              <a:gd name="connsiteY7156" fmla="*/ 1026992 h 2705233"/>
              <a:gd name="connsiteX7157" fmla="*/ 6073682 w 6886183"/>
              <a:gd name="connsiteY7157" fmla="*/ 1028420 h 2705233"/>
              <a:gd name="connsiteX7158" fmla="*/ 6053394 w 6886183"/>
              <a:gd name="connsiteY7158" fmla="*/ 1027182 h 2705233"/>
              <a:gd name="connsiteX7159" fmla="*/ 6050155 w 6886183"/>
              <a:gd name="connsiteY7159" fmla="*/ 1003846 h 2705233"/>
              <a:gd name="connsiteX7160" fmla="*/ 6095494 w 6886183"/>
              <a:gd name="connsiteY7160" fmla="*/ 994321 h 2705233"/>
              <a:gd name="connsiteX7161" fmla="*/ 6120736 w 6886183"/>
              <a:gd name="connsiteY7161" fmla="*/ 992797 h 2705233"/>
              <a:gd name="connsiteX7162" fmla="*/ 3927919 w 6886183"/>
              <a:gd name="connsiteY7162" fmla="*/ 991829 h 2705233"/>
              <a:gd name="connsiteX7163" fmla="*/ 3969228 w 6886183"/>
              <a:gd name="connsiteY7163" fmla="*/ 1018042 h 2705233"/>
              <a:gd name="connsiteX7164" fmla="*/ 3902553 w 6886183"/>
              <a:gd name="connsiteY7164" fmla="*/ 1077573 h 2705233"/>
              <a:gd name="connsiteX7165" fmla="*/ 3830925 w 6886183"/>
              <a:gd name="connsiteY7165" fmla="*/ 1056808 h 2705233"/>
              <a:gd name="connsiteX7166" fmla="*/ 3900457 w 6886183"/>
              <a:gd name="connsiteY7166" fmla="*/ 996420 h 2705233"/>
              <a:gd name="connsiteX7167" fmla="*/ 3927919 w 6886183"/>
              <a:gd name="connsiteY7167" fmla="*/ 991829 h 2705233"/>
              <a:gd name="connsiteX7168" fmla="*/ 4755041 w 6886183"/>
              <a:gd name="connsiteY7168" fmla="*/ 976704 h 2705233"/>
              <a:gd name="connsiteX7169" fmla="*/ 4797998 w 6886183"/>
              <a:gd name="connsiteY7169" fmla="*/ 978038 h 2705233"/>
              <a:gd name="connsiteX7170" fmla="*/ 4805985 w 6886183"/>
              <a:gd name="connsiteY7170" fmla="*/ 997907 h 2705233"/>
              <a:gd name="connsiteX7171" fmla="*/ 4803999 w 6886183"/>
              <a:gd name="connsiteY7171" fmla="*/ 1001279 h 2705233"/>
              <a:gd name="connsiteX7172" fmla="*/ 4798475 w 6886183"/>
              <a:gd name="connsiteY7172" fmla="*/ 1008899 h 2705233"/>
              <a:gd name="connsiteX7173" fmla="*/ 4790569 w 6886183"/>
              <a:gd name="connsiteY7173" fmla="*/ 1016805 h 2705233"/>
              <a:gd name="connsiteX7174" fmla="*/ 4769233 w 6886183"/>
              <a:gd name="connsiteY7174" fmla="*/ 1032140 h 2705233"/>
              <a:gd name="connsiteX7175" fmla="*/ 4716083 w 6886183"/>
              <a:gd name="connsiteY7175" fmla="*/ 1054048 h 2705233"/>
              <a:gd name="connsiteX7176" fmla="*/ 4674554 w 6886183"/>
              <a:gd name="connsiteY7176" fmla="*/ 1054048 h 2705233"/>
              <a:gd name="connsiteX7177" fmla="*/ 4664964 w 6886183"/>
              <a:gd name="connsiteY7177" fmla="*/ 1035350 h 2705233"/>
              <a:gd name="connsiteX7178" fmla="*/ 4666268 w 6886183"/>
              <a:gd name="connsiteY7178" fmla="*/ 1032426 h 2705233"/>
              <a:gd name="connsiteX7179" fmla="*/ 4699891 w 6886183"/>
              <a:gd name="connsiteY7179" fmla="*/ 1000136 h 2705233"/>
              <a:gd name="connsiteX7180" fmla="*/ 4712654 w 6886183"/>
              <a:gd name="connsiteY7180" fmla="*/ 992707 h 2705233"/>
              <a:gd name="connsiteX7181" fmla="*/ 4726466 w 6886183"/>
              <a:gd name="connsiteY7181" fmla="*/ 986229 h 2705233"/>
              <a:gd name="connsiteX7182" fmla="*/ 4755041 w 6886183"/>
              <a:gd name="connsiteY7182" fmla="*/ 976704 h 2705233"/>
              <a:gd name="connsiteX7183" fmla="*/ 5878038 w 6886183"/>
              <a:gd name="connsiteY7183" fmla="*/ 953079 h 2705233"/>
              <a:gd name="connsiteX7184" fmla="*/ 5887563 w 6886183"/>
              <a:gd name="connsiteY7184" fmla="*/ 978225 h 2705233"/>
              <a:gd name="connsiteX7185" fmla="*/ 5842986 w 6886183"/>
              <a:gd name="connsiteY7185" fmla="*/ 993084 h 2705233"/>
              <a:gd name="connsiteX7186" fmla="*/ 5818316 w 6886183"/>
              <a:gd name="connsiteY7186" fmla="*/ 996418 h 2705233"/>
              <a:gd name="connsiteX7187" fmla="*/ 5812220 w 6886183"/>
              <a:gd name="connsiteY7187" fmla="*/ 996418 h 2705233"/>
              <a:gd name="connsiteX7188" fmla="*/ 5806124 w 6886183"/>
              <a:gd name="connsiteY7188" fmla="*/ 996418 h 2705233"/>
              <a:gd name="connsiteX7189" fmla="*/ 5794313 w 6886183"/>
              <a:gd name="connsiteY7189" fmla="*/ 996418 h 2705233"/>
              <a:gd name="connsiteX7190" fmla="*/ 5783169 w 6886183"/>
              <a:gd name="connsiteY7190" fmla="*/ 972320 h 2705233"/>
              <a:gd name="connsiteX7191" fmla="*/ 5803648 w 6886183"/>
              <a:gd name="connsiteY7191" fmla="*/ 962795 h 2705233"/>
              <a:gd name="connsiteX7192" fmla="*/ 5815363 w 6886183"/>
              <a:gd name="connsiteY7192" fmla="*/ 958985 h 2705233"/>
              <a:gd name="connsiteX7193" fmla="*/ 5827746 w 6886183"/>
              <a:gd name="connsiteY7193" fmla="*/ 956032 h 2705233"/>
              <a:gd name="connsiteX7194" fmla="*/ 5878038 w 6886183"/>
              <a:gd name="connsiteY7194" fmla="*/ 953079 h 2705233"/>
              <a:gd name="connsiteX7195" fmla="*/ 5047935 w 6886183"/>
              <a:gd name="connsiteY7195" fmla="*/ 943748 h 2705233"/>
              <a:gd name="connsiteX7196" fmla="*/ 5088511 w 6886183"/>
              <a:gd name="connsiteY7196" fmla="*/ 946510 h 2705233"/>
              <a:gd name="connsiteX7197" fmla="*/ 5087273 w 6886183"/>
              <a:gd name="connsiteY7197" fmla="*/ 969180 h 2705233"/>
              <a:gd name="connsiteX7198" fmla="*/ 5050316 w 6886183"/>
              <a:gd name="connsiteY7198" fmla="*/ 996707 h 2705233"/>
              <a:gd name="connsiteX7199" fmla="*/ 4997833 w 6886183"/>
              <a:gd name="connsiteY7199" fmla="*/ 1013662 h 2705233"/>
              <a:gd name="connsiteX7200" fmla="*/ 4991071 w 6886183"/>
              <a:gd name="connsiteY7200" fmla="*/ 1014614 h 2705233"/>
              <a:gd name="connsiteX7201" fmla="*/ 4984879 w 6886183"/>
              <a:gd name="connsiteY7201" fmla="*/ 1015376 h 2705233"/>
              <a:gd name="connsiteX7202" fmla="*/ 4973926 w 6886183"/>
              <a:gd name="connsiteY7202" fmla="*/ 1015376 h 2705233"/>
              <a:gd name="connsiteX7203" fmla="*/ 4958590 w 6886183"/>
              <a:gd name="connsiteY7203" fmla="*/ 1011947 h 2705233"/>
              <a:gd name="connsiteX7204" fmla="*/ 4957352 w 6886183"/>
              <a:gd name="connsiteY7204" fmla="*/ 990325 h 2705233"/>
              <a:gd name="connsiteX7205" fmla="*/ 4971925 w 6886183"/>
              <a:gd name="connsiteY7205" fmla="*/ 974990 h 2705233"/>
              <a:gd name="connsiteX7206" fmla="*/ 4993357 w 6886183"/>
              <a:gd name="connsiteY7206" fmla="*/ 962036 h 2705233"/>
              <a:gd name="connsiteX7207" fmla="*/ 5047935 w 6886183"/>
              <a:gd name="connsiteY7207" fmla="*/ 943748 h 2705233"/>
              <a:gd name="connsiteX7208" fmla="*/ 5607814 w 6886183"/>
              <a:gd name="connsiteY7208" fmla="*/ 930601 h 2705233"/>
              <a:gd name="connsiteX7209" fmla="*/ 5626864 w 6886183"/>
              <a:gd name="connsiteY7209" fmla="*/ 933364 h 2705233"/>
              <a:gd name="connsiteX7210" fmla="*/ 5636389 w 6886183"/>
              <a:gd name="connsiteY7210" fmla="*/ 940412 h 2705233"/>
              <a:gd name="connsiteX7211" fmla="*/ 5622578 w 6886183"/>
              <a:gd name="connsiteY7211" fmla="*/ 960986 h 2705233"/>
              <a:gd name="connsiteX7212" fmla="*/ 5601623 w 6886183"/>
              <a:gd name="connsiteY7212" fmla="*/ 970511 h 2705233"/>
              <a:gd name="connsiteX7213" fmla="*/ 5575715 w 6886183"/>
              <a:gd name="connsiteY7213" fmla="*/ 978893 h 2705233"/>
              <a:gd name="connsiteX7214" fmla="*/ 5562189 w 6886183"/>
              <a:gd name="connsiteY7214" fmla="*/ 982132 h 2705233"/>
              <a:gd name="connsiteX7215" fmla="*/ 5549045 w 6886183"/>
              <a:gd name="connsiteY7215" fmla="*/ 984799 h 2705233"/>
              <a:gd name="connsiteX7216" fmla="*/ 5525899 w 6886183"/>
              <a:gd name="connsiteY7216" fmla="*/ 986894 h 2705233"/>
              <a:gd name="connsiteX7217" fmla="*/ 5499896 w 6886183"/>
              <a:gd name="connsiteY7217" fmla="*/ 978322 h 2705233"/>
              <a:gd name="connsiteX7218" fmla="*/ 5509516 w 6886183"/>
              <a:gd name="connsiteY7218" fmla="*/ 959462 h 2705233"/>
              <a:gd name="connsiteX7219" fmla="*/ 5554950 w 6886183"/>
              <a:gd name="connsiteY7219" fmla="*/ 939364 h 2705233"/>
              <a:gd name="connsiteX7220" fmla="*/ 5582573 w 6886183"/>
              <a:gd name="connsiteY7220" fmla="*/ 932887 h 2705233"/>
              <a:gd name="connsiteX7221" fmla="*/ 5607814 w 6886183"/>
              <a:gd name="connsiteY7221" fmla="*/ 930601 h 2705233"/>
              <a:gd name="connsiteX7222" fmla="*/ 3206122 w 6886183"/>
              <a:gd name="connsiteY7222" fmla="*/ 926341 h 2705233"/>
              <a:gd name="connsiteX7223" fmla="*/ 3259539 w 6886183"/>
              <a:gd name="connsiteY7223" fmla="*/ 953840 h 2705233"/>
              <a:gd name="connsiteX7224" fmla="*/ 3209343 w 6886183"/>
              <a:gd name="connsiteY7224" fmla="*/ 1010514 h 2705233"/>
              <a:gd name="connsiteX7225" fmla="*/ 3129524 w 6886183"/>
              <a:gd name="connsiteY7225" fmla="*/ 988321 h 2705233"/>
              <a:gd name="connsiteX7226" fmla="*/ 3179054 w 6886183"/>
              <a:gd name="connsiteY7226" fmla="*/ 930028 h 2705233"/>
              <a:gd name="connsiteX7227" fmla="*/ 3206122 w 6886183"/>
              <a:gd name="connsiteY7227" fmla="*/ 926341 h 2705233"/>
              <a:gd name="connsiteX7228" fmla="*/ 5344162 w 6886183"/>
              <a:gd name="connsiteY7228" fmla="*/ 924126 h 2705233"/>
              <a:gd name="connsiteX7229" fmla="*/ 5354830 w 6886183"/>
              <a:gd name="connsiteY7229" fmla="*/ 924983 h 2705233"/>
              <a:gd name="connsiteX7230" fmla="*/ 5368451 w 6886183"/>
              <a:gd name="connsiteY7230" fmla="*/ 930508 h 2705233"/>
              <a:gd name="connsiteX7231" fmla="*/ 5361212 w 6886183"/>
              <a:gd name="connsiteY7231" fmla="*/ 952986 h 2705233"/>
              <a:gd name="connsiteX7232" fmla="*/ 5343019 w 6886183"/>
              <a:gd name="connsiteY7232" fmla="*/ 965464 h 2705233"/>
              <a:gd name="connsiteX7233" fmla="*/ 5319588 w 6886183"/>
              <a:gd name="connsiteY7233" fmla="*/ 976322 h 2705233"/>
              <a:gd name="connsiteX7234" fmla="*/ 5293679 w 6886183"/>
              <a:gd name="connsiteY7234" fmla="*/ 984418 h 2705233"/>
              <a:gd name="connsiteX7235" fmla="*/ 5267771 w 6886183"/>
              <a:gd name="connsiteY7235" fmla="*/ 989085 h 2705233"/>
              <a:gd name="connsiteX7236" fmla="*/ 5233767 w 6886183"/>
              <a:gd name="connsiteY7236" fmla="*/ 984228 h 2705233"/>
              <a:gd name="connsiteX7237" fmla="*/ 5237101 w 6886183"/>
              <a:gd name="connsiteY7237" fmla="*/ 963844 h 2705233"/>
              <a:gd name="connsiteX7238" fmla="*/ 5276916 w 6886183"/>
              <a:gd name="connsiteY7238" fmla="*/ 938794 h 2705233"/>
              <a:gd name="connsiteX7239" fmla="*/ 5303586 w 6886183"/>
              <a:gd name="connsiteY7239" fmla="*/ 929841 h 2705233"/>
              <a:gd name="connsiteX7240" fmla="*/ 5331018 w 6886183"/>
              <a:gd name="connsiteY7240" fmla="*/ 924793 h 2705233"/>
              <a:gd name="connsiteX7241" fmla="*/ 5344162 w 6886183"/>
              <a:gd name="connsiteY7241" fmla="*/ 924126 h 2705233"/>
              <a:gd name="connsiteX7242" fmla="*/ 4259835 w 6886183"/>
              <a:gd name="connsiteY7242" fmla="*/ 908648 h 2705233"/>
              <a:gd name="connsiteX7243" fmla="*/ 4296602 w 6886183"/>
              <a:gd name="connsiteY7243" fmla="*/ 936509 h 2705233"/>
              <a:gd name="connsiteX7244" fmla="*/ 4222784 w 6886183"/>
              <a:gd name="connsiteY7244" fmla="*/ 996993 h 2705233"/>
              <a:gd name="connsiteX7245" fmla="*/ 4160300 w 6886183"/>
              <a:gd name="connsiteY7245" fmla="*/ 977466 h 2705233"/>
              <a:gd name="connsiteX7246" fmla="*/ 4231642 w 6886183"/>
              <a:gd name="connsiteY7246" fmla="*/ 914316 h 2705233"/>
              <a:gd name="connsiteX7247" fmla="*/ 4259835 w 6886183"/>
              <a:gd name="connsiteY7247" fmla="*/ 908648 h 2705233"/>
              <a:gd name="connsiteX7248" fmla="*/ 6415343 w 6886183"/>
              <a:gd name="connsiteY7248" fmla="*/ 908593 h 2705233"/>
              <a:gd name="connsiteX7249" fmla="*/ 6439156 w 6886183"/>
              <a:gd name="connsiteY7249" fmla="*/ 909260 h 2705233"/>
              <a:gd name="connsiteX7250" fmla="*/ 6459444 w 6886183"/>
              <a:gd name="connsiteY7250" fmla="*/ 912213 h 2705233"/>
              <a:gd name="connsiteX7251" fmla="*/ 6472398 w 6886183"/>
              <a:gd name="connsiteY7251" fmla="*/ 917070 h 2705233"/>
              <a:gd name="connsiteX7252" fmla="*/ 6476780 w 6886183"/>
              <a:gd name="connsiteY7252" fmla="*/ 922881 h 2705233"/>
              <a:gd name="connsiteX7253" fmla="*/ 6472874 w 6886183"/>
              <a:gd name="connsiteY7253" fmla="*/ 928786 h 2705233"/>
              <a:gd name="connsiteX7254" fmla="*/ 6460587 w 6886183"/>
              <a:gd name="connsiteY7254" fmla="*/ 933930 h 2705233"/>
              <a:gd name="connsiteX7255" fmla="*/ 6414296 w 6886183"/>
              <a:gd name="connsiteY7255" fmla="*/ 938978 h 2705233"/>
              <a:gd name="connsiteX7256" fmla="*/ 6368861 w 6886183"/>
              <a:gd name="connsiteY7256" fmla="*/ 935454 h 2705233"/>
              <a:gd name="connsiteX7257" fmla="*/ 6357431 w 6886183"/>
              <a:gd name="connsiteY7257" fmla="*/ 930881 h 2705233"/>
              <a:gd name="connsiteX7258" fmla="*/ 6354098 w 6886183"/>
              <a:gd name="connsiteY7258" fmla="*/ 925262 h 2705233"/>
              <a:gd name="connsiteX7259" fmla="*/ 6371528 w 6886183"/>
              <a:gd name="connsiteY7259" fmla="*/ 913927 h 2705233"/>
              <a:gd name="connsiteX7260" fmla="*/ 6391626 w 6886183"/>
              <a:gd name="connsiteY7260" fmla="*/ 910212 h 2705233"/>
              <a:gd name="connsiteX7261" fmla="*/ 6403247 w 6886183"/>
              <a:gd name="connsiteY7261" fmla="*/ 909164 h 2705233"/>
              <a:gd name="connsiteX7262" fmla="*/ 6415343 w 6886183"/>
              <a:gd name="connsiteY7262" fmla="*/ 908593 h 2705233"/>
              <a:gd name="connsiteX7263" fmla="*/ 1403194 w 6886183"/>
              <a:gd name="connsiteY7263" fmla="*/ 894969 h 2705233"/>
              <a:gd name="connsiteX7264" fmla="*/ 1474727 w 6886183"/>
              <a:gd name="connsiteY7264" fmla="*/ 928497 h 2705233"/>
              <a:gd name="connsiteX7265" fmla="*/ 1463202 w 6886183"/>
              <a:gd name="connsiteY7265" fmla="*/ 963453 h 2705233"/>
              <a:gd name="connsiteX7266" fmla="*/ 1444151 w 6886183"/>
              <a:gd name="connsiteY7266" fmla="*/ 963453 h 2705233"/>
              <a:gd name="connsiteX7267" fmla="*/ 1425102 w 6886183"/>
              <a:gd name="connsiteY7267" fmla="*/ 958024 h 2705233"/>
              <a:gd name="connsiteX7268" fmla="*/ 1391383 w 6886183"/>
              <a:gd name="connsiteY7268" fmla="*/ 933926 h 2705233"/>
              <a:gd name="connsiteX7269" fmla="*/ 1381095 w 6886183"/>
              <a:gd name="connsiteY7269" fmla="*/ 906970 h 2705233"/>
              <a:gd name="connsiteX7270" fmla="*/ 1388145 w 6886183"/>
              <a:gd name="connsiteY7270" fmla="*/ 898683 h 2705233"/>
              <a:gd name="connsiteX7271" fmla="*/ 1403194 w 6886183"/>
              <a:gd name="connsiteY7271" fmla="*/ 894969 h 2705233"/>
              <a:gd name="connsiteX7272" fmla="*/ 1827438 w 6886183"/>
              <a:gd name="connsiteY7272" fmla="*/ 875347 h 2705233"/>
              <a:gd name="connsiteX7273" fmla="*/ 1867824 w 6886183"/>
              <a:gd name="connsiteY7273" fmla="*/ 880110 h 2705233"/>
              <a:gd name="connsiteX7274" fmla="*/ 1900399 w 6886183"/>
              <a:gd name="connsiteY7274" fmla="*/ 901922 h 2705233"/>
              <a:gd name="connsiteX7275" fmla="*/ 1908591 w 6886183"/>
              <a:gd name="connsiteY7275" fmla="*/ 929544 h 2705233"/>
              <a:gd name="connsiteX7276" fmla="*/ 1880492 w 6886183"/>
              <a:gd name="connsiteY7276" fmla="*/ 944403 h 2705233"/>
              <a:gd name="connsiteX7277" fmla="*/ 1840773 w 6886183"/>
              <a:gd name="connsiteY7277" fmla="*/ 940117 h 2705233"/>
              <a:gd name="connsiteX7278" fmla="*/ 1823056 w 6886183"/>
              <a:gd name="connsiteY7278" fmla="*/ 931354 h 2705233"/>
              <a:gd name="connsiteX7279" fmla="*/ 1808388 w 6886183"/>
              <a:gd name="connsiteY7279" fmla="*/ 918781 h 2705233"/>
              <a:gd name="connsiteX7280" fmla="*/ 1798863 w 6886183"/>
              <a:gd name="connsiteY7280" fmla="*/ 890206 h 2705233"/>
              <a:gd name="connsiteX7281" fmla="*/ 1808388 w 6886183"/>
              <a:gd name="connsiteY7281" fmla="*/ 880681 h 2705233"/>
              <a:gd name="connsiteX7282" fmla="*/ 1827438 w 6886183"/>
              <a:gd name="connsiteY7282" fmla="*/ 875347 h 2705233"/>
              <a:gd name="connsiteX7283" fmla="*/ 6802726 w 6886183"/>
              <a:gd name="connsiteY7283" fmla="*/ 852869 h 2705233"/>
              <a:gd name="connsiteX7284" fmla="*/ 6825776 w 6886183"/>
              <a:gd name="connsiteY7284" fmla="*/ 854870 h 2705233"/>
              <a:gd name="connsiteX7285" fmla="*/ 6848827 w 6886183"/>
              <a:gd name="connsiteY7285" fmla="*/ 858965 h 2705233"/>
              <a:gd name="connsiteX7286" fmla="*/ 6859399 w 6886183"/>
              <a:gd name="connsiteY7286" fmla="*/ 861728 h 2705233"/>
              <a:gd name="connsiteX7287" fmla="*/ 6868924 w 6886183"/>
              <a:gd name="connsiteY7287" fmla="*/ 864966 h 2705233"/>
              <a:gd name="connsiteX7288" fmla="*/ 6883021 w 6886183"/>
              <a:gd name="connsiteY7288" fmla="*/ 872300 h 2705233"/>
              <a:gd name="connsiteX7289" fmla="*/ 6885879 w 6886183"/>
              <a:gd name="connsiteY7289" fmla="*/ 878587 h 2705233"/>
              <a:gd name="connsiteX7290" fmla="*/ 6878068 w 6886183"/>
              <a:gd name="connsiteY7290" fmla="*/ 882778 h 2705233"/>
              <a:gd name="connsiteX7291" fmla="*/ 6860161 w 6886183"/>
              <a:gd name="connsiteY7291" fmla="*/ 884397 h 2705233"/>
              <a:gd name="connsiteX7292" fmla="*/ 6849779 w 6886183"/>
              <a:gd name="connsiteY7292" fmla="*/ 884397 h 2705233"/>
              <a:gd name="connsiteX7293" fmla="*/ 6838635 w 6886183"/>
              <a:gd name="connsiteY7293" fmla="*/ 883730 h 2705233"/>
              <a:gd name="connsiteX7294" fmla="*/ 6815775 w 6886183"/>
              <a:gd name="connsiteY7294" fmla="*/ 880968 h 2705233"/>
              <a:gd name="connsiteX7295" fmla="*/ 6794248 w 6886183"/>
              <a:gd name="connsiteY7295" fmla="*/ 876968 h 2705233"/>
              <a:gd name="connsiteX7296" fmla="*/ 6776627 w 6886183"/>
              <a:gd name="connsiteY7296" fmla="*/ 871824 h 2705233"/>
              <a:gd name="connsiteX7297" fmla="*/ 6763578 w 6886183"/>
              <a:gd name="connsiteY7297" fmla="*/ 860966 h 2705233"/>
              <a:gd name="connsiteX7298" fmla="*/ 6782723 w 6886183"/>
              <a:gd name="connsiteY7298" fmla="*/ 853441 h 2705233"/>
              <a:gd name="connsiteX7299" fmla="*/ 6802726 w 6886183"/>
              <a:gd name="connsiteY7299" fmla="*/ 852869 h 2705233"/>
              <a:gd name="connsiteX7300" fmla="*/ 3597936 w 6886183"/>
              <a:gd name="connsiteY7300" fmla="*/ 846683 h 2705233"/>
              <a:gd name="connsiteX7301" fmla="*/ 3641187 w 6886183"/>
              <a:gd name="connsiteY7301" fmla="*/ 879165 h 2705233"/>
              <a:gd name="connsiteX7302" fmla="*/ 3578132 w 6886183"/>
              <a:gd name="connsiteY7302" fmla="*/ 935553 h 2705233"/>
              <a:gd name="connsiteX7303" fmla="*/ 3510028 w 6886183"/>
              <a:gd name="connsiteY7303" fmla="*/ 909836 h 2705233"/>
              <a:gd name="connsiteX7304" fmla="*/ 3569655 w 6886183"/>
              <a:gd name="connsiteY7304" fmla="*/ 850590 h 2705233"/>
              <a:gd name="connsiteX7305" fmla="*/ 3597936 w 6886183"/>
              <a:gd name="connsiteY7305" fmla="*/ 846683 h 2705233"/>
              <a:gd name="connsiteX7306" fmla="*/ 6140166 w 6886183"/>
              <a:gd name="connsiteY7306" fmla="*/ 836680 h 2705233"/>
              <a:gd name="connsiteX7307" fmla="*/ 6164740 w 6886183"/>
              <a:gd name="connsiteY7307" fmla="*/ 838205 h 2705233"/>
              <a:gd name="connsiteX7308" fmla="*/ 6182933 w 6886183"/>
              <a:gd name="connsiteY7308" fmla="*/ 842586 h 2705233"/>
              <a:gd name="connsiteX7309" fmla="*/ 6189791 w 6886183"/>
              <a:gd name="connsiteY7309" fmla="*/ 848682 h 2705233"/>
              <a:gd name="connsiteX7310" fmla="*/ 6169598 w 6886183"/>
              <a:gd name="connsiteY7310" fmla="*/ 864113 h 2705233"/>
              <a:gd name="connsiteX7311" fmla="*/ 6123211 w 6886183"/>
              <a:gd name="connsiteY7311" fmla="*/ 875257 h 2705233"/>
              <a:gd name="connsiteX7312" fmla="*/ 6099018 w 6886183"/>
              <a:gd name="connsiteY7312" fmla="*/ 876685 h 2705233"/>
              <a:gd name="connsiteX7313" fmla="*/ 6075967 w 6886183"/>
              <a:gd name="connsiteY7313" fmla="*/ 875257 h 2705233"/>
              <a:gd name="connsiteX7314" fmla="*/ 6069300 w 6886183"/>
              <a:gd name="connsiteY7314" fmla="*/ 851539 h 2705233"/>
              <a:gd name="connsiteX7315" fmla="*/ 6114925 w 6886183"/>
              <a:gd name="connsiteY7315" fmla="*/ 838585 h 2705233"/>
              <a:gd name="connsiteX7316" fmla="*/ 6140166 w 6886183"/>
              <a:gd name="connsiteY7316" fmla="*/ 836680 h 2705233"/>
              <a:gd name="connsiteX7317" fmla="*/ 4569113 w 6886183"/>
              <a:gd name="connsiteY7317" fmla="*/ 835924 h 2705233"/>
              <a:gd name="connsiteX7318" fmla="*/ 4611499 w 6886183"/>
              <a:gd name="connsiteY7318" fmla="*/ 837734 h 2705233"/>
              <a:gd name="connsiteX7319" fmla="*/ 4621434 w 6886183"/>
              <a:gd name="connsiteY7319" fmla="*/ 860584 h 2705233"/>
              <a:gd name="connsiteX7320" fmla="*/ 4621024 w 6886183"/>
              <a:gd name="connsiteY7320" fmla="*/ 861546 h 2705233"/>
              <a:gd name="connsiteX7321" fmla="*/ 4588925 w 6886183"/>
              <a:gd name="connsiteY7321" fmla="*/ 896027 h 2705233"/>
              <a:gd name="connsiteX7322" fmla="*/ 4563302 w 6886183"/>
              <a:gd name="connsiteY7322" fmla="*/ 910695 h 2705233"/>
              <a:gd name="connsiteX7323" fmla="*/ 4549491 w 6886183"/>
              <a:gd name="connsiteY7323" fmla="*/ 916506 h 2705233"/>
              <a:gd name="connsiteX7324" fmla="*/ 4535680 w 6886183"/>
              <a:gd name="connsiteY7324" fmla="*/ 920982 h 2705233"/>
              <a:gd name="connsiteX7325" fmla="*/ 4491579 w 6886183"/>
              <a:gd name="connsiteY7325" fmla="*/ 920982 h 2705233"/>
              <a:gd name="connsiteX7326" fmla="*/ 4481006 w 6886183"/>
              <a:gd name="connsiteY7326" fmla="*/ 911457 h 2705233"/>
              <a:gd name="connsiteX7327" fmla="*/ 4481006 w 6886183"/>
              <a:gd name="connsiteY7327" fmla="*/ 896789 h 2705233"/>
              <a:gd name="connsiteX7328" fmla="*/ 4513867 w 6886183"/>
              <a:gd name="connsiteY7328" fmla="*/ 860784 h 2705233"/>
              <a:gd name="connsiteX7329" fmla="*/ 4540538 w 6886183"/>
              <a:gd name="connsiteY7329" fmla="*/ 845449 h 2705233"/>
              <a:gd name="connsiteX7330" fmla="*/ 4569113 w 6886183"/>
              <a:gd name="connsiteY7330" fmla="*/ 835924 h 2705233"/>
              <a:gd name="connsiteX7331" fmla="*/ 2270259 w 6886183"/>
              <a:gd name="connsiteY7331" fmla="*/ 810484 h 2705233"/>
              <a:gd name="connsiteX7332" fmla="*/ 2318360 w 6886183"/>
              <a:gd name="connsiteY7332" fmla="*/ 818009 h 2705233"/>
              <a:gd name="connsiteX7333" fmla="*/ 2351317 w 6886183"/>
              <a:gd name="connsiteY7333" fmla="*/ 843345 h 2705233"/>
              <a:gd name="connsiteX7334" fmla="*/ 2319884 w 6886183"/>
              <a:gd name="connsiteY7334" fmla="*/ 888399 h 2705233"/>
              <a:gd name="connsiteX7335" fmla="*/ 2273021 w 6886183"/>
              <a:gd name="connsiteY7335" fmla="*/ 883351 h 2705233"/>
              <a:gd name="connsiteX7336" fmla="*/ 2237493 w 6886183"/>
              <a:gd name="connsiteY7336" fmla="*/ 860110 h 2705233"/>
              <a:gd name="connsiteX7337" fmla="*/ 2270259 w 6886183"/>
              <a:gd name="connsiteY7337" fmla="*/ 810484 h 2705233"/>
              <a:gd name="connsiteX7338" fmla="*/ 4914074 w 6886183"/>
              <a:gd name="connsiteY7338" fmla="*/ 787385 h 2705233"/>
              <a:gd name="connsiteX7339" fmla="*/ 4935540 w 6886183"/>
              <a:gd name="connsiteY7339" fmla="*/ 792966 h 2705233"/>
              <a:gd name="connsiteX7340" fmla="*/ 4939254 w 6886183"/>
              <a:gd name="connsiteY7340" fmla="*/ 818779 h 2705233"/>
              <a:gd name="connsiteX7341" fmla="*/ 4901154 w 6886183"/>
              <a:gd name="connsiteY7341" fmla="*/ 849354 h 2705233"/>
              <a:gd name="connsiteX7342" fmla="*/ 4847814 w 6886183"/>
              <a:gd name="connsiteY7342" fmla="*/ 870024 h 2705233"/>
              <a:gd name="connsiteX7343" fmla="*/ 4835813 w 6886183"/>
              <a:gd name="connsiteY7343" fmla="*/ 871548 h 2705233"/>
              <a:gd name="connsiteX7344" fmla="*/ 4825050 w 6886183"/>
              <a:gd name="connsiteY7344" fmla="*/ 871548 h 2705233"/>
              <a:gd name="connsiteX7345" fmla="*/ 4808476 w 6886183"/>
              <a:gd name="connsiteY7345" fmla="*/ 867357 h 2705233"/>
              <a:gd name="connsiteX7346" fmla="*/ 4800756 w 6886183"/>
              <a:gd name="connsiteY7346" fmla="*/ 846659 h 2705233"/>
              <a:gd name="connsiteX7347" fmla="*/ 4801713 w 6886183"/>
              <a:gd name="connsiteY7347" fmla="*/ 844878 h 2705233"/>
              <a:gd name="connsiteX7348" fmla="*/ 4814763 w 6886183"/>
              <a:gd name="connsiteY7348" fmla="*/ 828685 h 2705233"/>
              <a:gd name="connsiteX7349" fmla="*/ 4824288 w 6886183"/>
              <a:gd name="connsiteY7349" fmla="*/ 820399 h 2705233"/>
              <a:gd name="connsiteX7350" fmla="*/ 4836194 w 6886183"/>
              <a:gd name="connsiteY7350" fmla="*/ 812493 h 2705233"/>
              <a:gd name="connsiteX7351" fmla="*/ 4892010 w 6886183"/>
              <a:gd name="connsiteY7351" fmla="*/ 789633 h 2705233"/>
              <a:gd name="connsiteX7352" fmla="*/ 4914074 w 6886183"/>
              <a:gd name="connsiteY7352" fmla="*/ 787385 h 2705233"/>
              <a:gd name="connsiteX7353" fmla="*/ 5859846 w 6886183"/>
              <a:gd name="connsiteY7353" fmla="*/ 783818 h 2705233"/>
              <a:gd name="connsiteX7354" fmla="*/ 5886516 w 6886183"/>
              <a:gd name="connsiteY7354" fmla="*/ 795058 h 2705233"/>
              <a:gd name="connsiteX7355" fmla="*/ 5870228 w 6886183"/>
              <a:gd name="connsiteY7355" fmla="*/ 814870 h 2705233"/>
              <a:gd name="connsiteX7356" fmla="*/ 5822603 w 6886183"/>
              <a:gd name="connsiteY7356" fmla="*/ 830586 h 2705233"/>
              <a:gd name="connsiteX7357" fmla="*/ 5772311 w 6886183"/>
              <a:gd name="connsiteY7357" fmla="*/ 836492 h 2705233"/>
              <a:gd name="connsiteX7358" fmla="*/ 5745832 w 6886183"/>
              <a:gd name="connsiteY7358" fmla="*/ 826967 h 2705233"/>
              <a:gd name="connsiteX7359" fmla="*/ 5759548 w 6886183"/>
              <a:gd name="connsiteY7359" fmla="*/ 807059 h 2705233"/>
              <a:gd name="connsiteX7360" fmla="*/ 5807173 w 6886183"/>
              <a:gd name="connsiteY7360" fmla="*/ 789914 h 2705233"/>
              <a:gd name="connsiteX7361" fmla="*/ 5821270 w 6886183"/>
              <a:gd name="connsiteY7361" fmla="*/ 787057 h 2705233"/>
              <a:gd name="connsiteX7362" fmla="*/ 5834986 w 6886183"/>
              <a:gd name="connsiteY7362" fmla="*/ 785152 h 2705233"/>
              <a:gd name="connsiteX7363" fmla="*/ 5859846 w 6886183"/>
              <a:gd name="connsiteY7363" fmla="*/ 783818 h 2705233"/>
              <a:gd name="connsiteX7364" fmla="*/ 5540568 w 6886183"/>
              <a:gd name="connsiteY7364" fmla="*/ 763437 h 2705233"/>
              <a:gd name="connsiteX7365" fmla="*/ 5562666 w 6886183"/>
              <a:gd name="connsiteY7365" fmla="*/ 764866 h 2705233"/>
              <a:gd name="connsiteX7366" fmla="*/ 5574477 w 6886183"/>
              <a:gd name="connsiteY7366" fmla="*/ 770771 h 2705233"/>
              <a:gd name="connsiteX7367" fmla="*/ 5564952 w 6886183"/>
              <a:gd name="connsiteY7367" fmla="*/ 792012 h 2705233"/>
              <a:gd name="connsiteX7368" fmla="*/ 5519803 w 6886183"/>
              <a:gd name="connsiteY7368" fmla="*/ 815539 h 2705233"/>
              <a:gd name="connsiteX7369" fmla="*/ 5506183 w 6886183"/>
              <a:gd name="connsiteY7369" fmla="*/ 819539 h 2705233"/>
              <a:gd name="connsiteX7370" fmla="*/ 5492371 w 6886183"/>
              <a:gd name="connsiteY7370" fmla="*/ 822682 h 2705233"/>
              <a:gd name="connsiteX7371" fmla="*/ 5464939 w 6886183"/>
              <a:gd name="connsiteY7371" fmla="*/ 825826 h 2705233"/>
              <a:gd name="connsiteX7372" fmla="*/ 5444651 w 6886183"/>
              <a:gd name="connsiteY7372" fmla="*/ 824302 h 2705233"/>
              <a:gd name="connsiteX7373" fmla="*/ 5433888 w 6886183"/>
              <a:gd name="connsiteY7373" fmla="*/ 818777 h 2705233"/>
              <a:gd name="connsiteX7374" fmla="*/ 5443413 w 6886183"/>
              <a:gd name="connsiteY7374" fmla="*/ 797346 h 2705233"/>
              <a:gd name="connsiteX7375" fmla="*/ 5462463 w 6886183"/>
              <a:gd name="connsiteY7375" fmla="*/ 784297 h 2705233"/>
              <a:gd name="connsiteX7376" fmla="*/ 5486371 w 6886183"/>
              <a:gd name="connsiteY7376" fmla="*/ 773819 h 2705233"/>
              <a:gd name="connsiteX7377" fmla="*/ 5499515 w 6886183"/>
              <a:gd name="connsiteY7377" fmla="*/ 769723 h 2705233"/>
              <a:gd name="connsiteX7378" fmla="*/ 5506278 w 6886183"/>
              <a:gd name="connsiteY7378" fmla="*/ 768009 h 2705233"/>
              <a:gd name="connsiteX7379" fmla="*/ 5513136 w 6886183"/>
              <a:gd name="connsiteY7379" fmla="*/ 766580 h 2705233"/>
              <a:gd name="connsiteX7380" fmla="*/ 5540568 w 6886183"/>
              <a:gd name="connsiteY7380" fmla="*/ 763437 h 2705233"/>
              <a:gd name="connsiteX7381" fmla="*/ 5223576 w 6886183"/>
              <a:gd name="connsiteY7381" fmla="*/ 762008 h 2705233"/>
              <a:gd name="connsiteX7382" fmla="*/ 5261676 w 6886183"/>
              <a:gd name="connsiteY7382" fmla="*/ 767152 h 2705233"/>
              <a:gd name="connsiteX7383" fmla="*/ 5256151 w 6886183"/>
              <a:gd name="connsiteY7383" fmla="*/ 791059 h 2705233"/>
              <a:gd name="connsiteX7384" fmla="*/ 5216241 w 6886183"/>
              <a:gd name="connsiteY7384" fmla="*/ 817920 h 2705233"/>
              <a:gd name="connsiteX7385" fmla="*/ 5163282 w 6886183"/>
              <a:gd name="connsiteY7385" fmla="*/ 832684 h 2705233"/>
              <a:gd name="connsiteX7386" fmla="*/ 5140137 w 6886183"/>
              <a:gd name="connsiteY7386" fmla="*/ 833350 h 2705233"/>
              <a:gd name="connsiteX7387" fmla="*/ 5126230 w 6886183"/>
              <a:gd name="connsiteY7387" fmla="*/ 828778 h 2705233"/>
              <a:gd name="connsiteX7388" fmla="*/ 5129183 w 6886183"/>
              <a:gd name="connsiteY7388" fmla="*/ 805823 h 2705233"/>
              <a:gd name="connsiteX7389" fmla="*/ 5145661 w 6886183"/>
              <a:gd name="connsiteY7389" fmla="*/ 790393 h 2705233"/>
              <a:gd name="connsiteX7390" fmla="*/ 5150900 w 6886183"/>
              <a:gd name="connsiteY7390" fmla="*/ 786773 h 2705233"/>
              <a:gd name="connsiteX7391" fmla="*/ 5156329 w 6886183"/>
              <a:gd name="connsiteY7391" fmla="*/ 783439 h 2705233"/>
              <a:gd name="connsiteX7392" fmla="*/ 5168331 w 6886183"/>
              <a:gd name="connsiteY7392" fmla="*/ 777343 h 2705233"/>
              <a:gd name="connsiteX7393" fmla="*/ 5194905 w 6886183"/>
              <a:gd name="connsiteY7393" fmla="*/ 767818 h 2705233"/>
              <a:gd name="connsiteX7394" fmla="*/ 5209098 w 6886183"/>
              <a:gd name="connsiteY7394" fmla="*/ 764389 h 2705233"/>
              <a:gd name="connsiteX7395" fmla="*/ 5223576 w 6886183"/>
              <a:gd name="connsiteY7395" fmla="*/ 762008 h 2705233"/>
              <a:gd name="connsiteX7396" fmla="*/ 3963304 w 6886183"/>
              <a:gd name="connsiteY7396" fmla="*/ 759873 h 2705233"/>
              <a:gd name="connsiteX7397" fmla="*/ 3999804 w 6886183"/>
              <a:gd name="connsiteY7397" fmla="*/ 790011 h 2705233"/>
              <a:gd name="connsiteX7398" fmla="*/ 3936272 w 6886183"/>
              <a:gd name="connsiteY7398" fmla="*/ 850400 h 2705233"/>
              <a:gd name="connsiteX7399" fmla="*/ 3870645 w 6886183"/>
              <a:gd name="connsiteY7399" fmla="*/ 828873 h 2705233"/>
              <a:gd name="connsiteX7400" fmla="*/ 3937320 w 6886183"/>
              <a:gd name="connsiteY7400" fmla="*/ 763722 h 2705233"/>
              <a:gd name="connsiteX7401" fmla="*/ 3963304 w 6886183"/>
              <a:gd name="connsiteY7401" fmla="*/ 759873 h 2705233"/>
              <a:gd name="connsiteX7402" fmla="*/ 2725048 w 6886183"/>
              <a:gd name="connsiteY7402" fmla="*/ 743859 h 2705233"/>
              <a:gd name="connsiteX7403" fmla="*/ 2782712 w 6886183"/>
              <a:gd name="connsiteY7403" fmla="*/ 774291 h 2705233"/>
              <a:gd name="connsiteX7404" fmla="*/ 2747661 w 6886183"/>
              <a:gd name="connsiteY7404" fmla="*/ 826488 h 2705233"/>
              <a:gd name="connsiteX7405" fmla="*/ 2665742 w 6886183"/>
              <a:gd name="connsiteY7405" fmla="*/ 800104 h 2705233"/>
              <a:gd name="connsiteX7406" fmla="*/ 2699936 w 6886183"/>
              <a:gd name="connsiteY7406" fmla="*/ 746478 h 2705233"/>
              <a:gd name="connsiteX7407" fmla="*/ 2725048 w 6886183"/>
              <a:gd name="connsiteY7407" fmla="*/ 743859 h 2705233"/>
              <a:gd name="connsiteX7408" fmla="*/ 6490781 w 6886183"/>
              <a:gd name="connsiteY7408" fmla="*/ 729616 h 2705233"/>
              <a:gd name="connsiteX7409" fmla="*/ 6532882 w 6886183"/>
              <a:gd name="connsiteY7409" fmla="*/ 734568 h 2705233"/>
              <a:gd name="connsiteX7410" fmla="*/ 6550503 w 6886183"/>
              <a:gd name="connsiteY7410" fmla="*/ 746665 h 2705233"/>
              <a:gd name="connsiteX7411" fmla="*/ 6524214 w 6886183"/>
              <a:gd name="connsiteY7411" fmla="*/ 758286 h 2705233"/>
              <a:gd name="connsiteX7412" fmla="*/ 6480590 w 6886183"/>
              <a:gd name="connsiteY7412" fmla="*/ 762667 h 2705233"/>
              <a:gd name="connsiteX7413" fmla="*/ 6440013 w 6886183"/>
              <a:gd name="connsiteY7413" fmla="*/ 758476 h 2705233"/>
              <a:gd name="connsiteX7414" fmla="*/ 6422297 w 6886183"/>
              <a:gd name="connsiteY7414" fmla="*/ 747237 h 2705233"/>
              <a:gd name="connsiteX7415" fmla="*/ 6446681 w 6886183"/>
              <a:gd name="connsiteY7415" fmla="*/ 734759 h 2705233"/>
              <a:gd name="connsiteX7416" fmla="*/ 6468207 w 6886183"/>
              <a:gd name="connsiteY7416" fmla="*/ 730949 h 2705233"/>
              <a:gd name="connsiteX7417" fmla="*/ 6490781 w 6886183"/>
              <a:gd name="connsiteY7417" fmla="*/ 729616 h 2705233"/>
              <a:gd name="connsiteX7418" fmla="*/ 4323749 w 6886183"/>
              <a:gd name="connsiteY7418" fmla="*/ 681037 h 2705233"/>
              <a:gd name="connsiteX7419" fmla="*/ 4346799 w 6886183"/>
              <a:gd name="connsiteY7419" fmla="*/ 685045 h 2705233"/>
              <a:gd name="connsiteX7420" fmla="*/ 4358229 w 6886183"/>
              <a:gd name="connsiteY7420" fmla="*/ 712000 h 2705233"/>
              <a:gd name="connsiteX7421" fmla="*/ 4330226 w 6886183"/>
              <a:gd name="connsiteY7421" fmla="*/ 748576 h 2705233"/>
              <a:gd name="connsiteX7422" fmla="*/ 4306604 w 6886183"/>
              <a:gd name="connsiteY7422" fmla="*/ 763721 h 2705233"/>
              <a:gd name="connsiteX7423" fmla="*/ 4293459 w 6886183"/>
              <a:gd name="connsiteY7423" fmla="*/ 769722 h 2705233"/>
              <a:gd name="connsiteX7424" fmla="*/ 4286696 w 6886183"/>
              <a:gd name="connsiteY7424" fmla="*/ 772198 h 2705233"/>
              <a:gd name="connsiteX7425" fmla="*/ 4280219 w 6886183"/>
              <a:gd name="connsiteY7425" fmla="*/ 774199 h 2705233"/>
              <a:gd name="connsiteX7426" fmla="*/ 4225260 w 6886183"/>
              <a:gd name="connsiteY7426" fmla="*/ 748100 h 2705233"/>
              <a:gd name="connsiteX7427" fmla="*/ 4249358 w 6886183"/>
              <a:gd name="connsiteY7427" fmla="*/ 711143 h 2705233"/>
              <a:gd name="connsiteX7428" fmla="*/ 4259836 w 6886183"/>
              <a:gd name="connsiteY7428" fmla="*/ 702952 h 2705233"/>
              <a:gd name="connsiteX7429" fmla="*/ 4262693 w 6886183"/>
              <a:gd name="connsiteY7429" fmla="*/ 701047 h 2705233"/>
              <a:gd name="connsiteX7430" fmla="*/ 4264122 w 6886183"/>
              <a:gd name="connsiteY7430" fmla="*/ 700189 h 2705233"/>
              <a:gd name="connsiteX7431" fmla="*/ 4264789 w 6886183"/>
              <a:gd name="connsiteY7431" fmla="*/ 700189 h 2705233"/>
              <a:gd name="connsiteX7432" fmla="*/ 4265646 w 6886183"/>
              <a:gd name="connsiteY7432" fmla="*/ 699713 h 2705233"/>
              <a:gd name="connsiteX7433" fmla="*/ 4272123 w 6886183"/>
              <a:gd name="connsiteY7433" fmla="*/ 696094 h 2705233"/>
              <a:gd name="connsiteX7434" fmla="*/ 4300698 w 6886183"/>
              <a:gd name="connsiteY7434" fmla="*/ 685045 h 2705233"/>
              <a:gd name="connsiteX7435" fmla="*/ 4323749 w 6886183"/>
              <a:gd name="connsiteY7435" fmla="*/ 681037 h 2705233"/>
              <a:gd name="connsiteX7436" fmla="*/ 3130661 w 6886183"/>
              <a:gd name="connsiteY7436" fmla="*/ 660182 h 2705233"/>
              <a:gd name="connsiteX7437" fmla="*/ 3174476 w 6886183"/>
              <a:gd name="connsiteY7437" fmla="*/ 661802 h 2705233"/>
              <a:gd name="connsiteX7438" fmla="*/ 3201145 w 6886183"/>
              <a:gd name="connsiteY7438" fmla="*/ 685614 h 2705233"/>
              <a:gd name="connsiteX7439" fmla="*/ 3159046 w 6886183"/>
              <a:gd name="connsiteY7439" fmla="*/ 744383 h 2705233"/>
              <a:gd name="connsiteX7440" fmla="*/ 3084560 w 6886183"/>
              <a:gd name="connsiteY7440" fmla="*/ 718666 h 2705233"/>
              <a:gd name="connsiteX7441" fmla="*/ 3130661 w 6886183"/>
              <a:gd name="connsiteY7441" fmla="*/ 660182 h 2705233"/>
              <a:gd name="connsiteX7442" fmla="*/ 6177599 w 6886183"/>
              <a:gd name="connsiteY7442" fmla="*/ 636939 h 2705233"/>
              <a:gd name="connsiteX7443" fmla="*/ 6202364 w 6886183"/>
              <a:gd name="connsiteY7443" fmla="*/ 638844 h 2705233"/>
              <a:gd name="connsiteX7444" fmla="*/ 6216461 w 6886183"/>
              <a:gd name="connsiteY7444" fmla="*/ 644083 h 2705233"/>
              <a:gd name="connsiteX7445" fmla="*/ 6220748 w 6886183"/>
              <a:gd name="connsiteY7445" fmla="*/ 651608 h 2705233"/>
              <a:gd name="connsiteX7446" fmla="*/ 6200745 w 6886183"/>
              <a:gd name="connsiteY7446" fmla="*/ 668181 h 2705233"/>
              <a:gd name="connsiteX7447" fmla="*/ 6178266 w 6886183"/>
              <a:gd name="connsiteY7447" fmla="*/ 674944 h 2705233"/>
              <a:gd name="connsiteX7448" fmla="*/ 6165312 w 6886183"/>
              <a:gd name="connsiteY7448" fmla="*/ 677516 h 2705233"/>
              <a:gd name="connsiteX7449" fmla="*/ 6151882 w 6886183"/>
              <a:gd name="connsiteY7449" fmla="*/ 679706 h 2705233"/>
              <a:gd name="connsiteX7450" fmla="*/ 6125402 w 6886183"/>
              <a:gd name="connsiteY7450" fmla="*/ 681897 h 2705233"/>
              <a:gd name="connsiteX7451" fmla="*/ 6102828 w 6886183"/>
              <a:gd name="connsiteY7451" fmla="*/ 681230 h 2705233"/>
              <a:gd name="connsiteX7452" fmla="*/ 6095780 w 6886183"/>
              <a:gd name="connsiteY7452" fmla="*/ 653513 h 2705233"/>
              <a:gd name="connsiteX7453" fmla="*/ 6119116 w 6886183"/>
              <a:gd name="connsiteY7453" fmla="*/ 645035 h 2705233"/>
              <a:gd name="connsiteX7454" fmla="*/ 6126069 w 6886183"/>
              <a:gd name="connsiteY7454" fmla="*/ 643226 h 2705233"/>
              <a:gd name="connsiteX7455" fmla="*/ 6133213 w 6886183"/>
              <a:gd name="connsiteY7455" fmla="*/ 641797 h 2705233"/>
              <a:gd name="connsiteX7456" fmla="*/ 6148072 w 6886183"/>
              <a:gd name="connsiteY7456" fmla="*/ 639320 h 2705233"/>
              <a:gd name="connsiteX7457" fmla="*/ 6177599 w 6886183"/>
              <a:gd name="connsiteY7457" fmla="*/ 636939 h 2705233"/>
              <a:gd name="connsiteX7458" fmla="*/ 4717453 w 6886183"/>
              <a:gd name="connsiteY7458" fmla="*/ 604082 h 2705233"/>
              <a:gd name="connsiteX7459" fmla="*/ 4733990 w 6886183"/>
              <a:gd name="connsiteY7459" fmla="*/ 610655 h 2705233"/>
              <a:gd name="connsiteX7460" fmla="*/ 4735705 w 6886183"/>
              <a:gd name="connsiteY7460" fmla="*/ 639230 h 2705233"/>
              <a:gd name="connsiteX7461" fmla="*/ 4721227 w 6886183"/>
              <a:gd name="connsiteY7461" fmla="*/ 655994 h 2705233"/>
              <a:gd name="connsiteX7462" fmla="*/ 4700081 w 6886183"/>
              <a:gd name="connsiteY7462" fmla="*/ 671901 h 2705233"/>
              <a:gd name="connsiteX7463" fmla="*/ 4675221 w 6886183"/>
              <a:gd name="connsiteY7463" fmla="*/ 684855 h 2705233"/>
              <a:gd name="connsiteX7464" fmla="*/ 4662267 w 6886183"/>
              <a:gd name="connsiteY7464" fmla="*/ 689713 h 2705233"/>
              <a:gd name="connsiteX7465" fmla="*/ 4655790 w 6886183"/>
              <a:gd name="connsiteY7465" fmla="*/ 691618 h 2705233"/>
              <a:gd name="connsiteX7466" fmla="*/ 4649313 w 6886183"/>
              <a:gd name="connsiteY7466" fmla="*/ 693237 h 2705233"/>
              <a:gd name="connsiteX7467" fmla="*/ 4607213 w 6886183"/>
              <a:gd name="connsiteY7467" fmla="*/ 690855 h 2705233"/>
              <a:gd name="connsiteX7468" fmla="*/ 4600926 w 6886183"/>
              <a:gd name="connsiteY7468" fmla="*/ 664662 h 2705233"/>
              <a:gd name="connsiteX7469" fmla="*/ 4636550 w 6886183"/>
              <a:gd name="connsiteY7469" fmla="*/ 627990 h 2705233"/>
              <a:gd name="connsiteX7470" fmla="*/ 4649885 w 6886183"/>
              <a:gd name="connsiteY7470" fmla="*/ 620180 h 2705233"/>
              <a:gd name="connsiteX7471" fmla="*/ 4663982 w 6886183"/>
              <a:gd name="connsiteY7471" fmla="*/ 613608 h 2705233"/>
              <a:gd name="connsiteX7472" fmla="*/ 4692557 w 6886183"/>
              <a:gd name="connsiteY7472" fmla="*/ 604940 h 2705233"/>
              <a:gd name="connsiteX7473" fmla="*/ 4717453 w 6886183"/>
              <a:gd name="connsiteY7473" fmla="*/ 604082 h 2705233"/>
              <a:gd name="connsiteX7474" fmla="*/ 5832985 w 6886183"/>
              <a:gd name="connsiteY7474" fmla="*/ 583790 h 2705233"/>
              <a:gd name="connsiteX7475" fmla="*/ 5861560 w 6886183"/>
              <a:gd name="connsiteY7475" fmla="*/ 594077 h 2705233"/>
              <a:gd name="connsiteX7476" fmla="*/ 5846129 w 6886183"/>
              <a:gd name="connsiteY7476" fmla="*/ 614936 h 2705233"/>
              <a:gd name="connsiteX7477" fmla="*/ 5799743 w 6886183"/>
              <a:gd name="connsiteY7477" fmla="*/ 633986 h 2705233"/>
              <a:gd name="connsiteX7478" fmla="*/ 5786598 w 6886183"/>
              <a:gd name="connsiteY7478" fmla="*/ 636939 h 2705233"/>
              <a:gd name="connsiteX7479" fmla="*/ 5780026 w 6886183"/>
              <a:gd name="connsiteY7479" fmla="*/ 638082 h 2705233"/>
              <a:gd name="connsiteX7480" fmla="*/ 5773549 w 6886183"/>
              <a:gd name="connsiteY7480" fmla="*/ 639035 h 2705233"/>
              <a:gd name="connsiteX7481" fmla="*/ 5748403 w 6886183"/>
              <a:gd name="connsiteY7481" fmla="*/ 640463 h 2705233"/>
              <a:gd name="connsiteX7482" fmla="*/ 5719828 w 6886183"/>
              <a:gd name="connsiteY7482" fmla="*/ 630938 h 2705233"/>
              <a:gd name="connsiteX7483" fmla="*/ 5720876 w 6886183"/>
              <a:gd name="connsiteY7483" fmla="*/ 621413 h 2705233"/>
              <a:gd name="connsiteX7484" fmla="*/ 5732782 w 6886183"/>
              <a:gd name="connsiteY7484" fmla="*/ 609984 h 2705233"/>
              <a:gd name="connsiteX7485" fmla="*/ 5779550 w 6886183"/>
              <a:gd name="connsiteY7485" fmla="*/ 590553 h 2705233"/>
              <a:gd name="connsiteX7486" fmla="*/ 5832985 w 6886183"/>
              <a:gd name="connsiteY7486" fmla="*/ 583790 h 2705233"/>
              <a:gd name="connsiteX7487" fmla="*/ 3574570 w 6886183"/>
              <a:gd name="connsiteY7487" fmla="*/ 576038 h 2705233"/>
              <a:gd name="connsiteX7488" fmla="*/ 3617566 w 6886183"/>
              <a:gd name="connsiteY7488" fmla="*/ 606176 h 2705233"/>
              <a:gd name="connsiteX7489" fmla="*/ 3566893 w 6886183"/>
              <a:gd name="connsiteY7489" fmla="*/ 666088 h 2705233"/>
              <a:gd name="connsiteX7490" fmla="*/ 3499646 w 6886183"/>
              <a:gd name="connsiteY7490" fmla="*/ 641418 h 2705233"/>
              <a:gd name="connsiteX7491" fmla="*/ 3549938 w 6886183"/>
              <a:gd name="connsiteY7491" fmla="*/ 579887 h 2705233"/>
              <a:gd name="connsiteX7492" fmla="*/ 3574570 w 6886183"/>
              <a:gd name="connsiteY7492" fmla="*/ 576038 h 2705233"/>
              <a:gd name="connsiteX7493" fmla="*/ 5093271 w 6886183"/>
              <a:gd name="connsiteY7493" fmla="*/ 566833 h 2705233"/>
              <a:gd name="connsiteX7494" fmla="*/ 5110990 w 6886183"/>
              <a:gd name="connsiteY7494" fmla="*/ 574077 h 2705233"/>
              <a:gd name="connsiteX7495" fmla="*/ 5110990 w 6886183"/>
              <a:gd name="connsiteY7495" fmla="*/ 599509 h 2705233"/>
              <a:gd name="connsiteX7496" fmla="*/ 5068413 w 6886183"/>
              <a:gd name="connsiteY7496" fmla="*/ 631322 h 2705233"/>
              <a:gd name="connsiteX7497" fmla="*/ 5011263 w 6886183"/>
              <a:gd name="connsiteY7497" fmla="*/ 650372 h 2705233"/>
              <a:gd name="connsiteX7498" fmla="*/ 4989927 w 6886183"/>
              <a:gd name="connsiteY7498" fmla="*/ 650372 h 2705233"/>
              <a:gd name="connsiteX7499" fmla="*/ 4975258 w 6886183"/>
              <a:gd name="connsiteY7499" fmla="*/ 644657 h 2705233"/>
              <a:gd name="connsiteX7500" fmla="*/ 4972183 w 6886183"/>
              <a:gd name="connsiteY7500" fmla="*/ 620883 h 2705233"/>
              <a:gd name="connsiteX7501" fmla="*/ 4972591 w 6886183"/>
              <a:gd name="connsiteY7501" fmla="*/ 620369 h 2705233"/>
              <a:gd name="connsiteX7502" fmla="*/ 5014120 w 6886183"/>
              <a:gd name="connsiteY7502" fmla="*/ 586745 h 2705233"/>
              <a:gd name="connsiteX7503" fmla="*/ 5044029 w 6886183"/>
              <a:gd name="connsiteY7503" fmla="*/ 573696 h 2705233"/>
              <a:gd name="connsiteX7504" fmla="*/ 5059078 w 6886183"/>
              <a:gd name="connsiteY7504" fmla="*/ 569219 h 2705233"/>
              <a:gd name="connsiteX7505" fmla="*/ 5074128 w 6886183"/>
              <a:gd name="connsiteY7505" fmla="*/ 566933 h 2705233"/>
              <a:gd name="connsiteX7506" fmla="*/ 5093271 w 6886183"/>
              <a:gd name="connsiteY7506" fmla="*/ 566833 h 2705233"/>
              <a:gd name="connsiteX7507" fmla="*/ 5467606 w 6886183"/>
              <a:gd name="connsiteY7507" fmla="*/ 553694 h 2705233"/>
              <a:gd name="connsiteX7508" fmla="*/ 5501991 w 6886183"/>
              <a:gd name="connsiteY7508" fmla="*/ 561886 h 2705233"/>
              <a:gd name="connsiteX7509" fmla="*/ 5497228 w 6886183"/>
              <a:gd name="connsiteY7509" fmla="*/ 585317 h 2705233"/>
              <a:gd name="connsiteX7510" fmla="*/ 5450270 w 6886183"/>
              <a:gd name="connsiteY7510" fmla="*/ 612082 h 2705233"/>
              <a:gd name="connsiteX7511" fmla="*/ 5442841 w 6886183"/>
              <a:gd name="connsiteY7511" fmla="*/ 614845 h 2705233"/>
              <a:gd name="connsiteX7512" fmla="*/ 5435316 w 6886183"/>
              <a:gd name="connsiteY7512" fmla="*/ 617321 h 2705233"/>
              <a:gd name="connsiteX7513" fmla="*/ 5420266 w 6886183"/>
              <a:gd name="connsiteY7513" fmla="*/ 621607 h 2705233"/>
              <a:gd name="connsiteX7514" fmla="*/ 5392453 w 6886183"/>
              <a:gd name="connsiteY7514" fmla="*/ 625894 h 2705233"/>
              <a:gd name="connsiteX7515" fmla="*/ 5372832 w 6886183"/>
              <a:gd name="connsiteY7515" fmla="*/ 624084 h 2705233"/>
              <a:gd name="connsiteX7516" fmla="*/ 5361307 w 6886183"/>
              <a:gd name="connsiteY7516" fmla="*/ 617416 h 2705233"/>
              <a:gd name="connsiteX7517" fmla="*/ 5366450 w 6886183"/>
              <a:gd name="connsiteY7517" fmla="*/ 594175 h 2705233"/>
              <a:gd name="connsiteX7518" fmla="*/ 5385500 w 6886183"/>
              <a:gd name="connsiteY7518" fmla="*/ 580174 h 2705233"/>
              <a:gd name="connsiteX7519" fmla="*/ 5411218 w 6886183"/>
              <a:gd name="connsiteY7519" fmla="*/ 567696 h 2705233"/>
              <a:gd name="connsiteX7520" fmla="*/ 5439793 w 6886183"/>
              <a:gd name="connsiteY7520" fmla="*/ 558171 h 2705233"/>
              <a:gd name="connsiteX7521" fmla="*/ 5467606 w 6886183"/>
              <a:gd name="connsiteY7521" fmla="*/ 553694 h 2705233"/>
              <a:gd name="connsiteX7522" fmla="*/ 3987742 w 6886183"/>
              <a:gd name="connsiteY7522" fmla="*/ 480175 h 2705233"/>
              <a:gd name="connsiteX7523" fmla="*/ 4023425 w 6886183"/>
              <a:gd name="connsiteY7523" fmla="*/ 511307 h 2705233"/>
              <a:gd name="connsiteX7524" fmla="*/ 3965323 w 6886183"/>
              <a:gd name="connsiteY7524" fmla="*/ 573219 h 2705233"/>
              <a:gd name="connsiteX7525" fmla="*/ 3905696 w 6886183"/>
              <a:gd name="connsiteY7525" fmla="*/ 547692 h 2705233"/>
              <a:gd name="connsiteX7526" fmla="*/ 3963703 w 6886183"/>
              <a:gd name="connsiteY7526" fmla="*/ 484158 h 2705233"/>
              <a:gd name="connsiteX7527" fmla="*/ 3987742 w 6886183"/>
              <a:gd name="connsiteY7527" fmla="*/ 480175 h 2705233"/>
              <a:gd name="connsiteX7528" fmla="*/ 4425381 w 6886183"/>
              <a:gd name="connsiteY7528" fmla="*/ 392145 h 2705233"/>
              <a:gd name="connsiteX7529" fmla="*/ 4442621 w 6886183"/>
              <a:gd name="connsiteY7529" fmla="*/ 396717 h 2705233"/>
              <a:gd name="connsiteX7530" fmla="*/ 4452623 w 6886183"/>
              <a:gd name="connsiteY7530" fmla="*/ 422816 h 2705233"/>
              <a:gd name="connsiteX7531" fmla="*/ 4443098 w 6886183"/>
              <a:gd name="connsiteY7531" fmla="*/ 441865 h 2705233"/>
              <a:gd name="connsiteX7532" fmla="*/ 4425095 w 6886183"/>
              <a:gd name="connsiteY7532" fmla="*/ 460059 h 2705233"/>
              <a:gd name="connsiteX7533" fmla="*/ 4374994 w 6886183"/>
              <a:gd name="connsiteY7533" fmla="*/ 485776 h 2705233"/>
              <a:gd name="connsiteX7534" fmla="*/ 4331750 w 6886183"/>
              <a:gd name="connsiteY7534" fmla="*/ 485776 h 2705233"/>
              <a:gd name="connsiteX7535" fmla="*/ 4320416 w 6886183"/>
              <a:gd name="connsiteY7535" fmla="*/ 458535 h 2705233"/>
              <a:gd name="connsiteX7536" fmla="*/ 4348991 w 6886183"/>
              <a:gd name="connsiteY7536" fmla="*/ 419768 h 2705233"/>
              <a:gd name="connsiteX7537" fmla="*/ 4401759 w 6886183"/>
              <a:gd name="connsiteY7537" fmla="*/ 394527 h 2705233"/>
              <a:gd name="connsiteX7538" fmla="*/ 4425381 w 6886183"/>
              <a:gd name="connsiteY7538" fmla="*/ 392145 h 2705233"/>
              <a:gd name="connsiteX7539" fmla="*/ 6173028 w 6886183"/>
              <a:gd name="connsiteY7539" fmla="*/ 391609 h 2705233"/>
              <a:gd name="connsiteX7540" fmla="*/ 6223987 w 6886183"/>
              <a:gd name="connsiteY7540" fmla="*/ 391954 h 2705233"/>
              <a:gd name="connsiteX7541" fmla="*/ 6219796 w 6886183"/>
              <a:gd name="connsiteY7541" fmla="*/ 423291 h 2705233"/>
              <a:gd name="connsiteX7542" fmla="*/ 6170361 w 6886183"/>
              <a:gd name="connsiteY7542" fmla="*/ 436436 h 2705233"/>
              <a:gd name="connsiteX7543" fmla="*/ 6122164 w 6886183"/>
              <a:gd name="connsiteY7543" fmla="*/ 436436 h 2705233"/>
              <a:gd name="connsiteX7544" fmla="*/ 6106448 w 6886183"/>
              <a:gd name="connsiteY7544" fmla="*/ 431673 h 2705233"/>
              <a:gd name="connsiteX7545" fmla="*/ 6101495 w 6886183"/>
              <a:gd name="connsiteY7545" fmla="*/ 424624 h 2705233"/>
              <a:gd name="connsiteX7546" fmla="*/ 6107305 w 6886183"/>
              <a:gd name="connsiteY7546" fmla="*/ 415671 h 2705233"/>
              <a:gd name="connsiteX7547" fmla="*/ 6124069 w 6886183"/>
              <a:gd name="connsiteY7547" fmla="*/ 405765 h 2705233"/>
              <a:gd name="connsiteX7548" fmla="*/ 6173028 w 6886183"/>
              <a:gd name="connsiteY7548" fmla="*/ 391609 h 2705233"/>
              <a:gd name="connsiteX7549" fmla="*/ 5785456 w 6886183"/>
              <a:gd name="connsiteY7549" fmla="*/ 317277 h 2705233"/>
              <a:gd name="connsiteX7550" fmla="*/ 5798124 w 6886183"/>
              <a:gd name="connsiteY7550" fmla="*/ 317277 h 2705233"/>
              <a:gd name="connsiteX7551" fmla="*/ 5805934 w 6886183"/>
              <a:gd name="connsiteY7551" fmla="*/ 353950 h 2705233"/>
              <a:gd name="connsiteX7552" fmla="*/ 5784027 w 6886183"/>
              <a:gd name="connsiteY7552" fmla="*/ 365093 h 2705233"/>
              <a:gd name="connsiteX7553" fmla="*/ 5756690 w 6886183"/>
              <a:gd name="connsiteY7553" fmla="*/ 374618 h 2705233"/>
              <a:gd name="connsiteX7554" fmla="*/ 5728591 w 6886183"/>
              <a:gd name="connsiteY7554" fmla="*/ 380905 h 2705233"/>
              <a:gd name="connsiteX7555" fmla="*/ 5704303 w 6886183"/>
              <a:gd name="connsiteY7555" fmla="*/ 383190 h 2705233"/>
              <a:gd name="connsiteX7556" fmla="*/ 5686967 w 6886183"/>
              <a:gd name="connsiteY7556" fmla="*/ 349949 h 2705233"/>
              <a:gd name="connsiteX7557" fmla="*/ 5739259 w 6886183"/>
              <a:gd name="connsiteY7557" fmla="*/ 325660 h 2705233"/>
              <a:gd name="connsiteX7558" fmla="*/ 5770882 w 6886183"/>
              <a:gd name="connsiteY7558" fmla="*/ 318707 h 2705233"/>
              <a:gd name="connsiteX7559" fmla="*/ 5785456 w 6886183"/>
              <a:gd name="connsiteY7559" fmla="*/ 317277 h 2705233"/>
              <a:gd name="connsiteX7560" fmla="*/ 4903775 w 6886183"/>
              <a:gd name="connsiteY7560" fmla="*/ 315822 h 2705233"/>
              <a:gd name="connsiteX7561" fmla="*/ 4921728 w 6886183"/>
              <a:gd name="connsiteY7561" fmla="*/ 322898 h 2705233"/>
              <a:gd name="connsiteX7562" fmla="*/ 4923442 w 6886183"/>
              <a:gd name="connsiteY7562" fmla="*/ 350711 h 2705233"/>
              <a:gd name="connsiteX7563" fmla="*/ 4908107 w 6886183"/>
              <a:gd name="connsiteY7563" fmla="*/ 368809 h 2705233"/>
              <a:gd name="connsiteX7564" fmla="*/ 4885057 w 6886183"/>
              <a:gd name="connsiteY7564" fmla="*/ 385478 h 2705233"/>
              <a:gd name="connsiteX7565" fmla="*/ 4830478 w 6886183"/>
              <a:gd name="connsiteY7565" fmla="*/ 406336 h 2705233"/>
              <a:gd name="connsiteX7566" fmla="*/ 4809047 w 6886183"/>
              <a:gd name="connsiteY7566" fmla="*/ 406336 h 2705233"/>
              <a:gd name="connsiteX7567" fmla="*/ 4794188 w 6886183"/>
              <a:gd name="connsiteY7567" fmla="*/ 400718 h 2705233"/>
              <a:gd name="connsiteX7568" fmla="*/ 4789997 w 6886183"/>
              <a:gd name="connsiteY7568" fmla="*/ 375000 h 2705233"/>
              <a:gd name="connsiteX7569" fmla="*/ 4804380 w 6886183"/>
              <a:gd name="connsiteY7569" fmla="*/ 355950 h 2705233"/>
              <a:gd name="connsiteX7570" fmla="*/ 4814953 w 6886183"/>
              <a:gd name="connsiteY7570" fmla="*/ 346424 h 2705233"/>
              <a:gd name="connsiteX7571" fmla="*/ 4827335 w 6886183"/>
              <a:gd name="connsiteY7571" fmla="*/ 338043 h 2705233"/>
              <a:gd name="connsiteX7572" fmla="*/ 4884485 w 6886183"/>
              <a:gd name="connsiteY7572" fmla="*/ 316325 h 2705233"/>
              <a:gd name="connsiteX7573" fmla="*/ 4903775 w 6886183"/>
              <a:gd name="connsiteY7573" fmla="*/ 315822 h 2705233"/>
              <a:gd name="connsiteX7574" fmla="*/ 3044636 w 6886183"/>
              <a:gd name="connsiteY7574" fmla="*/ 312896 h 2705233"/>
              <a:gd name="connsiteX7575" fmla="*/ 3106739 w 6886183"/>
              <a:gd name="connsiteY7575" fmla="*/ 340423 h 2705233"/>
              <a:gd name="connsiteX7576" fmla="*/ 3067496 w 6886183"/>
              <a:gd name="connsiteY7576" fmla="*/ 396811 h 2705233"/>
              <a:gd name="connsiteX7577" fmla="*/ 3008822 w 6886183"/>
              <a:gd name="connsiteY7577" fmla="*/ 365855 h 2705233"/>
              <a:gd name="connsiteX7578" fmla="*/ 3044636 w 6886183"/>
              <a:gd name="connsiteY7578" fmla="*/ 312896 h 2705233"/>
              <a:gd name="connsiteX7579" fmla="*/ 5335780 w 6886183"/>
              <a:gd name="connsiteY7579" fmla="*/ 299561 h 2705233"/>
              <a:gd name="connsiteX7580" fmla="*/ 5373023 w 6886183"/>
              <a:gd name="connsiteY7580" fmla="*/ 309087 h 2705233"/>
              <a:gd name="connsiteX7581" fmla="*/ 5364070 w 6886183"/>
              <a:gd name="connsiteY7581" fmla="*/ 337661 h 2705233"/>
              <a:gd name="connsiteX7582" fmla="*/ 5318350 w 6886183"/>
              <a:gd name="connsiteY7582" fmla="*/ 365284 h 2705233"/>
              <a:gd name="connsiteX7583" fmla="*/ 5304443 w 6886183"/>
              <a:gd name="connsiteY7583" fmla="*/ 370523 h 2705233"/>
              <a:gd name="connsiteX7584" fmla="*/ 5290632 w 6886183"/>
              <a:gd name="connsiteY7584" fmla="*/ 374903 h 2705233"/>
              <a:gd name="connsiteX7585" fmla="*/ 5264914 w 6886183"/>
              <a:gd name="connsiteY7585" fmla="*/ 379475 h 2705233"/>
              <a:gd name="connsiteX7586" fmla="*/ 5232815 w 6886183"/>
              <a:gd name="connsiteY7586" fmla="*/ 370618 h 2705233"/>
              <a:gd name="connsiteX7587" fmla="*/ 5236625 w 6886183"/>
              <a:gd name="connsiteY7587" fmla="*/ 345567 h 2705233"/>
              <a:gd name="connsiteX7588" fmla="*/ 5279678 w 6886183"/>
              <a:gd name="connsiteY7588" fmla="*/ 315945 h 2705233"/>
              <a:gd name="connsiteX7589" fmla="*/ 5293680 w 6886183"/>
              <a:gd name="connsiteY7589" fmla="*/ 309944 h 2705233"/>
              <a:gd name="connsiteX7590" fmla="*/ 5300919 w 6886183"/>
              <a:gd name="connsiteY7590" fmla="*/ 307277 h 2705233"/>
              <a:gd name="connsiteX7591" fmla="*/ 5308158 w 6886183"/>
              <a:gd name="connsiteY7591" fmla="*/ 304991 h 2705233"/>
              <a:gd name="connsiteX7592" fmla="*/ 5335780 w 6886183"/>
              <a:gd name="connsiteY7592" fmla="*/ 299561 h 2705233"/>
              <a:gd name="connsiteX7593" fmla="*/ 3563550 w 6886183"/>
              <a:gd name="connsiteY7593" fmla="*/ 217860 h 2705233"/>
              <a:gd name="connsiteX7594" fmla="*/ 3601563 w 6886183"/>
              <a:gd name="connsiteY7594" fmla="*/ 249364 h 2705233"/>
              <a:gd name="connsiteX7595" fmla="*/ 3556891 w 6886183"/>
              <a:gd name="connsiteY7595" fmla="*/ 307371 h 2705233"/>
              <a:gd name="connsiteX7596" fmla="*/ 3502408 w 6886183"/>
              <a:gd name="connsiteY7596" fmla="*/ 283273 h 2705233"/>
              <a:gd name="connsiteX7597" fmla="*/ 3541937 w 6886183"/>
              <a:gd name="connsiteY7597" fmla="*/ 221551 h 2705233"/>
              <a:gd name="connsiteX7598" fmla="*/ 3563550 w 6886183"/>
              <a:gd name="connsiteY7598" fmla="*/ 217860 h 2705233"/>
              <a:gd name="connsiteX7599" fmla="*/ 4034141 w 6886183"/>
              <a:gd name="connsiteY7599" fmla="*/ 112729 h 2705233"/>
              <a:gd name="connsiteX7600" fmla="*/ 4067145 w 6886183"/>
              <a:gd name="connsiteY7600" fmla="*/ 144875 h 2705233"/>
              <a:gd name="connsiteX7601" fmla="*/ 4019520 w 6886183"/>
              <a:gd name="connsiteY7601" fmla="*/ 201073 h 2705233"/>
              <a:gd name="connsiteX7602" fmla="*/ 3969799 w 6886183"/>
              <a:gd name="connsiteY7602" fmla="*/ 176879 h 2705233"/>
              <a:gd name="connsiteX7603" fmla="*/ 4013519 w 6886183"/>
              <a:gd name="connsiteY7603" fmla="*/ 116967 h 2705233"/>
              <a:gd name="connsiteX7604" fmla="*/ 4034141 w 6886183"/>
              <a:gd name="connsiteY7604" fmla="*/ 112729 h 2705233"/>
              <a:gd name="connsiteX7605" fmla="*/ 4596544 w 6886183"/>
              <a:gd name="connsiteY7605" fmla="*/ 0 h 2705233"/>
              <a:gd name="connsiteX7606" fmla="*/ 4607308 w 6886183"/>
              <a:gd name="connsiteY7606" fmla="*/ 1143 h 2705233"/>
              <a:gd name="connsiteX7607" fmla="*/ 4622357 w 6886183"/>
              <a:gd name="connsiteY7607" fmla="*/ 9335 h 2705233"/>
              <a:gd name="connsiteX7608" fmla="*/ 4621214 w 6886183"/>
              <a:gd name="connsiteY7608" fmla="*/ 42196 h 2705233"/>
              <a:gd name="connsiteX7609" fmla="*/ 4540442 w 6886183"/>
              <a:gd name="connsiteY7609" fmla="*/ 92393 h 2705233"/>
              <a:gd name="connsiteX7610" fmla="*/ 4508057 w 6886183"/>
              <a:gd name="connsiteY7610" fmla="*/ 84296 h 2705233"/>
              <a:gd name="connsiteX7611" fmla="*/ 4505295 w 6886183"/>
              <a:gd name="connsiteY7611" fmla="*/ 56007 h 2705233"/>
              <a:gd name="connsiteX7612" fmla="*/ 4517677 w 6886183"/>
              <a:gd name="connsiteY7612" fmla="*/ 38100 h 2705233"/>
              <a:gd name="connsiteX7613" fmla="*/ 4536727 w 6886183"/>
              <a:gd name="connsiteY7613" fmla="*/ 21717 h 2705233"/>
              <a:gd name="connsiteX7614" fmla="*/ 4584352 w 6886183"/>
              <a:gd name="connsiteY7614" fmla="*/ 1143 h 2705233"/>
              <a:gd name="connsiteX7615" fmla="*/ 4596544 w 6886183"/>
              <a:gd name="connsiteY7615" fmla="*/ 0 h 2705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</a:cxnLst>
            <a:rect l="l" t="t" r="r" b="b"/>
            <a:pathLst>
              <a:path w="6886183" h="2705233">
                <a:moveTo>
                  <a:pt x="1951170" y="2701576"/>
                </a:moveTo>
                <a:cubicBezTo>
                  <a:pt x="1954504" y="2702147"/>
                  <a:pt x="1952027" y="2703290"/>
                  <a:pt x="1945646" y="2704243"/>
                </a:cubicBezTo>
                <a:cubicBezTo>
                  <a:pt x="1939302" y="2705146"/>
                  <a:pt x="1932892" y="2705432"/>
                  <a:pt x="1926501" y="2705100"/>
                </a:cubicBezTo>
                <a:cubicBezTo>
                  <a:pt x="1922500" y="2705100"/>
                  <a:pt x="1924214" y="2703576"/>
                  <a:pt x="1930406" y="2702624"/>
                </a:cubicBezTo>
                <a:cubicBezTo>
                  <a:pt x="1937264" y="2701485"/>
                  <a:pt x="1944236" y="2701134"/>
                  <a:pt x="1951170" y="2701576"/>
                </a:cubicBezTo>
                <a:close/>
                <a:moveTo>
                  <a:pt x="2125856" y="2693765"/>
                </a:moveTo>
                <a:cubicBezTo>
                  <a:pt x="2130142" y="2693765"/>
                  <a:pt x="2127285" y="2695480"/>
                  <a:pt x="2118998" y="2696813"/>
                </a:cubicBezTo>
                <a:cubicBezTo>
                  <a:pt x="2112712" y="2697922"/>
                  <a:pt x="2106320" y="2698306"/>
                  <a:pt x="2099948" y="2697956"/>
                </a:cubicBezTo>
                <a:cubicBezTo>
                  <a:pt x="2095566" y="2697385"/>
                  <a:pt x="2098424" y="2696146"/>
                  <a:pt x="2106806" y="2694908"/>
                </a:cubicBezTo>
                <a:cubicBezTo>
                  <a:pt x="2113093" y="2693799"/>
                  <a:pt x="2119484" y="2693416"/>
                  <a:pt x="2125856" y="2693765"/>
                </a:cubicBezTo>
                <a:close/>
                <a:moveTo>
                  <a:pt x="2325310" y="2692717"/>
                </a:moveTo>
                <a:cubicBezTo>
                  <a:pt x="2327787" y="2692717"/>
                  <a:pt x="2325882" y="2693955"/>
                  <a:pt x="2319786" y="2695193"/>
                </a:cubicBezTo>
                <a:cubicBezTo>
                  <a:pt x="2314252" y="2696379"/>
                  <a:pt x="2308584" y="2696892"/>
                  <a:pt x="2302927" y="2696717"/>
                </a:cubicBezTo>
                <a:cubicBezTo>
                  <a:pt x="2299593" y="2696717"/>
                  <a:pt x="2302069" y="2695193"/>
                  <a:pt x="2308832" y="2693955"/>
                </a:cubicBezTo>
                <a:cubicBezTo>
                  <a:pt x="2314242" y="2692767"/>
                  <a:pt x="2319786" y="2692350"/>
                  <a:pt x="2325310" y="2692717"/>
                </a:cubicBezTo>
                <a:close/>
                <a:moveTo>
                  <a:pt x="1895733" y="2690812"/>
                </a:moveTo>
                <a:cubicBezTo>
                  <a:pt x="1901067" y="2691574"/>
                  <a:pt x="1898305" y="2692812"/>
                  <a:pt x="1889066" y="2694050"/>
                </a:cubicBezTo>
                <a:cubicBezTo>
                  <a:pt x="1881970" y="2695040"/>
                  <a:pt x="1874778" y="2695264"/>
                  <a:pt x="1867634" y="2694717"/>
                </a:cubicBezTo>
                <a:cubicBezTo>
                  <a:pt x="1862205" y="2693955"/>
                  <a:pt x="1864967" y="2692717"/>
                  <a:pt x="1874207" y="2691574"/>
                </a:cubicBezTo>
                <a:cubicBezTo>
                  <a:pt x="1881332" y="2690564"/>
                  <a:pt x="1888551" y="2690308"/>
                  <a:pt x="1895733" y="2690812"/>
                </a:cubicBezTo>
                <a:close/>
                <a:moveTo>
                  <a:pt x="2077096" y="2684240"/>
                </a:moveTo>
                <a:cubicBezTo>
                  <a:pt x="2081382" y="2685002"/>
                  <a:pt x="2077096" y="2686907"/>
                  <a:pt x="2067571" y="2688241"/>
                </a:cubicBezTo>
                <a:cubicBezTo>
                  <a:pt x="2059570" y="2689467"/>
                  <a:pt x="2051455" y="2689787"/>
                  <a:pt x="2043377" y="2689193"/>
                </a:cubicBezTo>
                <a:cubicBezTo>
                  <a:pt x="2039282" y="2688526"/>
                  <a:pt x="2042901" y="2686907"/>
                  <a:pt x="2051283" y="2685574"/>
                </a:cubicBezTo>
                <a:cubicBezTo>
                  <a:pt x="2059818" y="2684239"/>
                  <a:pt x="2068466" y="2683792"/>
                  <a:pt x="2077096" y="2684240"/>
                </a:cubicBezTo>
                <a:close/>
                <a:moveTo>
                  <a:pt x="2290266" y="2683764"/>
                </a:moveTo>
                <a:cubicBezTo>
                  <a:pt x="2293411" y="2684336"/>
                  <a:pt x="2288647" y="2686050"/>
                  <a:pt x="2281219" y="2687384"/>
                </a:cubicBezTo>
                <a:cubicBezTo>
                  <a:pt x="2274275" y="2688606"/>
                  <a:pt x="2267217" y="2689116"/>
                  <a:pt x="2260168" y="2688908"/>
                </a:cubicBezTo>
                <a:cubicBezTo>
                  <a:pt x="2256644" y="2688908"/>
                  <a:pt x="2260168" y="2686717"/>
                  <a:pt x="2267693" y="2685383"/>
                </a:cubicBezTo>
                <a:cubicBezTo>
                  <a:pt x="2275132" y="2683957"/>
                  <a:pt x="2282704" y="2683414"/>
                  <a:pt x="2290266" y="2683764"/>
                </a:cubicBezTo>
                <a:close/>
                <a:moveTo>
                  <a:pt x="2468375" y="2681859"/>
                </a:moveTo>
                <a:cubicBezTo>
                  <a:pt x="2470756" y="2682335"/>
                  <a:pt x="2467804" y="2683478"/>
                  <a:pt x="2460946" y="2684717"/>
                </a:cubicBezTo>
                <a:cubicBezTo>
                  <a:pt x="2455983" y="2685858"/>
                  <a:pt x="2450887" y="2686307"/>
                  <a:pt x="2445801" y="2686050"/>
                </a:cubicBezTo>
                <a:cubicBezTo>
                  <a:pt x="2443325" y="2685574"/>
                  <a:pt x="2446277" y="2684431"/>
                  <a:pt x="2453135" y="2683193"/>
                </a:cubicBezTo>
                <a:cubicBezTo>
                  <a:pt x="2458126" y="2682055"/>
                  <a:pt x="2463260" y="2681607"/>
                  <a:pt x="2468375" y="2681859"/>
                </a:cubicBezTo>
                <a:close/>
                <a:moveTo>
                  <a:pt x="1591222" y="2679668"/>
                </a:moveTo>
                <a:cubicBezTo>
                  <a:pt x="1598918" y="2678847"/>
                  <a:pt x="1606672" y="2678847"/>
                  <a:pt x="1614368" y="2679668"/>
                </a:cubicBezTo>
                <a:cubicBezTo>
                  <a:pt x="1620940" y="2680525"/>
                  <a:pt x="1619130" y="2681763"/>
                  <a:pt x="1610367" y="2682621"/>
                </a:cubicBezTo>
                <a:cubicBezTo>
                  <a:pt x="1602042" y="2683490"/>
                  <a:pt x="1593641" y="2683490"/>
                  <a:pt x="1585317" y="2682621"/>
                </a:cubicBezTo>
                <a:cubicBezTo>
                  <a:pt x="1579411" y="2681668"/>
                  <a:pt x="1581792" y="2680430"/>
                  <a:pt x="1591222" y="2679668"/>
                </a:cubicBezTo>
                <a:close/>
                <a:moveTo>
                  <a:pt x="1830017" y="2678620"/>
                </a:moveTo>
                <a:cubicBezTo>
                  <a:pt x="1836780" y="2679287"/>
                  <a:pt x="1833732" y="2681287"/>
                  <a:pt x="1824016" y="2682430"/>
                </a:cubicBezTo>
                <a:cubicBezTo>
                  <a:pt x="1814730" y="2683601"/>
                  <a:pt x="1805348" y="2683856"/>
                  <a:pt x="1796013" y="2683192"/>
                </a:cubicBezTo>
                <a:cubicBezTo>
                  <a:pt x="1790203" y="2682430"/>
                  <a:pt x="1792870" y="2680715"/>
                  <a:pt x="1801442" y="2679572"/>
                </a:cubicBezTo>
                <a:cubicBezTo>
                  <a:pt x="1810920" y="2678378"/>
                  <a:pt x="1820483" y="2678060"/>
                  <a:pt x="1830017" y="2678620"/>
                </a:cubicBezTo>
                <a:close/>
                <a:moveTo>
                  <a:pt x="2246264" y="2674906"/>
                </a:moveTo>
                <a:cubicBezTo>
                  <a:pt x="2251312" y="2675572"/>
                  <a:pt x="2247692" y="2677287"/>
                  <a:pt x="2236739" y="2679001"/>
                </a:cubicBezTo>
                <a:cubicBezTo>
                  <a:pt x="2228995" y="2680532"/>
                  <a:pt x="2221089" y="2681077"/>
                  <a:pt x="2213212" y="2680621"/>
                </a:cubicBezTo>
                <a:cubicBezTo>
                  <a:pt x="2208260" y="2680144"/>
                  <a:pt x="2211878" y="2678525"/>
                  <a:pt x="2222642" y="2676525"/>
                </a:cubicBezTo>
                <a:cubicBezTo>
                  <a:pt x="2230414" y="2674995"/>
                  <a:pt x="2238348" y="2674450"/>
                  <a:pt x="2246264" y="2674906"/>
                </a:cubicBezTo>
                <a:close/>
                <a:moveTo>
                  <a:pt x="2434950" y="2673382"/>
                </a:moveTo>
                <a:cubicBezTo>
                  <a:pt x="2438855" y="2673382"/>
                  <a:pt x="2434950" y="2675572"/>
                  <a:pt x="2427139" y="2677096"/>
                </a:cubicBezTo>
                <a:cubicBezTo>
                  <a:pt x="2420491" y="2678394"/>
                  <a:pt x="2413718" y="2679000"/>
                  <a:pt x="2406946" y="2678906"/>
                </a:cubicBezTo>
                <a:cubicBezTo>
                  <a:pt x="2402946" y="2678525"/>
                  <a:pt x="2406660" y="2676525"/>
                  <a:pt x="2414757" y="2675287"/>
                </a:cubicBezTo>
                <a:cubicBezTo>
                  <a:pt x="2421396" y="2673923"/>
                  <a:pt x="2428168" y="2673285"/>
                  <a:pt x="2434950" y="2673382"/>
                </a:cubicBezTo>
                <a:close/>
                <a:moveTo>
                  <a:pt x="2026618" y="2673382"/>
                </a:moveTo>
                <a:cubicBezTo>
                  <a:pt x="2032904" y="2674239"/>
                  <a:pt x="2029475" y="2675858"/>
                  <a:pt x="2017950" y="2677573"/>
                </a:cubicBezTo>
                <a:cubicBezTo>
                  <a:pt x="2008863" y="2679116"/>
                  <a:pt x="1999614" y="2679564"/>
                  <a:pt x="1990423" y="2678906"/>
                </a:cubicBezTo>
                <a:cubicBezTo>
                  <a:pt x="1983470" y="2678144"/>
                  <a:pt x="1986232" y="2676525"/>
                  <a:pt x="1997471" y="2674811"/>
                </a:cubicBezTo>
                <a:cubicBezTo>
                  <a:pt x="2007092" y="2673109"/>
                  <a:pt x="2016883" y="2672629"/>
                  <a:pt x="2026618" y="2673382"/>
                </a:cubicBezTo>
                <a:close/>
                <a:moveTo>
                  <a:pt x="2597727" y="2670238"/>
                </a:moveTo>
                <a:cubicBezTo>
                  <a:pt x="2600585" y="2670238"/>
                  <a:pt x="2597727" y="2671667"/>
                  <a:pt x="2591917" y="2672905"/>
                </a:cubicBezTo>
                <a:cubicBezTo>
                  <a:pt x="2587183" y="2674084"/>
                  <a:pt x="2582316" y="2674598"/>
                  <a:pt x="2577439" y="2674429"/>
                </a:cubicBezTo>
                <a:cubicBezTo>
                  <a:pt x="2575153" y="2674429"/>
                  <a:pt x="2578106" y="2672905"/>
                  <a:pt x="2584487" y="2671667"/>
                </a:cubicBezTo>
                <a:cubicBezTo>
                  <a:pt x="2588812" y="2670594"/>
                  <a:pt x="2593269" y="2670114"/>
                  <a:pt x="2597727" y="2670238"/>
                </a:cubicBezTo>
                <a:close/>
                <a:moveTo>
                  <a:pt x="2201214" y="2665476"/>
                </a:moveTo>
                <a:cubicBezTo>
                  <a:pt x="2207024" y="2666048"/>
                  <a:pt x="2202261" y="2668524"/>
                  <a:pt x="2191689" y="2670334"/>
                </a:cubicBezTo>
                <a:cubicBezTo>
                  <a:pt x="2181935" y="2671957"/>
                  <a:pt x="2172048" y="2672626"/>
                  <a:pt x="2162161" y="2672334"/>
                </a:cubicBezTo>
                <a:cubicBezTo>
                  <a:pt x="2156256" y="2671667"/>
                  <a:pt x="2161018" y="2669191"/>
                  <a:pt x="2171686" y="2667381"/>
                </a:cubicBezTo>
                <a:cubicBezTo>
                  <a:pt x="2181440" y="2665742"/>
                  <a:pt x="2191336" y="2665104"/>
                  <a:pt x="2201214" y="2665476"/>
                </a:cubicBezTo>
                <a:close/>
                <a:moveTo>
                  <a:pt x="1735340" y="2665286"/>
                </a:moveTo>
                <a:cubicBezTo>
                  <a:pt x="1745817" y="2664157"/>
                  <a:pt x="1756390" y="2664157"/>
                  <a:pt x="1766868" y="2665286"/>
                </a:cubicBezTo>
                <a:cubicBezTo>
                  <a:pt x="1773535" y="2666333"/>
                  <a:pt x="1770011" y="2668048"/>
                  <a:pt x="1758676" y="2669381"/>
                </a:cubicBezTo>
                <a:lnTo>
                  <a:pt x="1750008" y="2670143"/>
                </a:lnTo>
                <a:lnTo>
                  <a:pt x="1741245" y="2670143"/>
                </a:lnTo>
                <a:cubicBezTo>
                  <a:pt x="1736569" y="2670236"/>
                  <a:pt x="1731882" y="2669981"/>
                  <a:pt x="1727244" y="2669381"/>
                </a:cubicBezTo>
                <a:cubicBezTo>
                  <a:pt x="1720386" y="2668334"/>
                  <a:pt x="1723815" y="2666524"/>
                  <a:pt x="1735340" y="2665286"/>
                </a:cubicBezTo>
                <a:close/>
                <a:moveTo>
                  <a:pt x="2403999" y="2664332"/>
                </a:moveTo>
                <a:cubicBezTo>
                  <a:pt x="2407238" y="2664999"/>
                  <a:pt x="2401236" y="2667476"/>
                  <a:pt x="2392282" y="2669000"/>
                </a:cubicBezTo>
                <a:cubicBezTo>
                  <a:pt x="2384377" y="2670497"/>
                  <a:pt x="2376329" y="2671136"/>
                  <a:pt x="2368279" y="2670905"/>
                </a:cubicBezTo>
                <a:cubicBezTo>
                  <a:pt x="2364185" y="2670333"/>
                  <a:pt x="2369614" y="2667952"/>
                  <a:pt x="2378566" y="2666333"/>
                </a:cubicBezTo>
                <a:cubicBezTo>
                  <a:pt x="2386930" y="2664632"/>
                  <a:pt x="2395473" y="2663961"/>
                  <a:pt x="2403999" y="2664332"/>
                </a:cubicBezTo>
                <a:close/>
                <a:moveTo>
                  <a:pt x="1509022" y="2662999"/>
                </a:moveTo>
                <a:cubicBezTo>
                  <a:pt x="1518766" y="2662150"/>
                  <a:pt x="1528567" y="2662341"/>
                  <a:pt x="1538264" y="2663571"/>
                </a:cubicBezTo>
                <a:cubicBezTo>
                  <a:pt x="1544455" y="2664618"/>
                  <a:pt x="1542645" y="2665761"/>
                  <a:pt x="1533597" y="2666619"/>
                </a:cubicBezTo>
                <a:cubicBezTo>
                  <a:pt x="1523890" y="2667564"/>
                  <a:pt x="1514108" y="2667371"/>
                  <a:pt x="1504450" y="2666047"/>
                </a:cubicBezTo>
                <a:cubicBezTo>
                  <a:pt x="1498068" y="2665000"/>
                  <a:pt x="1499878" y="2663761"/>
                  <a:pt x="1509022" y="2662999"/>
                </a:cubicBezTo>
                <a:close/>
                <a:moveTo>
                  <a:pt x="1969948" y="2661952"/>
                </a:moveTo>
                <a:cubicBezTo>
                  <a:pt x="1975663" y="2662904"/>
                  <a:pt x="1970615" y="2665381"/>
                  <a:pt x="1959757" y="2666905"/>
                </a:cubicBezTo>
                <a:cubicBezTo>
                  <a:pt x="1948622" y="2668425"/>
                  <a:pt x="1937354" y="2668839"/>
                  <a:pt x="1926133" y="2668143"/>
                </a:cubicBezTo>
                <a:cubicBezTo>
                  <a:pt x="1920133" y="2667095"/>
                  <a:pt x="1925181" y="2664714"/>
                  <a:pt x="1936134" y="2663190"/>
                </a:cubicBezTo>
                <a:cubicBezTo>
                  <a:pt x="1947336" y="2661671"/>
                  <a:pt x="1958661" y="2661257"/>
                  <a:pt x="1969948" y="2661952"/>
                </a:cubicBezTo>
                <a:close/>
                <a:moveTo>
                  <a:pt x="2572110" y="2661570"/>
                </a:moveTo>
                <a:cubicBezTo>
                  <a:pt x="2575349" y="2661951"/>
                  <a:pt x="2571252" y="2663761"/>
                  <a:pt x="2563441" y="2665285"/>
                </a:cubicBezTo>
                <a:cubicBezTo>
                  <a:pt x="2557183" y="2666657"/>
                  <a:pt x="2550793" y="2667296"/>
                  <a:pt x="2544391" y="2667190"/>
                </a:cubicBezTo>
                <a:cubicBezTo>
                  <a:pt x="2541059" y="2666714"/>
                  <a:pt x="2545153" y="2664904"/>
                  <a:pt x="2553060" y="2663380"/>
                </a:cubicBezTo>
                <a:cubicBezTo>
                  <a:pt x="2559327" y="2662079"/>
                  <a:pt x="2565709" y="2661472"/>
                  <a:pt x="2572110" y="2661570"/>
                </a:cubicBezTo>
                <a:close/>
                <a:moveTo>
                  <a:pt x="2720978" y="2657951"/>
                </a:moveTo>
                <a:cubicBezTo>
                  <a:pt x="2723550" y="2658141"/>
                  <a:pt x="2720978" y="2659284"/>
                  <a:pt x="2715168" y="2660618"/>
                </a:cubicBezTo>
                <a:cubicBezTo>
                  <a:pt x="2710720" y="2661742"/>
                  <a:pt x="2706138" y="2662254"/>
                  <a:pt x="2701547" y="2662142"/>
                </a:cubicBezTo>
                <a:cubicBezTo>
                  <a:pt x="2699452" y="2662142"/>
                  <a:pt x="2702404" y="2660618"/>
                  <a:pt x="2708500" y="2659380"/>
                </a:cubicBezTo>
                <a:cubicBezTo>
                  <a:pt x="2712568" y="2658320"/>
                  <a:pt x="2716768" y="2657839"/>
                  <a:pt x="2720978" y="2657951"/>
                </a:cubicBezTo>
                <a:close/>
                <a:moveTo>
                  <a:pt x="2363618" y="2655474"/>
                </a:moveTo>
                <a:cubicBezTo>
                  <a:pt x="2367619" y="2656236"/>
                  <a:pt x="2362095" y="2658332"/>
                  <a:pt x="2350570" y="2660427"/>
                </a:cubicBezTo>
                <a:cubicBezTo>
                  <a:pt x="2345179" y="2661400"/>
                  <a:pt x="2339740" y="2662099"/>
                  <a:pt x="2334282" y="2662523"/>
                </a:cubicBezTo>
                <a:cubicBezTo>
                  <a:pt x="2330481" y="2662937"/>
                  <a:pt x="2326653" y="2662937"/>
                  <a:pt x="2322852" y="2662523"/>
                </a:cubicBezTo>
                <a:cubicBezTo>
                  <a:pt x="2317804" y="2661666"/>
                  <a:pt x="2323710" y="2659380"/>
                  <a:pt x="2336473" y="2657189"/>
                </a:cubicBezTo>
                <a:cubicBezTo>
                  <a:pt x="2345398" y="2655329"/>
                  <a:pt x="2354533" y="2654750"/>
                  <a:pt x="2363618" y="2655474"/>
                </a:cubicBezTo>
                <a:close/>
                <a:moveTo>
                  <a:pt x="2156545" y="2654617"/>
                </a:moveTo>
                <a:cubicBezTo>
                  <a:pt x="2163403" y="2655665"/>
                  <a:pt x="2158927" y="2657856"/>
                  <a:pt x="2145211" y="2660046"/>
                </a:cubicBezTo>
                <a:cubicBezTo>
                  <a:pt x="2134590" y="2661959"/>
                  <a:pt x="2123790" y="2662598"/>
                  <a:pt x="2113017" y="2661951"/>
                </a:cubicBezTo>
                <a:cubicBezTo>
                  <a:pt x="2105302" y="2660999"/>
                  <a:pt x="2109111" y="2658903"/>
                  <a:pt x="2122542" y="2656617"/>
                </a:cubicBezTo>
                <a:cubicBezTo>
                  <a:pt x="2133743" y="2654453"/>
                  <a:pt x="2145172" y="2653781"/>
                  <a:pt x="2156545" y="2654617"/>
                </a:cubicBezTo>
                <a:close/>
                <a:moveTo>
                  <a:pt x="2542683" y="2653284"/>
                </a:moveTo>
                <a:cubicBezTo>
                  <a:pt x="2545922" y="2653855"/>
                  <a:pt x="2540589" y="2656237"/>
                  <a:pt x="2531920" y="2657951"/>
                </a:cubicBezTo>
                <a:cubicBezTo>
                  <a:pt x="2523938" y="2659617"/>
                  <a:pt x="2515786" y="2660385"/>
                  <a:pt x="2507633" y="2660237"/>
                </a:cubicBezTo>
                <a:cubicBezTo>
                  <a:pt x="2504202" y="2659570"/>
                  <a:pt x="2509632" y="2657284"/>
                  <a:pt x="2518395" y="2655570"/>
                </a:cubicBezTo>
                <a:cubicBezTo>
                  <a:pt x="2526378" y="2653858"/>
                  <a:pt x="2534530" y="2653092"/>
                  <a:pt x="2542683" y="2653284"/>
                </a:cubicBezTo>
                <a:close/>
                <a:moveTo>
                  <a:pt x="1656953" y="2650617"/>
                </a:moveTo>
                <a:cubicBezTo>
                  <a:pt x="1668717" y="2649170"/>
                  <a:pt x="1680623" y="2649170"/>
                  <a:pt x="1692386" y="2650617"/>
                </a:cubicBezTo>
                <a:cubicBezTo>
                  <a:pt x="1699721" y="2651951"/>
                  <a:pt x="1696958" y="2653570"/>
                  <a:pt x="1685148" y="2654903"/>
                </a:cubicBezTo>
                <a:cubicBezTo>
                  <a:pt x="1673260" y="2656443"/>
                  <a:pt x="1661230" y="2656507"/>
                  <a:pt x="1649333" y="2655094"/>
                </a:cubicBezTo>
                <a:cubicBezTo>
                  <a:pt x="1640380" y="2653665"/>
                  <a:pt x="1643333" y="2651951"/>
                  <a:pt x="1656953" y="2650617"/>
                </a:cubicBezTo>
                <a:close/>
                <a:moveTo>
                  <a:pt x="2701458" y="2649474"/>
                </a:moveTo>
                <a:cubicBezTo>
                  <a:pt x="2704316" y="2649950"/>
                  <a:pt x="2700125" y="2651665"/>
                  <a:pt x="2692695" y="2653284"/>
                </a:cubicBezTo>
                <a:cubicBezTo>
                  <a:pt x="2686980" y="2654613"/>
                  <a:pt x="2681132" y="2655253"/>
                  <a:pt x="2675264" y="2655189"/>
                </a:cubicBezTo>
                <a:cubicBezTo>
                  <a:pt x="2671835" y="2654808"/>
                  <a:pt x="2675931" y="2652998"/>
                  <a:pt x="2683932" y="2651474"/>
                </a:cubicBezTo>
                <a:cubicBezTo>
                  <a:pt x="2689676" y="2650131"/>
                  <a:pt x="2695563" y="2649460"/>
                  <a:pt x="2701458" y="2649474"/>
                </a:cubicBezTo>
                <a:close/>
                <a:moveTo>
                  <a:pt x="1912421" y="2648998"/>
                </a:moveTo>
                <a:cubicBezTo>
                  <a:pt x="1919660" y="2650236"/>
                  <a:pt x="1914992" y="2652427"/>
                  <a:pt x="1901276" y="2654332"/>
                </a:cubicBezTo>
                <a:cubicBezTo>
                  <a:pt x="1894418" y="2655189"/>
                  <a:pt x="1887180" y="2655761"/>
                  <a:pt x="1880704" y="2655951"/>
                </a:cubicBezTo>
                <a:cubicBezTo>
                  <a:pt x="1875168" y="2656182"/>
                  <a:pt x="1869625" y="2655958"/>
                  <a:pt x="1864130" y="2655284"/>
                </a:cubicBezTo>
                <a:cubicBezTo>
                  <a:pt x="1855938" y="2654046"/>
                  <a:pt x="1859749" y="2651855"/>
                  <a:pt x="1873654" y="2650046"/>
                </a:cubicBezTo>
                <a:cubicBezTo>
                  <a:pt x="1886475" y="2648047"/>
                  <a:pt x="1899505" y="2647695"/>
                  <a:pt x="1912421" y="2648998"/>
                </a:cubicBezTo>
                <a:close/>
                <a:moveTo>
                  <a:pt x="2326570" y="2644616"/>
                </a:moveTo>
                <a:cubicBezTo>
                  <a:pt x="2331619" y="2645569"/>
                  <a:pt x="2325332" y="2648426"/>
                  <a:pt x="2313712" y="2650522"/>
                </a:cubicBezTo>
                <a:cubicBezTo>
                  <a:pt x="2302548" y="2652690"/>
                  <a:pt x="2291166" y="2653553"/>
                  <a:pt x="2279803" y="2653094"/>
                </a:cubicBezTo>
                <a:cubicBezTo>
                  <a:pt x="2274088" y="2652236"/>
                  <a:pt x="2279803" y="2649474"/>
                  <a:pt x="2291233" y="2647283"/>
                </a:cubicBezTo>
                <a:cubicBezTo>
                  <a:pt x="2302863" y="2645016"/>
                  <a:pt x="2314731" y="2644121"/>
                  <a:pt x="2326570" y="2644616"/>
                </a:cubicBezTo>
                <a:close/>
                <a:moveTo>
                  <a:pt x="2513541" y="2644045"/>
                </a:moveTo>
                <a:cubicBezTo>
                  <a:pt x="2517542" y="2644902"/>
                  <a:pt x="2513065" y="2646902"/>
                  <a:pt x="2502111" y="2649093"/>
                </a:cubicBezTo>
                <a:cubicBezTo>
                  <a:pt x="2493034" y="2651236"/>
                  <a:pt x="2483709" y="2652101"/>
                  <a:pt x="2474393" y="2651665"/>
                </a:cubicBezTo>
                <a:cubicBezTo>
                  <a:pt x="2469346" y="2650807"/>
                  <a:pt x="2474393" y="2648712"/>
                  <a:pt x="2486205" y="2646426"/>
                </a:cubicBezTo>
                <a:cubicBezTo>
                  <a:pt x="2495148" y="2644294"/>
                  <a:pt x="2504359" y="2643491"/>
                  <a:pt x="2513541" y="2644045"/>
                </a:cubicBezTo>
                <a:close/>
                <a:moveTo>
                  <a:pt x="1410726" y="2643092"/>
                </a:moveTo>
                <a:cubicBezTo>
                  <a:pt x="1422518" y="2642408"/>
                  <a:pt x="1434348" y="2642822"/>
                  <a:pt x="1446064" y="2644330"/>
                </a:cubicBezTo>
                <a:cubicBezTo>
                  <a:pt x="1452255" y="2645568"/>
                  <a:pt x="1449398" y="2647949"/>
                  <a:pt x="1440158" y="2647949"/>
                </a:cubicBezTo>
                <a:cubicBezTo>
                  <a:pt x="1429224" y="2648460"/>
                  <a:pt x="1418270" y="2648078"/>
                  <a:pt x="1407392" y="2646806"/>
                </a:cubicBezTo>
                <a:cubicBezTo>
                  <a:pt x="1403868" y="2646235"/>
                  <a:pt x="1402439" y="2645473"/>
                  <a:pt x="1403106" y="2644711"/>
                </a:cubicBezTo>
                <a:cubicBezTo>
                  <a:pt x="1405468" y="2643548"/>
                  <a:pt x="1408088" y="2642992"/>
                  <a:pt x="1410726" y="2643092"/>
                </a:cubicBezTo>
                <a:close/>
                <a:moveTo>
                  <a:pt x="2102829" y="2642996"/>
                </a:moveTo>
                <a:cubicBezTo>
                  <a:pt x="2109306" y="2644044"/>
                  <a:pt x="2103495" y="2646997"/>
                  <a:pt x="2090732" y="2649092"/>
                </a:cubicBezTo>
                <a:cubicBezTo>
                  <a:pt x="2077911" y="2651109"/>
                  <a:pt x="2064920" y="2651779"/>
                  <a:pt x="2051966" y="2651093"/>
                </a:cubicBezTo>
                <a:cubicBezTo>
                  <a:pt x="2044632" y="2650045"/>
                  <a:pt x="2049585" y="2647187"/>
                  <a:pt x="2062253" y="2645092"/>
                </a:cubicBezTo>
                <a:cubicBezTo>
                  <a:pt x="2075655" y="2642873"/>
                  <a:pt x="2089266" y="2642170"/>
                  <a:pt x="2102829" y="2642996"/>
                </a:cubicBezTo>
                <a:close/>
                <a:moveTo>
                  <a:pt x="2675653" y="2641378"/>
                </a:moveTo>
                <a:cubicBezTo>
                  <a:pt x="2679273" y="2641854"/>
                  <a:pt x="2674415" y="2644045"/>
                  <a:pt x="2666128" y="2645854"/>
                </a:cubicBezTo>
                <a:cubicBezTo>
                  <a:pt x="2658537" y="2647608"/>
                  <a:pt x="2650774" y="2648472"/>
                  <a:pt x="2642983" y="2648426"/>
                </a:cubicBezTo>
                <a:cubicBezTo>
                  <a:pt x="2639649" y="2648426"/>
                  <a:pt x="2644507" y="2645664"/>
                  <a:pt x="2652507" y="2643949"/>
                </a:cubicBezTo>
                <a:cubicBezTo>
                  <a:pt x="2660090" y="2642165"/>
                  <a:pt x="2667863" y="2641302"/>
                  <a:pt x="2675653" y="2641378"/>
                </a:cubicBezTo>
                <a:close/>
                <a:moveTo>
                  <a:pt x="2817282" y="2638425"/>
                </a:moveTo>
                <a:cubicBezTo>
                  <a:pt x="2819568" y="2638425"/>
                  <a:pt x="2815758" y="2640521"/>
                  <a:pt x="2809853" y="2641854"/>
                </a:cubicBezTo>
                <a:cubicBezTo>
                  <a:pt x="2804661" y="2643024"/>
                  <a:pt x="2799366" y="2643693"/>
                  <a:pt x="2794041" y="2643854"/>
                </a:cubicBezTo>
                <a:cubicBezTo>
                  <a:pt x="2791184" y="2643854"/>
                  <a:pt x="2794041" y="2642045"/>
                  <a:pt x="2800327" y="2640616"/>
                </a:cubicBezTo>
                <a:cubicBezTo>
                  <a:pt x="2805881" y="2639278"/>
                  <a:pt x="2811567" y="2638543"/>
                  <a:pt x="2817282" y="2638425"/>
                </a:cubicBezTo>
                <a:close/>
                <a:moveTo>
                  <a:pt x="1804218" y="2635568"/>
                </a:moveTo>
                <a:cubicBezTo>
                  <a:pt x="1817657" y="2633845"/>
                  <a:pt x="1831259" y="2633845"/>
                  <a:pt x="1844699" y="2635568"/>
                </a:cubicBezTo>
                <a:cubicBezTo>
                  <a:pt x="1852128" y="2637092"/>
                  <a:pt x="1847556" y="2639187"/>
                  <a:pt x="1832888" y="2641092"/>
                </a:cubicBezTo>
                <a:cubicBezTo>
                  <a:pt x="1819334" y="2642976"/>
                  <a:pt x="1805599" y="2643072"/>
                  <a:pt x="1792025" y="2641378"/>
                </a:cubicBezTo>
                <a:cubicBezTo>
                  <a:pt x="1783072" y="2639854"/>
                  <a:pt x="1788025" y="2637473"/>
                  <a:pt x="1804218" y="2635568"/>
                </a:cubicBezTo>
                <a:close/>
                <a:moveTo>
                  <a:pt x="2465539" y="2634805"/>
                </a:moveTo>
                <a:cubicBezTo>
                  <a:pt x="2469996" y="2634286"/>
                  <a:pt x="2474511" y="2634286"/>
                  <a:pt x="2478969" y="2634805"/>
                </a:cubicBezTo>
                <a:cubicBezTo>
                  <a:pt x="2483351" y="2635758"/>
                  <a:pt x="2477540" y="2638425"/>
                  <a:pt x="2466396" y="2640711"/>
                </a:cubicBezTo>
                <a:cubicBezTo>
                  <a:pt x="2455595" y="2642969"/>
                  <a:pt x="2444565" y="2643897"/>
                  <a:pt x="2433536" y="2643473"/>
                </a:cubicBezTo>
                <a:cubicBezTo>
                  <a:pt x="2428010" y="2642616"/>
                  <a:pt x="2434106" y="2639758"/>
                  <a:pt x="2446489" y="2637377"/>
                </a:cubicBezTo>
                <a:cubicBezTo>
                  <a:pt x="2452785" y="2636163"/>
                  <a:pt x="2459149" y="2635304"/>
                  <a:pt x="2465539" y="2634805"/>
                </a:cubicBezTo>
                <a:close/>
                <a:moveTo>
                  <a:pt x="2282376" y="2634519"/>
                </a:moveTo>
                <a:cubicBezTo>
                  <a:pt x="2287900" y="2635758"/>
                  <a:pt x="2281042" y="2638425"/>
                  <a:pt x="2266660" y="2640996"/>
                </a:cubicBezTo>
                <a:cubicBezTo>
                  <a:pt x="2254705" y="2643287"/>
                  <a:pt x="2242514" y="2644023"/>
                  <a:pt x="2230369" y="2643187"/>
                </a:cubicBezTo>
                <a:cubicBezTo>
                  <a:pt x="2223511" y="2641854"/>
                  <a:pt x="2230369" y="2638901"/>
                  <a:pt x="2246561" y="2636329"/>
                </a:cubicBezTo>
                <a:cubicBezTo>
                  <a:pt x="2258354" y="2634038"/>
                  <a:pt x="2270413" y="2633429"/>
                  <a:pt x="2282376" y="2634519"/>
                </a:cubicBezTo>
                <a:close/>
                <a:moveTo>
                  <a:pt x="1572944" y="2632995"/>
                </a:moveTo>
                <a:cubicBezTo>
                  <a:pt x="1585955" y="2632095"/>
                  <a:pt x="1599023" y="2632350"/>
                  <a:pt x="1611996" y="2633757"/>
                </a:cubicBezTo>
                <a:cubicBezTo>
                  <a:pt x="1620378" y="2635281"/>
                  <a:pt x="1615711" y="2637853"/>
                  <a:pt x="1602852" y="2638996"/>
                </a:cubicBezTo>
                <a:cubicBezTo>
                  <a:pt x="1589146" y="2640061"/>
                  <a:pt x="1575363" y="2639774"/>
                  <a:pt x="1561704" y="2638139"/>
                </a:cubicBezTo>
                <a:cubicBezTo>
                  <a:pt x="1554180" y="2636615"/>
                  <a:pt x="1559990" y="2633948"/>
                  <a:pt x="1572944" y="2632995"/>
                </a:cubicBezTo>
                <a:close/>
                <a:moveTo>
                  <a:pt x="2651940" y="2632234"/>
                </a:moveTo>
                <a:cubicBezTo>
                  <a:pt x="2655941" y="2633091"/>
                  <a:pt x="2650892" y="2635282"/>
                  <a:pt x="2639653" y="2637568"/>
                </a:cubicBezTo>
                <a:cubicBezTo>
                  <a:pt x="2631280" y="2639665"/>
                  <a:pt x="2622651" y="2640501"/>
                  <a:pt x="2614031" y="2640044"/>
                </a:cubicBezTo>
                <a:cubicBezTo>
                  <a:pt x="2609935" y="2639282"/>
                  <a:pt x="2614888" y="2637187"/>
                  <a:pt x="2626318" y="2634806"/>
                </a:cubicBezTo>
                <a:cubicBezTo>
                  <a:pt x="2634690" y="2632746"/>
                  <a:pt x="2643320" y="2631881"/>
                  <a:pt x="2651940" y="2632234"/>
                </a:cubicBezTo>
                <a:close/>
                <a:moveTo>
                  <a:pt x="2049680" y="2630043"/>
                </a:moveTo>
                <a:cubicBezTo>
                  <a:pt x="2057871" y="2631377"/>
                  <a:pt x="2052633" y="2634234"/>
                  <a:pt x="2037678" y="2636520"/>
                </a:cubicBezTo>
                <a:cubicBezTo>
                  <a:pt x="2029534" y="2637780"/>
                  <a:pt x="2021334" y="2638576"/>
                  <a:pt x="2013104" y="2638901"/>
                </a:cubicBezTo>
                <a:cubicBezTo>
                  <a:pt x="2006751" y="2639299"/>
                  <a:pt x="2000369" y="2639107"/>
                  <a:pt x="1994054" y="2638330"/>
                </a:cubicBezTo>
                <a:cubicBezTo>
                  <a:pt x="1986340" y="2636806"/>
                  <a:pt x="1992244" y="2633948"/>
                  <a:pt x="2007675" y="2631662"/>
                </a:cubicBezTo>
                <a:cubicBezTo>
                  <a:pt x="2021553" y="2629379"/>
                  <a:pt x="2035669" y="2628835"/>
                  <a:pt x="2049680" y="2630043"/>
                </a:cubicBezTo>
                <a:close/>
                <a:moveTo>
                  <a:pt x="2799860" y="2629471"/>
                </a:moveTo>
                <a:cubicBezTo>
                  <a:pt x="2802527" y="2629471"/>
                  <a:pt x="2796812" y="2632328"/>
                  <a:pt x="2788430" y="2634043"/>
                </a:cubicBezTo>
                <a:cubicBezTo>
                  <a:pt x="2782191" y="2635516"/>
                  <a:pt x="2775791" y="2636189"/>
                  <a:pt x="2769380" y="2636043"/>
                </a:cubicBezTo>
                <a:cubicBezTo>
                  <a:pt x="2767094" y="2635376"/>
                  <a:pt x="2772238" y="2633281"/>
                  <a:pt x="2780049" y="2631662"/>
                </a:cubicBezTo>
                <a:cubicBezTo>
                  <a:pt x="2786526" y="2630059"/>
                  <a:pt x="2793193" y="2629321"/>
                  <a:pt x="2799860" y="2629471"/>
                </a:cubicBezTo>
                <a:close/>
                <a:moveTo>
                  <a:pt x="2927862" y="2626137"/>
                </a:moveTo>
                <a:cubicBezTo>
                  <a:pt x="2929767" y="2626137"/>
                  <a:pt x="2926623" y="2627756"/>
                  <a:pt x="2920242" y="2629185"/>
                </a:cubicBezTo>
                <a:cubicBezTo>
                  <a:pt x="2916041" y="2630440"/>
                  <a:pt x="2911660" y="2630924"/>
                  <a:pt x="2907288" y="2630614"/>
                </a:cubicBezTo>
                <a:cubicBezTo>
                  <a:pt x="2906335" y="2630138"/>
                  <a:pt x="2909574" y="2628899"/>
                  <a:pt x="2915384" y="2627661"/>
                </a:cubicBezTo>
                <a:cubicBezTo>
                  <a:pt x="2919441" y="2626513"/>
                  <a:pt x="2923652" y="2625998"/>
                  <a:pt x="2927862" y="2626137"/>
                </a:cubicBezTo>
                <a:close/>
                <a:moveTo>
                  <a:pt x="2444874" y="2623947"/>
                </a:moveTo>
                <a:cubicBezTo>
                  <a:pt x="2451733" y="2624995"/>
                  <a:pt x="2445542" y="2627947"/>
                  <a:pt x="2430206" y="2630805"/>
                </a:cubicBezTo>
                <a:cubicBezTo>
                  <a:pt x="2418641" y="2633347"/>
                  <a:pt x="2406783" y="2634277"/>
                  <a:pt x="2394963" y="2633567"/>
                </a:cubicBezTo>
                <a:cubicBezTo>
                  <a:pt x="2388678" y="2632424"/>
                  <a:pt x="2394392" y="2629662"/>
                  <a:pt x="2408964" y="2626900"/>
                </a:cubicBezTo>
                <a:cubicBezTo>
                  <a:pt x="2420747" y="2624309"/>
                  <a:pt x="2432825" y="2623316"/>
                  <a:pt x="2444874" y="2623947"/>
                </a:cubicBezTo>
                <a:close/>
                <a:moveTo>
                  <a:pt x="2623085" y="2623090"/>
                </a:moveTo>
                <a:cubicBezTo>
                  <a:pt x="2627560" y="2623947"/>
                  <a:pt x="2621750" y="2626614"/>
                  <a:pt x="2609749" y="2629186"/>
                </a:cubicBezTo>
                <a:cubicBezTo>
                  <a:pt x="2599728" y="2631499"/>
                  <a:pt x="2589450" y="2632522"/>
                  <a:pt x="2579173" y="2632234"/>
                </a:cubicBezTo>
                <a:cubicBezTo>
                  <a:pt x="2573935" y="2631472"/>
                  <a:pt x="2579173" y="2628900"/>
                  <a:pt x="2591080" y="2626328"/>
                </a:cubicBezTo>
                <a:cubicBezTo>
                  <a:pt x="2601547" y="2623805"/>
                  <a:pt x="2612320" y="2622716"/>
                  <a:pt x="2623085" y="2623090"/>
                </a:cubicBezTo>
                <a:close/>
                <a:moveTo>
                  <a:pt x="2237611" y="2622042"/>
                </a:moveTo>
                <a:cubicBezTo>
                  <a:pt x="2246184" y="2623089"/>
                  <a:pt x="2240659" y="2626423"/>
                  <a:pt x="2225610" y="2629185"/>
                </a:cubicBezTo>
                <a:cubicBezTo>
                  <a:pt x="2211332" y="2631891"/>
                  <a:pt x="2196778" y="2632852"/>
                  <a:pt x="2182271" y="2632043"/>
                </a:cubicBezTo>
                <a:cubicBezTo>
                  <a:pt x="2173889" y="2630805"/>
                  <a:pt x="2180175" y="2627471"/>
                  <a:pt x="2195701" y="2624804"/>
                </a:cubicBezTo>
                <a:cubicBezTo>
                  <a:pt x="2209522" y="2622269"/>
                  <a:pt x="2223581" y="2621343"/>
                  <a:pt x="2237611" y="2622042"/>
                </a:cubicBezTo>
                <a:close/>
                <a:moveTo>
                  <a:pt x="2775768" y="2621184"/>
                </a:moveTo>
                <a:cubicBezTo>
                  <a:pt x="2779578" y="2621851"/>
                  <a:pt x="2774910" y="2623947"/>
                  <a:pt x="2764052" y="2626328"/>
                </a:cubicBezTo>
                <a:cubicBezTo>
                  <a:pt x="2756241" y="2628455"/>
                  <a:pt x="2748136" y="2629323"/>
                  <a:pt x="2740048" y="2628900"/>
                </a:cubicBezTo>
                <a:cubicBezTo>
                  <a:pt x="2736524" y="2628138"/>
                  <a:pt x="2741763" y="2625947"/>
                  <a:pt x="2752908" y="2623661"/>
                </a:cubicBezTo>
                <a:cubicBezTo>
                  <a:pt x="2760346" y="2621632"/>
                  <a:pt x="2768062" y="2620797"/>
                  <a:pt x="2775768" y="2621184"/>
                </a:cubicBezTo>
                <a:close/>
                <a:moveTo>
                  <a:pt x="1315475" y="2620137"/>
                </a:moveTo>
                <a:cubicBezTo>
                  <a:pt x="1320333" y="2620137"/>
                  <a:pt x="1327095" y="2620137"/>
                  <a:pt x="1333763" y="2620137"/>
                </a:cubicBezTo>
                <a:cubicBezTo>
                  <a:pt x="1340430" y="2620137"/>
                  <a:pt x="1347003" y="2620994"/>
                  <a:pt x="1351193" y="2621661"/>
                </a:cubicBezTo>
                <a:cubicBezTo>
                  <a:pt x="1360242" y="2623185"/>
                  <a:pt x="1359004" y="2625376"/>
                  <a:pt x="1348908" y="2626043"/>
                </a:cubicBezTo>
                <a:cubicBezTo>
                  <a:pt x="1344145" y="2626043"/>
                  <a:pt x="1336811" y="2626043"/>
                  <a:pt x="1329858" y="2626043"/>
                </a:cubicBezTo>
                <a:lnTo>
                  <a:pt x="1319475" y="2625280"/>
                </a:lnTo>
                <a:cubicBezTo>
                  <a:pt x="1315856" y="2625090"/>
                  <a:pt x="1312998" y="2624709"/>
                  <a:pt x="1310808" y="2624328"/>
                </a:cubicBezTo>
                <a:cubicBezTo>
                  <a:pt x="1302425" y="2622709"/>
                  <a:pt x="1304807" y="2620518"/>
                  <a:pt x="1315475" y="2620137"/>
                </a:cubicBezTo>
                <a:close/>
                <a:moveTo>
                  <a:pt x="2914063" y="2617279"/>
                </a:moveTo>
                <a:cubicBezTo>
                  <a:pt x="2916826" y="2617279"/>
                  <a:pt x="2913110" y="2619375"/>
                  <a:pt x="2904538" y="2621280"/>
                </a:cubicBezTo>
                <a:cubicBezTo>
                  <a:pt x="2898994" y="2622866"/>
                  <a:pt x="2893252" y="2623604"/>
                  <a:pt x="2887489" y="2623471"/>
                </a:cubicBezTo>
                <a:cubicBezTo>
                  <a:pt x="2884631" y="2622899"/>
                  <a:pt x="2888346" y="2621280"/>
                  <a:pt x="2897013" y="2619375"/>
                </a:cubicBezTo>
                <a:cubicBezTo>
                  <a:pt x="2902555" y="2617821"/>
                  <a:pt x="2908311" y="2617115"/>
                  <a:pt x="2914063" y="2617279"/>
                </a:cubicBezTo>
                <a:close/>
                <a:moveTo>
                  <a:pt x="1750308" y="2617089"/>
                </a:moveTo>
                <a:cubicBezTo>
                  <a:pt x="1757747" y="2616895"/>
                  <a:pt x="1765195" y="2617214"/>
                  <a:pt x="1772596" y="2618041"/>
                </a:cubicBezTo>
                <a:cubicBezTo>
                  <a:pt x="1782121" y="2619470"/>
                  <a:pt x="1777359" y="2622804"/>
                  <a:pt x="1763071" y="2624614"/>
                </a:cubicBezTo>
                <a:cubicBezTo>
                  <a:pt x="1755099" y="2625521"/>
                  <a:pt x="1747088" y="2625999"/>
                  <a:pt x="1739068" y="2626042"/>
                </a:cubicBezTo>
                <a:cubicBezTo>
                  <a:pt x="1731791" y="2626206"/>
                  <a:pt x="1724504" y="2625919"/>
                  <a:pt x="1717256" y="2625185"/>
                </a:cubicBezTo>
                <a:cubicBezTo>
                  <a:pt x="1706493" y="2623756"/>
                  <a:pt x="1710207" y="2620518"/>
                  <a:pt x="1724685" y="2618613"/>
                </a:cubicBezTo>
                <a:cubicBezTo>
                  <a:pt x="1731639" y="2617756"/>
                  <a:pt x="1741259" y="2617279"/>
                  <a:pt x="1750308" y="2617089"/>
                </a:cubicBezTo>
                <a:close/>
                <a:moveTo>
                  <a:pt x="1967290" y="2615755"/>
                </a:moveTo>
                <a:cubicBezTo>
                  <a:pt x="1974130" y="2615363"/>
                  <a:pt x="1980977" y="2615619"/>
                  <a:pt x="1987769" y="2616517"/>
                </a:cubicBezTo>
                <a:cubicBezTo>
                  <a:pt x="1997294" y="2618136"/>
                  <a:pt x="1991769" y="2621184"/>
                  <a:pt x="1974530" y="2623661"/>
                </a:cubicBezTo>
                <a:cubicBezTo>
                  <a:pt x="1966328" y="2624902"/>
                  <a:pt x="1958060" y="2625633"/>
                  <a:pt x="1949764" y="2625851"/>
                </a:cubicBezTo>
                <a:cubicBezTo>
                  <a:pt x="1943088" y="2626214"/>
                  <a:pt x="1936400" y="2625991"/>
                  <a:pt x="1929761" y="2625185"/>
                </a:cubicBezTo>
                <a:cubicBezTo>
                  <a:pt x="1919380" y="2623661"/>
                  <a:pt x="1924142" y="2620613"/>
                  <a:pt x="1941001" y="2618136"/>
                </a:cubicBezTo>
                <a:cubicBezTo>
                  <a:pt x="1949708" y="2616841"/>
                  <a:pt x="1958489" y="2616045"/>
                  <a:pt x="1967290" y="2615755"/>
                </a:cubicBezTo>
                <a:close/>
                <a:moveTo>
                  <a:pt x="3033210" y="2614231"/>
                </a:moveTo>
                <a:cubicBezTo>
                  <a:pt x="3034164" y="2614612"/>
                  <a:pt x="3031306" y="2615755"/>
                  <a:pt x="3026830" y="2616898"/>
                </a:cubicBezTo>
                <a:cubicBezTo>
                  <a:pt x="3023180" y="2617827"/>
                  <a:pt x="3019448" y="2618338"/>
                  <a:pt x="3015684" y="2618422"/>
                </a:cubicBezTo>
                <a:cubicBezTo>
                  <a:pt x="3013971" y="2618422"/>
                  <a:pt x="3017305" y="2616803"/>
                  <a:pt x="3022542" y="2615564"/>
                </a:cubicBezTo>
                <a:cubicBezTo>
                  <a:pt x="3026028" y="2614657"/>
                  <a:pt x="3029611" y="2614208"/>
                  <a:pt x="3033210" y="2614231"/>
                </a:cubicBezTo>
                <a:close/>
                <a:moveTo>
                  <a:pt x="2406586" y="2613183"/>
                </a:moveTo>
                <a:cubicBezTo>
                  <a:pt x="2412301" y="2614517"/>
                  <a:pt x="2405157" y="2617946"/>
                  <a:pt x="2390869" y="2620708"/>
                </a:cubicBezTo>
                <a:cubicBezTo>
                  <a:pt x="2377153" y="2623530"/>
                  <a:pt x="2363133" y="2624586"/>
                  <a:pt x="2349151" y="2623851"/>
                </a:cubicBezTo>
                <a:cubicBezTo>
                  <a:pt x="2342102" y="2622613"/>
                  <a:pt x="2349722" y="2618993"/>
                  <a:pt x="2365248" y="2616136"/>
                </a:cubicBezTo>
                <a:cubicBezTo>
                  <a:pt x="2378840" y="2613351"/>
                  <a:pt x="2392737" y="2612358"/>
                  <a:pt x="2406586" y="2613183"/>
                </a:cubicBezTo>
                <a:close/>
                <a:moveTo>
                  <a:pt x="1483222" y="2612803"/>
                </a:moveTo>
                <a:cubicBezTo>
                  <a:pt x="1498347" y="2611855"/>
                  <a:pt x="1513521" y="2612301"/>
                  <a:pt x="1528561" y="2614136"/>
                </a:cubicBezTo>
                <a:cubicBezTo>
                  <a:pt x="1533132" y="2614898"/>
                  <a:pt x="1534561" y="2616041"/>
                  <a:pt x="1533132" y="2617089"/>
                </a:cubicBezTo>
                <a:cubicBezTo>
                  <a:pt x="1529284" y="2618756"/>
                  <a:pt x="1525132" y="2619631"/>
                  <a:pt x="1520940" y="2619661"/>
                </a:cubicBezTo>
                <a:cubicBezTo>
                  <a:pt x="1505882" y="2620698"/>
                  <a:pt x="1490765" y="2620252"/>
                  <a:pt x="1475792" y="2618327"/>
                </a:cubicBezTo>
                <a:cubicBezTo>
                  <a:pt x="1466267" y="2616613"/>
                  <a:pt x="1469791" y="2613850"/>
                  <a:pt x="1483222" y="2612803"/>
                </a:cubicBezTo>
                <a:close/>
                <a:moveTo>
                  <a:pt x="2595374" y="2612231"/>
                </a:moveTo>
                <a:cubicBezTo>
                  <a:pt x="2600518" y="2613279"/>
                  <a:pt x="2593278" y="2616612"/>
                  <a:pt x="2580228" y="2619279"/>
                </a:cubicBezTo>
                <a:cubicBezTo>
                  <a:pt x="2573751" y="2620613"/>
                  <a:pt x="2566227" y="2621756"/>
                  <a:pt x="2559653" y="2622423"/>
                </a:cubicBezTo>
                <a:cubicBezTo>
                  <a:pt x="2554597" y="2622994"/>
                  <a:pt x="2549491" y="2623122"/>
                  <a:pt x="2544416" y="2622804"/>
                </a:cubicBezTo>
                <a:cubicBezTo>
                  <a:pt x="2538603" y="2621851"/>
                  <a:pt x="2545175" y="2618613"/>
                  <a:pt x="2558130" y="2615755"/>
                </a:cubicBezTo>
                <a:cubicBezTo>
                  <a:pt x="2570333" y="2612936"/>
                  <a:pt x="2582856" y="2611751"/>
                  <a:pt x="2595374" y="2612231"/>
                </a:cubicBezTo>
                <a:close/>
                <a:moveTo>
                  <a:pt x="2755962" y="2610992"/>
                </a:moveTo>
                <a:cubicBezTo>
                  <a:pt x="2759678" y="2611945"/>
                  <a:pt x="2753487" y="2614612"/>
                  <a:pt x="2741771" y="2617184"/>
                </a:cubicBezTo>
                <a:cubicBezTo>
                  <a:pt x="2732522" y="2619487"/>
                  <a:pt x="2723001" y="2620480"/>
                  <a:pt x="2713477" y="2620136"/>
                </a:cubicBezTo>
                <a:cubicBezTo>
                  <a:pt x="2709191" y="2619374"/>
                  <a:pt x="2714810" y="2616707"/>
                  <a:pt x="2726529" y="2614136"/>
                </a:cubicBezTo>
                <a:cubicBezTo>
                  <a:pt x="2736142" y="2611677"/>
                  <a:pt x="2746047" y="2610618"/>
                  <a:pt x="2755962" y="2610992"/>
                </a:cubicBezTo>
                <a:close/>
                <a:moveTo>
                  <a:pt x="2187509" y="2609849"/>
                </a:moveTo>
                <a:cubicBezTo>
                  <a:pt x="2195701" y="2611373"/>
                  <a:pt x="2187509" y="2615279"/>
                  <a:pt x="2170936" y="2617946"/>
                </a:cubicBezTo>
                <a:cubicBezTo>
                  <a:pt x="2162412" y="2619272"/>
                  <a:pt x="2153830" y="2620163"/>
                  <a:pt x="2145218" y="2620613"/>
                </a:cubicBezTo>
                <a:cubicBezTo>
                  <a:pt x="2138618" y="2621068"/>
                  <a:pt x="2131989" y="2620940"/>
                  <a:pt x="2125407" y="2620232"/>
                </a:cubicBezTo>
                <a:cubicBezTo>
                  <a:pt x="2116835" y="2618708"/>
                  <a:pt x="2124740" y="2614707"/>
                  <a:pt x="2141886" y="2612135"/>
                </a:cubicBezTo>
                <a:cubicBezTo>
                  <a:pt x="2156944" y="2609507"/>
                  <a:pt x="2172269" y="2608740"/>
                  <a:pt x="2187509" y="2609849"/>
                </a:cubicBezTo>
                <a:close/>
                <a:moveTo>
                  <a:pt x="2895591" y="2608707"/>
                </a:moveTo>
                <a:cubicBezTo>
                  <a:pt x="2899402" y="2609278"/>
                  <a:pt x="2894545" y="2611469"/>
                  <a:pt x="2884354" y="2613755"/>
                </a:cubicBezTo>
                <a:cubicBezTo>
                  <a:pt x="2877314" y="2615699"/>
                  <a:pt x="2870028" y="2616566"/>
                  <a:pt x="2862732" y="2616327"/>
                </a:cubicBezTo>
                <a:cubicBezTo>
                  <a:pt x="2859492" y="2615755"/>
                  <a:pt x="2863873" y="2613755"/>
                  <a:pt x="2873303" y="2611564"/>
                </a:cubicBezTo>
                <a:cubicBezTo>
                  <a:pt x="2880562" y="2609551"/>
                  <a:pt x="2888068" y="2608589"/>
                  <a:pt x="2895591" y="2608707"/>
                </a:cubicBezTo>
                <a:close/>
                <a:moveTo>
                  <a:pt x="3019502" y="2606040"/>
                </a:moveTo>
                <a:cubicBezTo>
                  <a:pt x="3021405" y="2606040"/>
                  <a:pt x="3016930" y="2608421"/>
                  <a:pt x="3009977" y="2609945"/>
                </a:cubicBezTo>
                <a:cubicBezTo>
                  <a:pt x="3005032" y="2611395"/>
                  <a:pt x="2999879" y="2611975"/>
                  <a:pt x="2994736" y="2611660"/>
                </a:cubicBezTo>
                <a:cubicBezTo>
                  <a:pt x="2993784" y="2611088"/>
                  <a:pt x="2998260" y="2609850"/>
                  <a:pt x="3004642" y="2607945"/>
                </a:cubicBezTo>
                <a:cubicBezTo>
                  <a:pt x="3009490" y="2606670"/>
                  <a:pt x="3014490" y="2606029"/>
                  <a:pt x="3019502" y="2606040"/>
                </a:cubicBezTo>
                <a:close/>
                <a:moveTo>
                  <a:pt x="2562037" y="2602134"/>
                </a:moveTo>
                <a:cubicBezTo>
                  <a:pt x="2567563" y="2603563"/>
                  <a:pt x="2558990" y="2607182"/>
                  <a:pt x="2542416" y="2610326"/>
                </a:cubicBezTo>
                <a:cubicBezTo>
                  <a:pt x="2530300" y="2613033"/>
                  <a:pt x="2517851" y="2613963"/>
                  <a:pt x="2505458" y="2613088"/>
                </a:cubicBezTo>
                <a:cubicBezTo>
                  <a:pt x="2499649" y="2611659"/>
                  <a:pt x="2508221" y="2608135"/>
                  <a:pt x="2525081" y="2604896"/>
                </a:cubicBezTo>
                <a:cubicBezTo>
                  <a:pt x="2537196" y="2602151"/>
                  <a:pt x="2549645" y="2601220"/>
                  <a:pt x="2562037" y="2602134"/>
                </a:cubicBezTo>
                <a:close/>
                <a:moveTo>
                  <a:pt x="2730157" y="2601182"/>
                </a:moveTo>
                <a:cubicBezTo>
                  <a:pt x="2735682" y="2602039"/>
                  <a:pt x="2728062" y="2605659"/>
                  <a:pt x="2714912" y="2608421"/>
                </a:cubicBezTo>
                <a:cubicBezTo>
                  <a:pt x="2704035" y="2611026"/>
                  <a:pt x="2692852" y="2612211"/>
                  <a:pt x="2681669" y="2611945"/>
                </a:cubicBezTo>
                <a:cubicBezTo>
                  <a:pt x="2676811" y="2610993"/>
                  <a:pt x="2683956" y="2607754"/>
                  <a:pt x="2696339" y="2604992"/>
                </a:cubicBezTo>
                <a:cubicBezTo>
                  <a:pt x="2707408" y="2602332"/>
                  <a:pt x="2718770" y="2601053"/>
                  <a:pt x="2730157" y="2601182"/>
                </a:cubicBezTo>
                <a:close/>
                <a:moveTo>
                  <a:pt x="2364964" y="2600515"/>
                </a:moveTo>
                <a:cubicBezTo>
                  <a:pt x="2373252" y="2602039"/>
                  <a:pt x="2366489" y="2605468"/>
                  <a:pt x="2348773" y="2608802"/>
                </a:cubicBezTo>
                <a:cubicBezTo>
                  <a:pt x="2340200" y="2610362"/>
                  <a:pt x="2331552" y="2611474"/>
                  <a:pt x="2322864" y="2612135"/>
                </a:cubicBezTo>
                <a:cubicBezTo>
                  <a:pt x="2316530" y="2612851"/>
                  <a:pt x="2310149" y="2612851"/>
                  <a:pt x="2303815" y="2612135"/>
                </a:cubicBezTo>
                <a:cubicBezTo>
                  <a:pt x="2295241" y="2610421"/>
                  <a:pt x="2301909" y="2606992"/>
                  <a:pt x="2320006" y="2603658"/>
                </a:cubicBezTo>
                <a:cubicBezTo>
                  <a:pt x="2334770" y="2600477"/>
                  <a:pt x="2349906" y="2599419"/>
                  <a:pt x="2364964" y="2600515"/>
                </a:cubicBezTo>
                <a:close/>
                <a:moveTo>
                  <a:pt x="2876738" y="2599849"/>
                </a:moveTo>
                <a:cubicBezTo>
                  <a:pt x="2879405" y="2600706"/>
                  <a:pt x="2873215" y="2603373"/>
                  <a:pt x="2863024" y="2605659"/>
                </a:cubicBezTo>
                <a:cubicBezTo>
                  <a:pt x="2854318" y="2607932"/>
                  <a:pt x="2845344" y="2608991"/>
                  <a:pt x="2836352" y="2608802"/>
                </a:cubicBezTo>
                <a:cubicBezTo>
                  <a:pt x="2832925" y="2607945"/>
                  <a:pt x="2839592" y="2605087"/>
                  <a:pt x="2850544" y="2602706"/>
                </a:cubicBezTo>
                <a:cubicBezTo>
                  <a:pt x="2859080" y="2600424"/>
                  <a:pt x="2867908" y="2599461"/>
                  <a:pt x="2876738" y="2599849"/>
                </a:cubicBezTo>
                <a:close/>
                <a:moveTo>
                  <a:pt x="1902998" y="2599753"/>
                </a:moveTo>
                <a:cubicBezTo>
                  <a:pt x="1910437" y="2599468"/>
                  <a:pt x="1917896" y="2599787"/>
                  <a:pt x="1925286" y="2600705"/>
                </a:cubicBezTo>
                <a:cubicBezTo>
                  <a:pt x="1936335" y="2602420"/>
                  <a:pt x="1932049" y="2605563"/>
                  <a:pt x="1914999" y="2608135"/>
                </a:cubicBezTo>
                <a:cubicBezTo>
                  <a:pt x="1905531" y="2609526"/>
                  <a:pt x="1895987" y="2610353"/>
                  <a:pt x="1886425" y="2610611"/>
                </a:cubicBezTo>
                <a:cubicBezTo>
                  <a:pt x="1881853" y="2610611"/>
                  <a:pt x="1877567" y="2610611"/>
                  <a:pt x="1873567" y="2610611"/>
                </a:cubicBezTo>
                <a:cubicBezTo>
                  <a:pt x="1870118" y="2610506"/>
                  <a:pt x="1866680" y="2610155"/>
                  <a:pt x="1863279" y="2609564"/>
                </a:cubicBezTo>
                <a:cubicBezTo>
                  <a:pt x="1852420" y="2607563"/>
                  <a:pt x="1857374" y="2604515"/>
                  <a:pt x="1875471" y="2602039"/>
                </a:cubicBezTo>
                <a:cubicBezTo>
                  <a:pt x="1884596" y="2600769"/>
                  <a:pt x="1893788" y="2600005"/>
                  <a:pt x="1902998" y="2599753"/>
                </a:cubicBezTo>
                <a:close/>
                <a:moveTo>
                  <a:pt x="1656870" y="2599182"/>
                </a:moveTo>
                <a:cubicBezTo>
                  <a:pt x="1661632" y="2598991"/>
                  <a:pt x="1666395" y="2599182"/>
                  <a:pt x="1671157" y="2599182"/>
                </a:cubicBezTo>
                <a:cubicBezTo>
                  <a:pt x="1678577" y="2598974"/>
                  <a:pt x="1685997" y="2599357"/>
                  <a:pt x="1693350" y="2600325"/>
                </a:cubicBezTo>
                <a:cubicBezTo>
                  <a:pt x="1702875" y="2602515"/>
                  <a:pt x="1697446" y="2605849"/>
                  <a:pt x="1681920" y="2607468"/>
                </a:cubicBezTo>
                <a:cubicBezTo>
                  <a:pt x="1672929" y="2608362"/>
                  <a:pt x="1663899" y="2608744"/>
                  <a:pt x="1654869" y="2608611"/>
                </a:cubicBezTo>
                <a:cubicBezTo>
                  <a:pt x="1647030" y="2608670"/>
                  <a:pt x="1639201" y="2608160"/>
                  <a:pt x="1631438" y="2607087"/>
                </a:cubicBezTo>
                <a:cubicBezTo>
                  <a:pt x="1620103" y="2605087"/>
                  <a:pt x="1626104" y="2601468"/>
                  <a:pt x="1643440" y="2599944"/>
                </a:cubicBezTo>
                <a:cubicBezTo>
                  <a:pt x="1647535" y="2599944"/>
                  <a:pt x="1652107" y="2599372"/>
                  <a:pt x="1656870" y="2599182"/>
                </a:cubicBezTo>
                <a:close/>
                <a:moveTo>
                  <a:pt x="3008078" y="2596800"/>
                </a:moveTo>
                <a:cubicBezTo>
                  <a:pt x="3010365" y="2597372"/>
                  <a:pt x="3004459" y="2599848"/>
                  <a:pt x="2996173" y="2601753"/>
                </a:cubicBezTo>
                <a:cubicBezTo>
                  <a:pt x="2989952" y="2603352"/>
                  <a:pt x="2983542" y="2604120"/>
                  <a:pt x="2977125" y="2604039"/>
                </a:cubicBezTo>
                <a:cubicBezTo>
                  <a:pt x="2974741" y="2603468"/>
                  <a:pt x="2980648" y="2601087"/>
                  <a:pt x="2989029" y="2599182"/>
                </a:cubicBezTo>
                <a:cubicBezTo>
                  <a:pt x="2995240" y="2597521"/>
                  <a:pt x="3001651" y="2596720"/>
                  <a:pt x="3008078" y="2596800"/>
                </a:cubicBezTo>
                <a:close/>
                <a:moveTo>
                  <a:pt x="2137125" y="2595848"/>
                </a:moveTo>
                <a:cubicBezTo>
                  <a:pt x="2145698" y="2597658"/>
                  <a:pt x="2138744" y="2601182"/>
                  <a:pt x="2120552" y="2604135"/>
                </a:cubicBezTo>
                <a:cubicBezTo>
                  <a:pt x="2111093" y="2605700"/>
                  <a:pt x="2101550" y="2606687"/>
                  <a:pt x="2091977" y="2607088"/>
                </a:cubicBezTo>
                <a:cubicBezTo>
                  <a:pt x="2084633" y="2607565"/>
                  <a:pt x="2077261" y="2607278"/>
                  <a:pt x="2069974" y="2606231"/>
                </a:cubicBezTo>
                <a:cubicBezTo>
                  <a:pt x="2060450" y="2604421"/>
                  <a:pt x="2067498" y="2600897"/>
                  <a:pt x="2086071" y="2597944"/>
                </a:cubicBezTo>
                <a:cubicBezTo>
                  <a:pt x="2102902" y="2594834"/>
                  <a:pt x="2120094" y="2594129"/>
                  <a:pt x="2137125" y="2595848"/>
                </a:cubicBezTo>
                <a:close/>
                <a:moveTo>
                  <a:pt x="3120080" y="2594610"/>
                </a:moveTo>
                <a:cubicBezTo>
                  <a:pt x="3121604" y="2595086"/>
                  <a:pt x="3118365" y="2596419"/>
                  <a:pt x="3112173" y="2597848"/>
                </a:cubicBezTo>
                <a:cubicBezTo>
                  <a:pt x="3108497" y="2598910"/>
                  <a:pt x="3104668" y="2599392"/>
                  <a:pt x="3100838" y="2599277"/>
                </a:cubicBezTo>
                <a:cubicBezTo>
                  <a:pt x="3099314" y="2599277"/>
                  <a:pt x="3102554" y="2597562"/>
                  <a:pt x="3108745" y="2596134"/>
                </a:cubicBezTo>
                <a:cubicBezTo>
                  <a:pt x="3112411" y="2595014"/>
                  <a:pt x="3116241" y="2594499"/>
                  <a:pt x="3120080" y="2594610"/>
                </a:cubicBezTo>
                <a:close/>
                <a:moveTo>
                  <a:pt x="1204133" y="2592895"/>
                </a:moveTo>
                <a:cubicBezTo>
                  <a:pt x="1210420" y="2592895"/>
                  <a:pt x="1218421" y="2592895"/>
                  <a:pt x="1226041" y="2593943"/>
                </a:cubicBezTo>
                <a:lnTo>
                  <a:pt x="1236804" y="2595181"/>
                </a:lnTo>
                <a:cubicBezTo>
                  <a:pt x="1240042" y="2595562"/>
                  <a:pt x="1242900" y="2596039"/>
                  <a:pt x="1245091" y="2596515"/>
                </a:cubicBezTo>
                <a:cubicBezTo>
                  <a:pt x="1253854" y="2598420"/>
                  <a:pt x="1251282" y="2600515"/>
                  <a:pt x="1239661" y="2600801"/>
                </a:cubicBezTo>
                <a:cubicBezTo>
                  <a:pt x="1225060" y="2600990"/>
                  <a:pt x="1210477" y="2599713"/>
                  <a:pt x="1196132" y="2596991"/>
                </a:cubicBezTo>
                <a:cubicBezTo>
                  <a:pt x="1192036" y="2595943"/>
                  <a:pt x="1190893" y="2594896"/>
                  <a:pt x="1192417" y="2594134"/>
                </a:cubicBezTo>
                <a:cubicBezTo>
                  <a:pt x="1196218" y="2593038"/>
                  <a:pt x="1200190" y="2592619"/>
                  <a:pt x="1204133" y="2592895"/>
                </a:cubicBezTo>
                <a:close/>
                <a:moveTo>
                  <a:pt x="2507366" y="2590895"/>
                </a:moveTo>
                <a:cubicBezTo>
                  <a:pt x="2513700" y="2590208"/>
                  <a:pt x="2520082" y="2590208"/>
                  <a:pt x="2526416" y="2590895"/>
                </a:cubicBezTo>
                <a:cubicBezTo>
                  <a:pt x="2533180" y="2592038"/>
                  <a:pt x="2524987" y="2596134"/>
                  <a:pt x="2508891" y="2599468"/>
                </a:cubicBezTo>
                <a:cubicBezTo>
                  <a:pt x="2494344" y="2602610"/>
                  <a:pt x="2479458" y="2603859"/>
                  <a:pt x="2464599" y="2603182"/>
                </a:cubicBezTo>
                <a:cubicBezTo>
                  <a:pt x="2457266" y="2601944"/>
                  <a:pt x="2465266" y="2597848"/>
                  <a:pt x="2481744" y="2594515"/>
                </a:cubicBezTo>
                <a:cubicBezTo>
                  <a:pt x="2490203" y="2592802"/>
                  <a:pt x="2498765" y="2591593"/>
                  <a:pt x="2507366" y="2590895"/>
                </a:cubicBezTo>
                <a:close/>
                <a:moveTo>
                  <a:pt x="2691481" y="2590609"/>
                </a:moveTo>
                <a:cubicBezTo>
                  <a:pt x="2696293" y="2590092"/>
                  <a:pt x="2701150" y="2590092"/>
                  <a:pt x="2705960" y="2590609"/>
                </a:cubicBezTo>
                <a:cubicBezTo>
                  <a:pt x="2712532" y="2591561"/>
                  <a:pt x="2705294" y="2594895"/>
                  <a:pt x="2689863" y="2598229"/>
                </a:cubicBezTo>
                <a:cubicBezTo>
                  <a:pt x="2677776" y="2601363"/>
                  <a:pt x="2665278" y="2602616"/>
                  <a:pt x="2652810" y="2601944"/>
                </a:cubicBezTo>
                <a:cubicBezTo>
                  <a:pt x="2646809" y="2600705"/>
                  <a:pt x="2654049" y="2597372"/>
                  <a:pt x="2670050" y="2594038"/>
                </a:cubicBezTo>
                <a:cubicBezTo>
                  <a:pt x="2677127" y="2592534"/>
                  <a:pt x="2684282" y="2591390"/>
                  <a:pt x="2691481" y="2590609"/>
                </a:cubicBezTo>
                <a:close/>
                <a:moveTo>
                  <a:pt x="2859600" y="2589942"/>
                </a:moveTo>
                <a:cubicBezTo>
                  <a:pt x="2863219" y="2590990"/>
                  <a:pt x="2855599" y="2594324"/>
                  <a:pt x="2843313" y="2597086"/>
                </a:cubicBezTo>
                <a:cubicBezTo>
                  <a:pt x="2833387" y="2599610"/>
                  <a:pt x="2823156" y="2600701"/>
                  <a:pt x="2812927" y="2600324"/>
                </a:cubicBezTo>
                <a:cubicBezTo>
                  <a:pt x="2809023" y="2599372"/>
                  <a:pt x="2816643" y="2596038"/>
                  <a:pt x="2829120" y="2593276"/>
                </a:cubicBezTo>
                <a:cubicBezTo>
                  <a:pt x="2839073" y="2590745"/>
                  <a:pt x="2849333" y="2589623"/>
                  <a:pt x="2859600" y="2589942"/>
                </a:cubicBezTo>
                <a:close/>
                <a:moveTo>
                  <a:pt x="1381970" y="2589466"/>
                </a:moveTo>
                <a:cubicBezTo>
                  <a:pt x="1385685" y="2589466"/>
                  <a:pt x="1390162" y="2589466"/>
                  <a:pt x="1394733" y="2589466"/>
                </a:cubicBezTo>
                <a:lnTo>
                  <a:pt x="1401877" y="2589466"/>
                </a:lnTo>
                <a:lnTo>
                  <a:pt x="1409020" y="2589466"/>
                </a:lnTo>
                <a:cubicBezTo>
                  <a:pt x="1416822" y="2589725"/>
                  <a:pt x="1424585" y="2590553"/>
                  <a:pt x="1432262" y="2591942"/>
                </a:cubicBezTo>
                <a:cubicBezTo>
                  <a:pt x="1441692" y="2594038"/>
                  <a:pt x="1437595" y="2596800"/>
                  <a:pt x="1423975" y="2597658"/>
                </a:cubicBezTo>
                <a:cubicBezTo>
                  <a:pt x="1415088" y="2598136"/>
                  <a:pt x="1406192" y="2598136"/>
                  <a:pt x="1397305" y="2597658"/>
                </a:cubicBezTo>
                <a:cubicBezTo>
                  <a:pt x="1389409" y="2597367"/>
                  <a:pt x="1381550" y="2596507"/>
                  <a:pt x="1373779" y="2595086"/>
                </a:cubicBezTo>
                <a:cubicBezTo>
                  <a:pt x="1364253" y="2592990"/>
                  <a:pt x="1367968" y="2590228"/>
                  <a:pt x="1381970" y="2589466"/>
                </a:cubicBezTo>
                <a:close/>
                <a:moveTo>
                  <a:pt x="2992751" y="2588038"/>
                </a:moveTo>
                <a:cubicBezTo>
                  <a:pt x="2994369" y="2588895"/>
                  <a:pt x="2987701" y="2591657"/>
                  <a:pt x="2978843" y="2593657"/>
                </a:cubicBezTo>
                <a:cubicBezTo>
                  <a:pt x="2971147" y="2595723"/>
                  <a:pt x="2963185" y="2596654"/>
                  <a:pt x="2955223" y="2596420"/>
                </a:cubicBezTo>
                <a:cubicBezTo>
                  <a:pt x="2952937" y="2595658"/>
                  <a:pt x="2960271" y="2592610"/>
                  <a:pt x="2969793" y="2590514"/>
                </a:cubicBezTo>
                <a:cubicBezTo>
                  <a:pt x="2977272" y="2588490"/>
                  <a:pt x="2985016" y="2587654"/>
                  <a:pt x="2992751" y="2588038"/>
                </a:cubicBezTo>
                <a:close/>
                <a:moveTo>
                  <a:pt x="2319724" y="2587847"/>
                </a:moveTo>
                <a:cubicBezTo>
                  <a:pt x="2327725" y="2589561"/>
                  <a:pt x="2318962" y="2593943"/>
                  <a:pt x="2301149" y="2597372"/>
                </a:cubicBezTo>
                <a:cubicBezTo>
                  <a:pt x="2291691" y="2598985"/>
                  <a:pt x="2282156" y="2600067"/>
                  <a:pt x="2272575" y="2600610"/>
                </a:cubicBezTo>
                <a:cubicBezTo>
                  <a:pt x="2265544" y="2601395"/>
                  <a:pt x="2258459" y="2601395"/>
                  <a:pt x="2251429" y="2600610"/>
                </a:cubicBezTo>
                <a:cubicBezTo>
                  <a:pt x="2243142" y="2598420"/>
                  <a:pt x="2251810" y="2594038"/>
                  <a:pt x="2269908" y="2590800"/>
                </a:cubicBezTo>
                <a:cubicBezTo>
                  <a:pt x="2286310" y="2587602"/>
                  <a:pt x="2303064" y="2586609"/>
                  <a:pt x="2319724" y="2587847"/>
                </a:cubicBezTo>
                <a:close/>
                <a:moveTo>
                  <a:pt x="3108184" y="2585752"/>
                </a:moveTo>
                <a:cubicBezTo>
                  <a:pt x="3110374" y="2586323"/>
                  <a:pt x="3106469" y="2588038"/>
                  <a:pt x="3098373" y="2589943"/>
                </a:cubicBezTo>
                <a:cubicBezTo>
                  <a:pt x="3093058" y="2591646"/>
                  <a:pt x="3087468" y="2592356"/>
                  <a:pt x="3081895" y="2592038"/>
                </a:cubicBezTo>
                <a:cubicBezTo>
                  <a:pt x="3080085" y="2591467"/>
                  <a:pt x="3084276" y="2589752"/>
                  <a:pt x="3092658" y="2587752"/>
                </a:cubicBezTo>
                <a:cubicBezTo>
                  <a:pt x="3097697" y="2586296"/>
                  <a:pt x="3102935" y="2585622"/>
                  <a:pt x="3108184" y="2585752"/>
                </a:cubicBezTo>
                <a:close/>
                <a:moveTo>
                  <a:pt x="1828989" y="2582608"/>
                </a:moveTo>
                <a:cubicBezTo>
                  <a:pt x="1837515" y="2582281"/>
                  <a:pt x="1846058" y="2582696"/>
                  <a:pt x="1854517" y="2583846"/>
                </a:cubicBezTo>
                <a:cubicBezTo>
                  <a:pt x="1865756" y="2585847"/>
                  <a:pt x="1859755" y="2589752"/>
                  <a:pt x="1841753" y="2592228"/>
                </a:cubicBezTo>
                <a:cubicBezTo>
                  <a:pt x="1837276" y="2592800"/>
                  <a:pt x="1832228" y="2593276"/>
                  <a:pt x="1827180" y="2593657"/>
                </a:cubicBezTo>
                <a:lnTo>
                  <a:pt x="1811559" y="2594229"/>
                </a:lnTo>
                <a:cubicBezTo>
                  <a:pt x="1802967" y="2594479"/>
                  <a:pt x="1794366" y="2594033"/>
                  <a:pt x="1785841" y="2592895"/>
                </a:cubicBezTo>
                <a:cubicBezTo>
                  <a:pt x="1774030" y="2590800"/>
                  <a:pt x="1779936" y="2586990"/>
                  <a:pt x="1798319" y="2584513"/>
                </a:cubicBezTo>
                <a:cubicBezTo>
                  <a:pt x="1808501" y="2583321"/>
                  <a:pt x="1818741" y="2582685"/>
                  <a:pt x="1828989" y="2582608"/>
                </a:cubicBezTo>
                <a:close/>
                <a:moveTo>
                  <a:pt x="2836840" y="2579655"/>
                </a:moveTo>
                <a:cubicBezTo>
                  <a:pt x="2841316" y="2580893"/>
                  <a:pt x="2833601" y="2584322"/>
                  <a:pt x="2817790" y="2587561"/>
                </a:cubicBezTo>
                <a:cubicBezTo>
                  <a:pt x="2807084" y="2590415"/>
                  <a:pt x="2795997" y="2591573"/>
                  <a:pt x="2784928" y="2590990"/>
                </a:cubicBezTo>
                <a:cubicBezTo>
                  <a:pt x="2780167" y="2589847"/>
                  <a:pt x="2787405" y="2586608"/>
                  <a:pt x="2802646" y="2583179"/>
                </a:cubicBezTo>
                <a:cubicBezTo>
                  <a:pt x="2813771" y="2580130"/>
                  <a:pt x="2825324" y="2578939"/>
                  <a:pt x="2836840" y="2579655"/>
                </a:cubicBezTo>
                <a:close/>
                <a:moveTo>
                  <a:pt x="2678056" y="2579179"/>
                </a:moveTo>
                <a:cubicBezTo>
                  <a:pt x="2684057" y="2580513"/>
                  <a:pt x="2674341" y="2584990"/>
                  <a:pt x="2658148" y="2588704"/>
                </a:cubicBezTo>
                <a:cubicBezTo>
                  <a:pt x="2644756" y="2591779"/>
                  <a:pt x="2631012" y="2593029"/>
                  <a:pt x="2617286" y="2592419"/>
                </a:cubicBezTo>
                <a:cubicBezTo>
                  <a:pt x="2610904" y="2591086"/>
                  <a:pt x="2620526" y="2586609"/>
                  <a:pt x="2637098" y="2582894"/>
                </a:cubicBezTo>
                <a:cubicBezTo>
                  <a:pt x="2650519" y="2579780"/>
                  <a:pt x="2664303" y="2578531"/>
                  <a:pt x="2678056" y="2579179"/>
                </a:cubicBezTo>
                <a:close/>
                <a:moveTo>
                  <a:pt x="2050925" y="2578989"/>
                </a:moveTo>
                <a:cubicBezTo>
                  <a:pt x="2058631" y="2578586"/>
                  <a:pt x="2066356" y="2578969"/>
                  <a:pt x="2073976" y="2580132"/>
                </a:cubicBezTo>
                <a:cubicBezTo>
                  <a:pt x="2084358" y="2582704"/>
                  <a:pt x="2077024" y="2586514"/>
                  <a:pt x="2056355" y="2589657"/>
                </a:cubicBezTo>
                <a:cubicBezTo>
                  <a:pt x="2038648" y="2592761"/>
                  <a:pt x="2020588" y="2593307"/>
                  <a:pt x="2002729" y="2591276"/>
                </a:cubicBezTo>
                <a:cubicBezTo>
                  <a:pt x="1991680" y="2589086"/>
                  <a:pt x="1999015" y="2585371"/>
                  <a:pt x="2020064" y="2581751"/>
                </a:cubicBezTo>
                <a:cubicBezTo>
                  <a:pt x="2030294" y="2580259"/>
                  <a:pt x="2040591" y="2579337"/>
                  <a:pt x="2050925" y="2578989"/>
                </a:cubicBezTo>
                <a:close/>
                <a:moveTo>
                  <a:pt x="2472507" y="2577941"/>
                </a:moveTo>
                <a:cubicBezTo>
                  <a:pt x="2479147" y="2577049"/>
                  <a:pt x="2485871" y="2577049"/>
                  <a:pt x="2492508" y="2577941"/>
                </a:cubicBezTo>
                <a:cubicBezTo>
                  <a:pt x="2499559" y="2579942"/>
                  <a:pt x="2490318" y="2584228"/>
                  <a:pt x="2472127" y="2587752"/>
                </a:cubicBezTo>
                <a:cubicBezTo>
                  <a:pt x="2463030" y="2589529"/>
                  <a:pt x="2453839" y="2590738"/>
                  <a:pt x="2444599" y="2591372"/>
                </a:cubicBezTo>
                <a:cubicBezTo>
                  <a:pt x="2438055" y="2592178"/>
                  <a:pt x="2431426" y="2592178"/>
                  <a:pt x="2424883" y="2591372"/>
                </a:cubicBezTo>
                <a:cubicBezTo>
                  <a:pt x="2416977" y="2589752"/>
                  <a:pt x="2424883" y="2585561"/>
                  <a:pt x="2443932" y="2581847"/>
                </a:cubicBezTo>
                <a:cubicBezTo>
                  <a:pt x="2453381" y="2580044"/>
                  <a:pt x="2462925" y="2578741"/>
                  <a:pt x="2472507" y="2577941"/>
                </a:cubicBezTo>
                <a:close/>
                <a:moveTo>
                  <a:pt x="1586766" y="2577751"/>
                </a:moveTo>
                <a:cubicBezTo>
                  <a:pt x="1594967" y="2577870"/>
                  <a:pt x="1603149" y="2578570"/>
                  <a:pt x="1611244" y="2579846"/>
                </a:cubicBezTo>
                <a:cubicBezTo>
                  <a:pt x="1622675" y="2582132"/>
                  <a:pt x="1616484" y="2585847"/>
                  <a:pt x="1598482" y="2587371"/>
                </a:cubicBezTo>
                <a:cubicBezTo>
                  <a:pt x="1588814" y="2588051"/>
                  <a:pt x="1579117" y="2588241"/>
                  <a:pt x="1569430" y="2587942"/>
                </a:cubicBezTo>
                <a:cubicBezTo>
                  <a:pt x="1561191" y="2587843"/>
                  <a:pt x="1552981" y="2587111"/>
                  <a:pt x="1544856" y="2585752"/>
                </a:cubicBezTo>
                <a:cubicBezTo>
                  <a:pt x="1532854" y="2583370"/>
                  <a:pt x="1538950" y="2579751"/>
                  <a:pt x="1557332" y="2578322"/>
                </a:cubicBezTo>
                <a:cubicBezTo>
                  <a:pt x="1566192" y="2577655"/>
                  <a:pt x="1576383" y="2577465"/>
                  <a:pt x="1586766" y="2577751"/>
                </a:cubicBezTo>
                <a:close/>
                <a:moveTo>
                  <a:pt x="2978091" y="2577655"/>
                </a:moveTo>
                <a:cubicBezTo>
                  <a:pt x="2980757" y="2578798"/>
                  <a:pt x="2973804" y="2581561"/>
                  <a:pt x="2961421" y="2584418"/>
                </a:cubicBezTo>
                <a:cubicBezTo>
                  <a:pt x="2952876" y="2586818"/>
                  <a:pt x="2943989" y="2587784"/>
                  <a:pt x="2935132" y="2587276"/>
                </a:cubicBezTo>
                <a:cubicBezTo>
                  <a:pt x="2931894" y="2586228"/>
                  <a:pt x="2938275" y="2583561"/>
                  <a:pt x="2950753" y="2580703"/>
                </a:cubicBezTo>
                <a:cubicBezTo>
                  <a:pt x="2959603" y="2577999"/>
                  <a:pt x="2968871" y="2576966"/>
                  <a:pt x="2978091" y="2577655"/>
                </a:cubicBezTo>
                <a:close/>
                <a:moveTo>
                  <a:pt x="3099618" y="2576227"/>
                </a:moveTo>
                <a:cubicBezTo>
                  <a:pt x="3101237" y="2577084"/>
                  <a:pt x="3096284" y="2579084"/>
                  <a:pt x="3086663" y="2581370"/>
                </a:cubicBezTo>
                <a:cubicBezTo>
                  <a:pt x="3080072" y="2583420"/>
                  <a:pt x="3073167" y="2584258"/>
                  <a:pt x="3066280" y="2583847"/>
                </a:cubicBezTo>
                <a:cubicBezTo>
                  <a:pt x="3064090" y="2582990"/>
                  <a:pt x="3069519" y="2580799"/>
                  <a:pt x="3079806" y="2578418"/>
                </a:cubicBezTo>
                <a:cubicBezTo>
                  <a:pt x="3086197" y="2576357"/>
                  <a:pt x="3092933" y="2575612"/>
                  <a:pt x="3099618" y="2576227"/>
                </a:cubicBezTo>
                <a:close/>
                <a:moveTo>
                  <a:pt x="3206860" y="2574417"/>
                </a:moveTo>
                <a:cubicBezTo>
                  <a:pt x="3207622" y="2574989"/>
                  <a:pt x="3203051" y="2576798"/>
                  <a:pt x="3197335" y="2578227"/>
                </a:cubicBezTo>
                <a:cubicBezTo>
                  <a:pt x="3192887" y="2579405"/>
                  <a:pt x="3188315" y="2580014"/>
                  <a:pt x="3183715" y="2580037"/>
                </a:cubicBezTo>
                <a:cubicBezTo>
                  <a:pt x="3182476" y="2580037"/>
                  <a:pt x="3186668" y="2577751"/>
                  <a:pt x="3192383" y="2576322"/>
                </a:cubicBezTo>
                <a:cubicBezTo>
                  <a:pt x="3197088" y="2574954"/>
                  <a:pt x="3201965" y="2574312"/>
                  <a:pt x="3206860" y="2574417"/>
                </a:cubicBezTo>
                <a:close/>
                <a:moveTo>
                  <a:pt x="2274101" y="2573750"/>
                </a:moveTo>
                <a:cubicBezTo>
                  <a:pt x="2283626" y="2575560"/>
                  <a:pt x="2275816" y="2580132"/>
                  <a:pt x="2256194" y="2583275"/>
                </a:cubicBezTo>
                <a:cubicBezTo>
                  <a:pt x="2246012" y="2585056"/>
                  <a:pt x="2235745" y="2586265"/>
                  <a:pt x="2225429" y="2586894"/>
                </a:cubicBezTo>
                <a:cubicBezTo>
                  <a:pt x="2217465" y="2587466"/>
                  <a:pt x="2209454" y="2587307"/>
                  <a:pt x="2201521" y="2586418"/>
                </a:cubicBezTo>
                <a:cubicBezTo>
                  <a:pt x="2191137" y="2584513"/>
                  <a:pt x="2199138" y="2580036"/>
                  <a:pt x="2219142" y="2576893"/>
                </a:cubicBezTo>
                <a:cubicBezTo>
                  <a:pt x="2237230" y="2573333"/>
                  <a:pt x="2255728" y="2572275"/>
                  <a:pt x="2274101" y="2573750"/>
                </a:cubicBezTo>
                <a:close/>
                <a:moveTo>
                  <a:pt x="2816173" y="2567749"/>
                </a:moveTo>
                <a:cubicBezTo>
                  <a:pt x="2820651" y="2569083"/>
                  <a:pt x="2811791" y="2573179"/>
                  <a:pt x="2797124" y="2576417"/>
                </a:cubicBezTo>
                <a:cubicBezTo>
                  <a:pt x="2784132" y="2579775"/>
                  <a:pt x="2770712" y="2581187"/>
                  <a:pt x="2757311" y="2580608"/>
                </a:cubicBezTo>
                <a:cubicBezTo>
                  <a:pt x="2751785" y="2579370"/>
                  <a:pt x="2761119" y="2575084"/>
                  <a:pt x="2776836" y="2571655"/>
                </a:cubicBezTo>
                <a:cubicBezTo>
                  <a:pt x="2789675" y="2568360"/>
                  <a:pt x="2802936" y="2567043"/>
                  <a:pt x="2816173" y="2567749"/>
                </a:cubicBezTo>
                <a:close/>
                <a:moveTo>
                  <a:pt x="2960094" y="2567559"/>
                </a:moveTo>
                <a:cubicBezTo>
                  <a:pt x="2963808" y="2568702"/>
                  <a:pt x="2956568" y="2571845"/>
                  <a:pt x="2943235" y="2574988"/>
                </a:cubicBezTo>
                <a:cubicBezTo>
                  <a:pt x="2932814" y="2578008"/>
                  <a:pt x="2921965" y="2579263"/>
                  <a:pt x="2911135" y="2578703"/>
                </a:cubicBezTo>
                <a:cubicBezTo>
                  <a:pt x="2907229" y="2577560"/>
                  <a:pt x="2914374" y="2574417"/>
                  <a:pt x="2927901" y="2571273"/>
                </a:cubicBezTo>
                <a:cubicBezTo>
                  <a:pt x="2938339" y="2568205"/>
                  <a:pt x="2949226" y="2566949"/>
                  <a:pt x="2960094" y="2567559"/>
                </a:cubicBezTo>
                <a:close/>
                <a:moveTo>
                  <a:pt x="2649581" y="2567559"/>
                </a:moveTo>
                <a:cubicBezTo>
                  <a:pt x="2657009" y="2569178"/>
                  <a:pt x="2649008" y="2573274"/>
                  <a:pt x="2630530" y="2577084"/>
                </a:cubicBezTo>
                <a:cubicBezTo>
                  <a:pt x="2615566" y="2580861"/>
                  <a:pt x="2600107" y="2582276"/>
                  <a:pt x="2584714" y="2581275"/>
                </a:cubicBezTo>
                <a:cubicBezTo>
                  <a:pt x="2576809" y="2579655"/>
                  <a:pt x="2584714" y="2575750"/>
                  <a:pt x="2603764" y="2571750"/>
                </a:cubicBezTo>
                <a:cubicBezTo>
                  <a:pt x="2618738" y="2568060"/>
                  <a:pt x="2634187" y="2566647"/>
                  <a:pt x="2649581" y="2567559"/>
                </a:cubicBezTo>
                <a:close/>
                <a:moveTo>
                  <a:pt x="3086292" y="2566606"/>
                </a:moveTo>
                <a:cubicBezTo>
                  <a:pt x="3089053" y="2567558"/>
                  <a:pt x="3082862" y="2570130"/>
                  <a:pt x="3072005" y="2572797"/>
                </a:cubicBezTo>
                <a:cubicBezTo>
                  <a:pt x="3063965" y="2575139"/>
                  <a:pt x="3055612" y="2576232"/>
                  <a:pt x="3047240" y="2576036"/>
                </a:cubicBezTo>
                <a:cubicBezTo>
                  <a:pt x="3043811" y="2575178"/>
                  <a:pt x="3050382" y="2572321"/>
                  <a:pt x="3062098" y="2569559"/>
                </a:cubicBezTo>
                <a:cubicBezTo>
                  <a:pt x="3069946" y="2567257"/>
                  <a:pt x="3078120" y="2566260"/>
                  <a:pt x="3086292" y="2566606"/>
                </a:cubicBezTo>
                <a:close/>
                <a:moveTo>
                  <a:pt x="2451459" y="2565558"/>
                </a:moveTo>
                <a:cubicBezTo>
                  <a:pt x="2459079" y="2567654"/>
                  <a:pt x="2449363" y="2571749"/>
                  <a:pt x="2428504" y="2575845"/>
                </a:cubicBezTo>
                <a:cubicBezTo>
                  <a:pt x="2412016" y="2579552"/>
                  <a:pt x="2395033" y="2580613"/>
                  <a:pt x="2378212" y="2578988"/>
                </a:cubicBezTo>
                <a:cubicBezTo>
                  <a:pt x="2368687" y="2576893"/>
                  <a:pt x="2379164" y="2572321"/>
                  <a:pt x="2401738" y="2568320"/>
                </a:cubicBezTo>
                <a:cubicBezTo>
                  <a:pt x="2418045" y="2564665"/>
                  <a:pt x="2434847" y="2563731"/>
                  <a:pt x="2451459" y="2565558"/>
                </a:cubicBezTo>
                <a:close/>
                <a:moveTo>
                  <a:pt x="3200675" y="2564606"/>
                </a:moveTo>
                <a:cubicBezTo>
                  <a:pt x="3202103" y="2565273"/>
                  <a:pt x="3196102" y="2567750"/>
                  <a:pt x="3188769" y="2569464"/>
                </a:cubicBezTo>
                <a:cubicBezTo>
                  <a:pt x="3183043" y="2571120"/>
                  <a:pt x="3177101" y="2571890"/>
                  <a:pt x="3171148" y="2571750"/>
                </a:cubicBezTo>
                <a:cubicBezTo>
                  <a:pt x="3169718" y="2571083"/>
                  <a:pt x="3175718" y="2568702"/>
                  <a:pt x="3183052" y="2566892"/>
                </a:cubicBezTo>
                <a:cubicBezTo>
                  <a:pt x="3188779" y="2565246"/>
                  <a:pt x="3194721" y="2564475"/>
                  <a:pt x="3200675" y="2564606"/>
                </a:cubicBezTo>
                <a:close/>
                <a:moveTo>
                  <a:pt x="3298290" y="2563558"/>
                </a:moveTo>
                <a:cubicBezTo>
                  <a:pt x="3298290" y="2563558"/>
                  <a:pt x="3296481" y="2564987"/>
                  <a:pt x="3291528" y="2566225"/>
                </a:cubicBezTo>
                <a:cubicBezTo>
                  <a:pt x="3288090" y="2567347"/>
                  <a:pt x="3284480" y="2567894"/>
                  <a:pt x="3280860" y="2567844"/>
                </a:cubicBezTo>
                <a:cubicBezTo>
                  <a:pt x="3279812" y="2567368"/>
                  <a:pt x="3282765" y="2566225"/>
                  <a:pt x="3288098" y="2564891"/>
                </a:cubicBezTo>
                <a:cubicBezTo>
                  <a:pt x="3291365" y="2563725"/>
                  <a:pt x="3294834" y="2563270"/>
                  <a:pt x="3298290" y="2563558"/>
                </a:cubicBezTo>
                <a:close/>
                <a:moveTo>
                  <a:pt x="1737934" y="2562892"/>
                </a:moveTo>
                <a:cubicBezTo>
                  <a:pt x="1743553" y="2562606"/>
                  <a:pt x="1749173" y="2562892"/>
                  <a:pt x="1754697" y="2562892"/>
                </a:cubicBezTo>
                <a:cubicBezTo>
                  <a:pt x="1763717" y="2562791"/>
                  <a:pt x="1772728" y="2563396"/>
                  <a:pt x="1781653" y="2564702"/>
                </a:cubicBezTo>
                <a:cubicBezTo>
                  <a:pt x="1793369" y="2566988"/>
                  <a:pt x="1787273" y="2571274"/>
                  <a:pt x="1768699" y="2573560"/>
                </a:cubicBezTo>
                <a:cubicBezTo>
                  <a:pt x="1757574" y="2574833"/>
                  <a:pt x="1746373" y="2575436"/>
                  <a:pt x="1735172" y="2575370"/>
                </a:cubicBezTo>
                <a:cubicBezTo>
                  <a:pt x="1725761" y="2575519"/>
                  <a:pt x="1716360" y="2574817"/>
                  <a:pt x="1707073" y="2573274"/>
                </a:cubicBezTo>
                <a:cubicBezTo>
                  <a:pt x="1695262" y="2570417"/>
                  <a:pt x="1702215" y="2566226"/>
                  <a:pt x="1721931" y="2564130"/>
                </a:cubicBezTo>
                <a:cubicBezTo>
                  <a:pt x="1726884" y="2563559"/>
                  <a:pt x="1732313" y="2563178"/>
                  <a:pt x="1737934" y="2562892"/>
                </a:cubicBezTo>
                <a:close/>
                <a:moveTo>
                  <a:pt x="1982633" y="2562511"/>
                </a:moveTo>
                <a:cubicBezTo>
                  <a:pt x="1991263" y="2562163"/>
                  <a:pt x="1999911" y="2562674"/>
                  <a:pt x="2008446" y="2564035"/>
                </a:cubicBezTo>
                <a:cubicBezTo>
                  <a:pt x="2019781" y="2566511"/>
                  <a:pt x="2013208" y="2570416"/>
                  <a:pt x="1992158" y="2573655"/>
                </a:cubicBezTo>
                <a:cubicBezTo>
                  <a:pt x="1981176" y="2575284"/>
                  <a:pt x="1970108" y="2576237"/>
                  <a:pt x="1959011" y="2576512"/>
                </a:cubicBezTo>
                <a:cubicBezTo>
                  <a:pt x="1950286" y="2576900"/>
                  <a:pt x="1941533" y="2576389"/>
                  <a:pt x="1932913" y="2574988"/>
                </a:cubicBezTo>
                <a:cubicBezTo>
                  <a:pt x="1920817" y="2572607"/>
                  <a:pt x="1927293" y="2568702"/>
                  <a:pt x="1948915" y="2565463"/>
                </a:cubicBezTo>
                <a:cubicBezTo>
                  <a:pt x="1960087" y="2563851"/>
                  <a:pt x="1971346" y="2562865"/>
                  <a:pt x="1982633" y="2562511"/>
                </a:cubicBezTo>
                <a:close/>
                <a:moveTo>
                  <a:pt x="1272241" y="2560320"/>
                </a:moveTo>
                <a:lnTo>
                  <a:pt x="1285957" y="2560320"/>
                </a:lnTo>
                <a:lnTo>
                  <a:pt x="1301292" y="2561177"/>
                </a:lnTo>
                <a:cubicBezTo>
                  <a:pt x="1306436" y="2561177"/>
                  <a:pt x="1311389" y="2562130"/>
                  <a:pt x="1315770" y="2562701"/>
                </a:cubicBezTo>
                <a:cubicBezTo>
                  <a:pt x="1319457" y="2563087"/>
                  <a:pt x="1323114" y="2563691"/>
                  <a:pt x="1326724" y="2564511"/>
                </a:cubicBezTo>
                <a:cubicBezTo>
                  <a:pt x="1337011" y="2566892"/>
                  <a:pt x="1333106" y="2569750"/>
                  <a:pt x="1318628" y="2570512"/>
                </a:cubicBezTo>
                <a:cubicBezTo>
                  <a:pt x="1309093" y="2570716"/>
                  <a:pt x="1299559" y="2570429"/>
                  <a:pt x="1290053" y="2569655"/>
                </a:cubicBezTo>
                <a:cubicBezTo>
                  <a:pt x="1284909" y="2569655"/>
                  <a:pt x="1280528" y="2568797"/>
                  <a:pt x="1275575" y="2568226"/>
                </a:cubicBezTo>
                <a:cubicBezTo>
                  <a:pt x="1271822" y="2567787"/>
                  <a:pt x="1268098" y="2567119"/>
                  <a:pt x="1264431" y="2566226"/>
                </a:cubicBezTo>
                <a:cubicBezTo>
                  <a:pt x="1253477" y="2563654"/>
                  <a:pt x="1257287" y="2560796"/>
                  <a:pt x="1272241" y="2560320"/>
                </a:cubicBezTo>
                <a:close/>
                <a:moveTo>
                  <a:pt x="1083737" y="2559558"/>
                </a:moveTo>
                <a:cubicBezTo>
                  <a:pt x="1089928" y="2559558"/>
                  <a:pt x="1098500" y="2560320"/>
                  <a:pt x="1106882" y="2561273"/>
                </a:cubicBezTo>
                <a:cubicBezTo>
                  <a:pt x="1115264" y="2562225"/>
                  <a:pt x="1123456" y="2563368"/>
                  <a:pt x="1128980" y="2564606"/>
                </a:cubicBezTo>
                <a:cubicBezTo>
                  <a:pt x="1140887" y="2567273"/>
                  <a:pt x="1138505" y="2569750"/>
                  <a:pt x="1124313" y="2569559"/>
                </a:cubicBezTo>
                <a:cubicBezTo>
                  <a:pt x="1121075" y="2569559"/>
                  <a:pt x="1117360" y="2569559"/>
                  <a:pt x="1113359" y="2569083"/>
                </a:cubicBezTo>
                <a:lnTo>
                  <a:pt x="1100977" y="2567845"/>
                </a:lnTo>
                <a:cubicBezTo>
                  <a:pt x="1093805" y="2567042"/>
                  <a:pt x="1086680" y="2565833"/>
                  <a:pt x="1079641" y="2564225"/>
                </a:cubicBezTo>
                <a:cubicBezTo>
                  <a:pt x="1069449" y="2561653"/>
                  <a:pt x="1071449" y="2559463"/>
                  <a:pt x="1083737" y="2559558"/>
                </a:cubicBezTo>
                <a:close/>
                <a:moveTo>
                  <a:pt x="2195232" y="2557652"/>
                </a:moveTo>
                <a:cubicBezTo>
                  <a:pt x="2203597" y="2557029"/>
                  <a:pt x="2212008" y="2557413"/>
                  <a:pt x="2220285" y="2558795"/>
                </a:cubicBezTo>
                <a:cubicBezTo>
                  <a:pt x="2230572" y="2561081"/>
                  <a:pt x="2220856" y="2565844"/>
                  <a:pt x="2198186" y="2569559"/>
                </a:cubicBezTo>
                <a:cubicBezTo>
                  <a:pt x="2192851" y="2570416"/>
                  <a:pt x="2187326" y="2571178"/>
                  <a:pt x="2181898" y="2571749"/>
                </a:cubicBezTo>
                <a:cubicBezTo>
                  <a:pt x="2176469" y="2572321"/>
                  <a:pt x="2171039" y="2572607"/>
                  <a:pt x="2165991" y="2572797"/>
                </a:cubicBezTo>
                <a:cubicBezTo>
                  <a:pt x="2158065" y="2573267"/>
                  <a:pt x="2150122" y="2572915"/>
                  <a:pt x="2142274" y="2571749"/>
                </a:cubicBezTo>
                <a:cubicBezTo>
                  <a:pt x="2131701" y="2569463"/>
                  <a:pt x="2140083" y="2564891"/>
                  <a:pt x="2161324" y="2561272"/>
                </a:cubicBezTo>
                <a:cubicBezTo>
                  <a:pt x="2166944" y="2560319"/>
                  <a:pt x="2172849" y="2559557"/>
                  <a:pt x="2178563" y="2558986"/>
                </a:cubicBezTo>
                <a:cubicBezTo>
                  <a:pt x="2184279" y="2558414"/>
                  <a:pt x="2189993" y="2557938"/>
                  <a:pt x="2195232" y="2557652"/>
                </a:cubicBezTo>
                <a:close/>
                <a:moveTo>
                  <a:pt x="2789983" y="2556605"/>
                </a:moveTo>
                <a:cubicBezTo>
                  <a:pt x="2795603" y="2558320"/>
                  <a:pt x="2786649" y="2562416"/>
                  <a:pt x="2768552" y="2566130"/>
                </a:cubicBezTo>
                <a:cubicBezTo>
                  <a:pt x="2754845" y="2569849"/>
                  <a:pt x="2740623" y="2571265"/>
                  <a:pt x="2726451" y="2570321"/>
                </a:cubicBezTo>
                <a:cubicBezTo>
                  <a:pt x="2719873" y="2568797"/>
                  <a:pt x="2728261" y="2564797"/>
                  <a:pt x="2746453" y="2560796"/>
                </a:cubicBezTo>
                <a:cubicBezTo>
                  <a:pt x="2760618" y="2556928"/>
                  <a:pt x="2775341" y="2555511"/>
                  <a:pt x="2789983" y="2556605"/>
                </a:cubicBezTo>
                <a:close/>
                <a:moveTo>
                  <a:pt x="2945047" y="2555938"/>
                </a:moveTo>
                <a:cubicBezTo>
                  <a:pt x="2949143" y="2557271"/>
                  <a:pt x="2940284" y="2561272"/>
                  <a:pt x="2926189" y="2564606"/>
                </a:cubicBezTo>
                <a:cubicBezTo>
                  <a:pt x="2914254" y="2567736"/>
                  <a:pt x="2901946" y="2569210"/>
                  <a:pt x="2889612" y="2568987"/>
                </a:cubicBezTo>
                <a:cubicBezTo>
                  <a:pt x="2883895" y="2568035"/>
                  <a:pt x="2892659" y="2563748"/>
                  <a:pt x="2907710" y="2560224"/>
                </a:cubicBezTo>
                <a:cubicBezTo>
                  <a:pt x="2919873" y="2556959"/>
                  <a:pt x="2932456" y="2555515"/>
                  <a:pt x="2945047" y="2555938"/>
                </a:cubicBezTo>
                <a:close/>
                <a:moveTo>
                  <a:pt x="3076199" y="2555843"/>
                </a:moveTo>
                <a:cubicBezTo>
                  <a:pt x="3078581" y="2557081"/>
                  <a:pt x="3069628" y="2560796"/>
                  <a:pt x="3057149" y="2563558"/>
                </a:cubicBezTo>
                <a:cubicBezTo>
                  <a:pt x="3048197" y="2566069"/>
                  <a:pt x="3038911" y="2567130"/>
                  <a:pt x="3029623" y="2566701"/>
                </a:cubicBezTo>
                <a:cubicBezTo>
                  <a:pt x="3026862" y="2565654"/>
                  <a:pt x="3035053" y="2562225"/>
                  <a:pt x="3047625" y="2559177"/>
                </a:cubicBezTo>
                <a:cubicBezTo>
                  <a:pt x="3056902" y="2556526"/>
                  <a:pt x="3066560" y="2555400"/>
                  <a:pt x="3076199" y="2555843"/>
                </a:cubicBezTo>
                <a:close/>
                <a:moveTo>
                  <a:pt x="3191257" y="2555176"/>
                </a:moveTo>
                <a:cubicBezTo>
                  <a:pt x="3192875" y="2556033"/>
                  <a:pt x="3186017" y="2558891"/>
                  <a:pt x="3176966" y="2561081"/>
                </a:cubicBezTo>
                <a:cubicBezTo>
                  <a:pt x="3169815" y="2563103"/>
                  <a:pt x="3162405" y="2564065"/>
                  <a:pt x="3154966" y="2563939"/>
                </a:cubicBezTo>
                <a:cubicBezTo>
                  <a:pt x="3152679" y="2563272"/>
                  <a:pt x="3159157" y="2560415"/>
                  <a:pt x="3168300" y="2558129"/>
                </a:cubicBezTo>
                <a:cubicBezTo>
                  <a:pt x="3175740" y="2555915"/>
                  <a:pt x="3183493" y="2554918"/>
                  <a:pt x="3191257" y="2555176"/>
                </a:cubicBezTo>
                <a:close/>
                <a:moveTo>
                  <a:pt x="3291441" y="2554224"/>
                </a:moveTo>
                <a:cubicBezTo>
                  <a:pt x="3292488" y="2554890"/>
                  <a:pt x="3288204" y="2556605"/>
                  <a:pt x="3281154" y="2558319"/>
                </a:cubicBezTo>
                <a:cubicBezTo>
                  <a:pt x="3276649" y="2559807"/>
                  <a:pt x="3271897" y="2560422"/>
                  <a:pt x="3267155" y="2560129"/>
                </a:cubicBezTo>
                <a:cubicBezTo>
                  <a:pt x="3266106" y="2559462"/>
                  <a:pt x="3270392" y="2557748"/>
                  <a:pt x="3277536" y="2556033"/>
                </a:cubicBezTo>
                <a:cubicBezTo>
                  <a:pt x="3282012" y="2554549"/>
                  <a:pt x="3286736" y="2553934"/>
                  <a:pt x="3291441" y="2554224"/>
                </a:cubicBezTo>
                <a:close/>
                <a:moveTo>
                  <a:pt x="2594812" y="2554224"/>
                </a:moveTo>
                <a:cubicBezTo>
                  <a:pt x="2601765" y="2553242"/>
                  <a:pt x="2608813" y="2553242"/>
                  <a:pt x="2615767" y="2554224"/>
                </a:cubicBezTo>
                <a:cubicBezTo>
                  <a:pt x="2622245" y="2556033"/>
                  <a:pt x="2611575" y="2561177"/>
                  <a:pt x="2593287" y="2564987"/>
                </a:cubicBezTo>
                <a:cubicBezTo>
                  <a:pt x="2576495" y="2568836"/>
                  <a:pt x="2559237" y="2570216"/>
                  <a:pt x="2542043" y="2569083"/>
                </a:cubicBezTo>
                <a:cubicBezTo>
                  <a:pt x="2535090" y="2567463"/>
                  <a:pt x="2545662" y="2562225"/>
                  <a:pt x="2564331" y="2558510"/>
                </a:cubicBezTo>
                <a:cubicBezTo>
                  <a:pt x="2574390" y="2556442"/>
                  <a:pt x="2584572" y="2555010"/>
                  <a:pt x="2594812" y="2554224"/>
                </a:cubicBezTo>
                <a:close/>
                <a:moveTo>
                  <a:pt x="1454369" y="2554033"/>
                </a:moveTo>
                <a:cubicBezTo>
                  <a:pt x="1465218" y="2553450"/>
                  <a:pt x="1476095" y="2553450"/>
                  <a:pt x="1486944" y="2554033"/>
                </a:cubicBezTo>
                <a:cubicBezTo>
                  <a:pt x="1496526" y="2554238"/>
                  <a:pt x="1506080" y="2555193"/>
                  <a:pt x="1515519" y="2556891"/>
                </a:cubicBezTo>
                <a:cubicBezTo>
                  <a:pt x="1527997" y="2559558"/>
                  <a:pt x="1521615" y="2563463"/>
                  <a:pt x="1502565" y="2564701"/>
                </a:cubicBezTo>
                <a:cubicBezTo>
                  <a:pt x="1483239" y="2565773"/>
                  <a:pt x="1463856" y="2564751"/>
                  <a:pt x="1444748" y="2561653"/>
                </a:cubicBezTo>
                <a:cubicBezTo>
                  <a:pt x="1438652" y="2560320"/>
                  <a:pt x="1436652" y="2558700"/>
                  <a:pt x="1438462" y="2557367"/>
                </a:cubicBezTo>
                <a:cubicBezTo>
                  <a:pt x="1443463" y="2555125"/>
                  <a:pt x="1448892" y="2553987"/>
                  <a:pt x="1454369" y="2554033"/>
                </a:cubicBezTo>
                <a:close/>
                <a:moveTo>
                  <a:pt x="2386881" y="2549843"/>
                </a:moveTo>
                <a:cubicBezTo>
                  <a:pt x="2395205" y="2548887"/>
                  <a:pt x="2403606" y="2548887"/>
                  <a:pt x="2411932" y="2549843"/>
                </a:cubicBezTo>
                <a:cubicBezTo>
                  <a:pt x="2420409" y="2551938"/>
                  <a:pt x="2409836" y="2557367"/>
                  <a:pt x="2389739" y="2561177"/>
                </a:cubicBezTo>
                <a:cubicBezTo>
                  <a:pt x="2379032" y="2563155"/>
                  <a:pt x="2368221" y="2564490"/>
                  <a:pt x="2357353" y="2565178"/>
                </a:cubicBezTo>
                <a:cubicBezTo>
                  <a:pt x="2349152" y="2566086"/>
                  <a:pt x="2340885" y="2566117"/>
                  <a:pt x="2332684" y="2565273"/>
                </a:cubicBezTo>
                <a:cubicBezTo>
                  <a:pt x="2323159" y="2563368"/>
                  <a:pt x="2332684" y="2558034"/>
                  <a:pt x="2352876" y="2554034"/>
                </a:cubicBezTo>
                <a:cubicBezTo>
                  <a:pt x="2364115" y="2551947"/>
                  <a:pt x="2375470" y="2550546"/>
                  <a:pt x="2386881" y="2549843"/>
                </a:cubicBezTo>
                <a:close/>
                <a:moveTo>
                  <a:pt x="2923999" y="2545461"/>
                </a:moveTo>
                <a:cubicBezTo>
                  <a:pt x="2928858" y="2546699"/>
                  <a:pt x="2919521" y="2550795"/>
                  <a:pt x="2902093" y="2554700"/>
                </a:cubicBezTo>
                <a:cubicBezTo>
                  <a:pt x="2889434" y="2558247"/>
                  <a:pt x="2876260" y="2559632"/>
                  <a:pt x="2863134" y="2558796"/>
                </a:cubicBezTo>
                <a:cubicBezTo>
                  <a:pt x="2857515" y="2557082"/>
                  <a:pt x="2867136" y="2552891"/>
                  <a:pt x="2885900" y="2549271"/>
                </a:cubicBezTo>
                <a:cubicBezTo>
                  <a:pt x="2898270" y="2545740"/>
                  <a:pt x="2911168" y="2544449"/>
                  <a:pt x="2923999" y="2545461"/>
                </a:cubicBezTo>
                <a:close/>
                <a:moveTo>
                  <a:pt x="3061250" y="2545270"/>
                </a:moveTo>
                <a:cubicBezTo>
                  <a:pt x="3064964" y="2546604"/>
                  <a:pt x="3055441" y="2550700"/>
                  <a:pt x="3041343" y="2553843"/>
                </a:cubicBezTo>
                <a:cubicBezTo>
                  <a:pt x="3030684" y="2556825"/>
                  <a:pt x="3019635" y="2558111"/>
                  <a:pt x="3008577" y="2557653"/>
                </a:cubicBezTo>
                <a:cubicBezTo>
                  <a:pt x="3005055" y="2556319"/>
                  <a:pt x="3014483" y="2552319"/>
                  <a:pt x="3028390" y="2549080"/>
                </a:cubicBezTo>
                <a:cubicBezTo>
                  <a:pt x="3039076" y="2546078"/>
                  <a:pt x="3050162" y="2544792"/>
                  <a:pt x="3061250" y="2545270"/>
                </a:cubicBezTo>
                <a:close/>
                <a:moveTo>
                  <a:pt x="3183070" y="2544032"/>
                </a:moveTo>
                <a:cubicBezTo>
                  <a:pt x="3186213" y="2544889"/>
                  <a:pt x="3178973" y="2548127"/>
                  <a:pt x="3167639" y="2550985"/>
                </a:cubicBezTo>
                <a:cubicBezTo>
                  <a:pt x="3159048" y="2553493"/>
                  <a:pt x="3150112" y="2554650"/>
                  <a:pt x="3141160" y="2554414"/>
                </a:cubicBezTo>
                <a:cubicBezTo>
                  <a:pt x="3138303" y="2553461"/>
                  <a:pt x="3146017" y="2550128"/>
                  <a:pt x="3157638" y="2547365"/>
                </a:cubicBezTo>
                <a:cubicBezTo>
                  <a:pt x="3165897" y="2544971"/>
                  <a:pt x="3174469" y="2543847"/>
                  <a:pt x="3183070" y="2544032"/>
                </a:cubicBezTo>
                <a:close/>
                <a:moveTo>
                  <a:pt x="3287828" y="2543937"/>
                </a:moveTo>
                <a:cubicBezTo>
                  <a:pt x="3289067" y="2544794"/>
                  <a:pt x="3283829" y="2546985"/>
                  <a:pt x="3274971" y="2549175"/>
                </a:cubicBezTo>
                <a:cubicBezTo>
                  <a:pt x="3269135" y="2551069"/>
                  <a:pt x="3262999" y="2551876"/>
                  <a:pt x="3256875" y="2551556"/>
                </a:cubicBezTo>
                <a:cubicBezTo>
                  <a:pt x="3255063" y="2550794"/>
                  <a:pt x="3259923" y="2548699"/>
                  <a:pt x="3268780" y="2546508"/>
                </a:cubicBezTo>
                <a:cubicBezTo>
                  <a:pt x="3274904" y="2544416"/>
                  <a:pt x="3281372" y="2543541"/>
                  <a:pt x="3287828" y="2543937"/>
                </a:cubicBezTo>
                <a:close/>
                <a:moveTo>
                  <a:pt x="3379921" y="2543556"/>
                </a:moveTo>
                <a:cubicBezTo>
                  <a:pt x="3381159" y="2543556"/>
                  <a:pt x="3377921" y="2545271"/>
                  <a:pt x="3372110" y="2546795"/>
                </a:cubicBezTo>
                <a:cubicBezTo>
                  <a:pt x="3368729" y="2547902"/>
                  <a:pt x="3365186" y="2548418"/>
                  <a:pt x="3361633" y="2548319"/>
                </a:cubicBezTo>
                <a:cubicBezTo>
                  <a:pt x="3360395" y="2548319"/>
                  <a:pt x="3363538" y="2546509"/>
                  <a:pt x="3369444" y="2545080"/>
                </a:cubicBezTo>
                <a:cubicBezTo>
                  <a:pt x="3372815" y="2543924"/>
                  <a:pt x="3376368" y="2543407"/>
                  <a:pt x="3379921" y="2543556"/>
                </a:cubicBezTo>
                <a:close/>
                <a:moveTo>
                  <a:pt x="2766742" y="2543270"/>
                </a:moveTo>
                <a:cubicBezTo>
                  <a:pt x="2773508" y="2544985"/>
                  <a:pt x="2763219" y="2549938"/>
                  <a:pt x="2744550" y="2554129"/>
                </a:cubicBezTo>
                <a:cubicBezTo>
                  <a:pt x="2728832" y="2558065"/>
                  <a:pt x="2712618" y="2559606"/>
                  <a:pt x="2696445" y="2558701"/>
                </a:cubicBezTo>
                <a:cubicBezTo>
                  <a:pt x="2689206" y="2557082"/>
                  <a:pt x="2699301" y="2552033"/>
                  <a:pt x="2718446" y="2547842"/>
                </a:cubicBezTo>
                <a:cubicBezTo>
                  <a:pt x="2734215" y="2543830"/>
                  <a:pt x="2750503" y="2542287"/>
                  <a:pt x="2766742" y="2543270"/>
                </a:cubicBezTo>
                <a:close/>
                <a:moveTo>
                  <a:pt x="1917197" y="2543175"/>
                </a:moveTo>
                <a:cubicBezTo>
                  <a:pt x="1926255" y="2542927"/>
                  <a:pt x="1935323" y="2543598"/>
                  <a:pt x="1944248" y="2545175"/>
                </a:cubicBezTo>
                <a:cubicBezTo>
                  <a:pt x="1955107" y="2548128"/>
                  <a:pt x="1945010" y="2552986"/>
                  <a:pt x="1922436" y="2555748"/>
                </a:cubicBezTo>
                <a:cubicBezTo>
                  <a:pt x="1910996" y="2557144"/>
                  <a:pt x="1899481" y="2557876"/>
                  <a:pt x="1887955" y="2557939"/>
                </a:cubicBezTo>
                <a:cubicBezTo>
                  <a:pt x="1879021" y="2558177"/>
                  <a:pt x="1870096" y="2557539"/>
                  <a:pt x="1861286" y="2556034"/>
                </a:cubicBezTo>
                <a:cubicBezTo>
                  <a:pt x="1855094" y="2554605"/>
                  <a:pt x="1854332" y="2552700"/>
                  <a:pt x="1857951" y="2550700"/>
                </a:cubicBezTo>
                <a:cubicBezTo>
                  <a:pt x="1860657" y="2549436"/>
                  <a:pt x="1863505" y="2548508"/>
                  <a:pt x="1866429" y="2547938"/>
                </a:cubicBezTo>
                <a:cubicBezTo>
                  <a:pt x="1871172" y="2546820"/>
                  <a:pt x="1875973" y="2545994"/>
                  <a:pt x="1880811" y="2545461"/>
                </a:cubicBezTo>
                <a:cubicBezTo>
                  <a:pt x="1892889" y="2543985"/>
                  <a:pt x="1905033" y="2543222"/>
                  <a:pt x="1917197" y="2543175"/>
                </a:cubicBezTo>
                <a:close/>
                <a:moveTo>
                  <a:pt x="2166182" y="2541556"/>
                </a:moveTo>
                <a:cubicBezTo>
                  <a:pt x="2177420" y="2544032"/>
                  <a:pt x="2169611" y="2548604"/>
                  <a:pt x="2147989" y="2552414"/>
                </a:cubicBezTo>
                <a:cubicBezTo>
                  <a:pt x="2142274" y="2553462"/>
                  <a:pt x="2136273" y="2554224"/>
                  <a:pt x="2130367" y="2554891"/>
                </a:cubicBezTo>
                <a:cubicBezTo>
                  <a:pt x="2124462" y="2555557"/>
                  <a:pt x="2118462" y="2555938"/>
                  <a:pt x="2112842" y="2556129"/>
                </a:cubicBezTo>
                <a:cubicBezTo>
                  <a:pt x="2103650" y="2556740"/>
                  <a:pt x="2094430" y="2556389"/>
                  <a:pt x="2085314" y="2555081"/>
                </a:cubicBezTo>
                <a:cubicBezTo>
                  <a:pt x="2072170" y="2552509"/>
                  <a:pt x="2080076" y="2547747"/>
                  <a:pt x="2103698" y="2543842"/>
                </a:cubicBezTo>
                <a:cubicBezTo>
                  <a:pt x="2124291" y="2539959"/>
                  <a:pt x="2145360" y="2539189"/>
                  <a:pt x="2166182" y="2541556"/>
                </a:cubicBezTo>
                <a:close/>
                <a:moveTo>
                  <a:pt x="1627348" y="2540603"/>
                </a:moveTo>
                <a:cubicBezTo>
                  <a:pt x="1649245" y="2538532"/>
                  <a:pt x="1671315" y="2539108"/>
                  <a:pt x="1693070" y="2542318"/>
                </a:cubicBezTo>
                <a:cubicBezTo>
                  <a:pt x="1704119" y="2545175"/>
                  <a:pt x="1695927" y="2549652"/>
                  <a:pt x="1675639" y="2551843"/>
                </a:cubicBezTo>
                <a:cubicBezTo>
                  <a:pt x="1664114" y="2552926"/>
                  <a:pt x="1652531" y="2553276"/>
                  <a:pt x="1640968" y="2552890"/>
                </a:cubicBezTo>
                <a:cubicBezTo>
                  <a:pt x="1631443" y="2552769"/>
                  <a:pt x="1621947" y="2551845"/>
                  <a:pt x="1612585" y="2550128"/>
                </a:cubicBezTo>
                <a:cubicBezTo>
                  <a:pt x="1599821" y="2547271"/>
                  <a:pt x="1606870" y="2542794"/>
                  <a:pt x="1627348" y="2540603"/>
                </a:cubicBezTo>
                <a:close/>
                <a:moveTo>
                  <a:pt x="2583098" y="2540222"/>
                </a:moveTo>
                <a:cubicBezTo>
                  <a:pt x="2591100" y="2542413"/>
                  <a:pt x="2579478" y="2547938"/>
                  <a:pt x="2557569" y="2552224"/>
                </a:cubicBezTo>
                <a:cubicBezTo>
                  <a:pt x="2540273" y="2556165"/>
                  <a:pt x="2522471" y="2557387"/>
                  <a:pt x="2504802" y="2555844"/>
                </a:cubicBezTo>
                <a:cubicBezTo>
                  <a:pt x="2496133" y="2553653"/>
                  <a:pt x="2507660" y="2548223"/>
                  <a:pt x="2530139" y="2543842"/>
                </a:cubicBezTo>
                <a:cubicBezTo>
                  <a:pt x="2547493" y="2539870"/>
                  <a:pt x="2565362" y="2538649"/>
                  <a:pt x="2583098" y="2540222"/>
                </a:cubicBezTo>
                <a:close/>
                <a:moveTo>
                  <a:pt x="3280310" y="2534030"/>
                </a:moveTo>
                <a:cubicBezTo>
                  <a:pt x="3281741" y="2535078"/>
                  <a:pt x="3274217" y="2538031"/>
                  <a:pt x="3264026" y="2540507"/>
                </a:cubicBezTo>
                <a:cubicBezTo>
                  <a:pt x="3257244" y="2542594"/>
                  <a:pt x="3250157" y="2543496"/>
                  <a:pt x="3243069" y="2543174"/>
                </a:cubicBezTo>
                <a:cubicBezTo>
                  <a:pt x="3241071" y="2542222"/>
                  <a:pt x="3248120" y="2539269"/>
                  <a:pt x="3258501" y="2536697"/>
                </a:cubicBezTo>
                <a:cubicBezTo>
                  <a:pt x="3265539" y="2534431"/>
                  <a:pt x="3272940" y="2533527"/>
                  <a:pt x="3280310" y="2534030"/>
                </a:cubicBezTo>
                <a:close/>
                <a:moveTo>
                  <a:pt x="3375636" y="2533935"/>
                </a:moveTo>
                <a:cubicBezTo>
                  <a:pt x="3377447" y="2534507"/>
                  <a:pt x="3373540" y="2536221"/>
                  <a:pt x="3366019" y="2538126"/>
                </a:cubicBezTo>
                <a:cubicBezTo>
                  <a:pt x="3361122" y="2539821"/>
                  <a:pt x="3355960" y="2540597"/>
                  <a:pt x="3350779" y="2540412"/>
                </a:cubicBezTo>
                <a:cubicBezTo>
                  <a:pt x="3349255" y="2539745"/>
                  <a:pt x="3353350" y="2538031"/>
                  <a:pt x="3361160" y="2536031"/>
                </a:cubicBezTo>
                <a:cubicBezTo>
                  <a:pt x="3365828" y="2534492"/>
                  <a:pt x="3370721" y="2533784"/>
                  <a:pt x="3375636" y="2533935"/>
                </a:cubicBezTo>
                <a:close/>
                <a:moveTo>
                  <a:pt x="2334208" y="2533935"/>
                </a:moveTo>
                <a:cubicBezTo>
                  <a:pt x="2342933" y="2533234"/>
                  <a:pt x="2351714" y="2533426"/>
                  <a:pt x="2360402" y="2534507"/>
                </a:cubicBezTo>
                <a:cubicBezTo>
                  <a:pt x="2371546" y="2536697"/>
                  <a:pt x="2361734" y="2542412"/>
                  <a:pt x="2339637" y="2546699"/>
                </a:cubicBezTo>
                <a:cubicBezTo>
                  <a:pt x="2319177" y="2550843"/>
                  <a:pt x="2298231" y="2552030"/>
                  <a:pt x="2277439" y="2550223"/>
                </a:cubicBezTo>
                <a:cubicBezTo>
                  <a:pt x="2266296" y="2547937"/>
                  <a:pt x="2276581" y="2542222"/>
                  <a:pt x="2299633" y="2538031"/>
                </a:cubicBezTo>
                <a:cubicBezTo>
                  <a:pt x="2311072" y="2536009"/>
                  <a:pt x="2322616" y="2534642"/>
                  <a:pt x="2334208" y="2533935"/>
                </a:cubicBezTo>
                <a:close/>
                <a:moveTo>
                  <a:pt x="3171454" y="2533840"/>
                </a:moveTo>
                <a:cubicBezTo>
                  <a:pt x="3173930" y="2535173"/>
                  <a:pt x="3166406" y="2538412"/>
                  <a:pt x="3153263" y="2541650"/>
                </a:cubicBezTo>
                <a:cubicBezTo>
                  <a:pt x="3143756" y="2544644"/>
                  <a:pt x="3133773" y="2545839"/>
                  <a:pt x="3123829" y="2545175"/>
                </a:cubicBezTo>
                <a:cubicBezTo>
                  <a:pt x="3120590" y="2543936"/>
                  <a:pt x="3128495" y="2540603"/>
                  <a:pt x="3142879" y="2537174"/>
                </a:cubicBezTo>
                <a:cubicBezTo>
                  <a:pt x="3152099" y="2534211"/>
                  <a:pt x="3161806" y="2533079"/>
                  <a:pt x="3171454" y="2533840"/>
                </a:cubicBezTo>
                <a:close/>
                <a:moveTo>
                  <a:pt x="3047253" y="2532887"/>
                </a:moveTo>
                <a:cubicBezTo>
                  <a:pt x="3051824" y="2534507"/>
                  <a:pt x="3043254" y="2538412"/>
                  <a:pt x="3026869" y="2542412"/>
                </a:cubicBezTo>
                <a:cubicBezTo>
                  <a:pt x="3014858" y="2545988"/>
                  <a:pt x="3002323" y="2547470"/>
                  <a:pt x="2989820" y="2546794"/>
                </a:cubicBezTo>
                <a:cubicBezTo>
                  <a:pt x="2984861" y="2545270"/>
                  <a:pt x="2993342" y="2541365"/>
                  <a:pt x="3010009" y="2537269"/>
                </a:cubicBezTo>
                <a:cubicBezTo>
                  <a:pt x="3022087" y="2533717"/>
                  <a:pt x="3034679" y="2532236"/>
                  <a:pt x="3047253" y="2532887"/>
                </a:cubicBezTo>
                <a:close/>
                <a:moveTo>
                  <a:pt x="2906761" y="2532221"/>
                </a:moveTo>
                <a:cubicBezTo>
                  <a:pt x="2911524" y="2533650"/>
                  <a:pt x="2900379" y="2538984"/>
                  <a:pt x="2882187" y="2543175"/>
                </a:cubicBezTo>
                <a:cubicBezTo>
                  <a:pt x="2867918" y="2546987"/>
                  <a:pt x="2853114" y="2548435"/>
                  <a:pt x="2838371" y="2547461"/>
                </a:cubicBezTo>
                <a:cubicBezTo>
                  <a:pt x="2832369" y="2545747"/>
                  <a:pt x="2844085" y="2540413"/>
                  <a:pt x="2863518" y="2536222"/>
                </a:cubicBezTo>
                <a:cubicBezTo>
                  <a:pt x="2877595" y="2532409"/>
                  <a:pt x="2892227" y="2531056"/>
                  <a:pt x="2906761" y="2532221"/>
                </a:cubicBezTo>
                <a:close/>
                <a:moveTo>
                  <a:pt x="2737789" y="2530983"/>
                </a:moveTo>
                <a:cubicBezTo>
                  <a:pt x="2744267" y="2532792"/>
                  <a:pt x="2733789" y="2537745"/>
                  <a:pt x="2712545" y="2542317"/>
                </a:cubicBezTo>
                <a:cubicBezTo>
                  <a:pt x="2702543" y="2544456"/>
                  <a:pt x="2692427" y="2546046"/>
                  <a:pt x="2682254" y="2547080"/>
                </a:cubicBezTo>
                <a:cubicBezTo>
                  <a:pt x="2675520" y="2548016"/>
                  <a:pt x="2668700" y="2548016"/>
                  <a:pt x="2661966" y="2547080"/>
                </a:cubicBezTo>
                <a:cubicBezTo>
                  <a:pt x="2653490" y="2544889"/>
                  <a:pt x="2664348" y="2539841"/>
                  <a:pt x="2687588" y="2534888"/>
                </a:cubicBezTo>
                <a:cubicBezTo>
                  <a:pt x="2703953" y="2530605"/>
                  <a:pt x="2720954" y="2529283"/>
                  <a:pt x="2737789" y="2530983"/>
                </a:cubicBezTo>
                <a:close/>
                <a:moveTo>
                  <a:pt x="1150419" y="2526315"/>
                </a:moveTo>
                <a:cubicBezTo>
                  <a:pt x="1154705" y="2526315"/>
                  <a:pt x="1159944" y="2526315"/>
                  <a:pt x="1164802" y="2526982"/>
                </a:cubicBezTo>
                <a:cubicBezTo>
                  <a:pt x="1169659" y="2527649"/>
                  <a:pt x="1175565" y="2527839"/>
                  <a:pt x="1180804" y="2528411"/>
                </a:cubicBezTo>
                <a:cubicBezTo>
                  <a:pt x="1186042" y="2528982"/>
                  <a:pt x="1191376" y="2529744"/>
                  <a:pt x="1195853" y="2530506"/>
                </a:cubicBezTo>
                <a:cubicBezTo>
                  <a:pt x="1199673" y="2531028"/>
                  <a:pt x="1203454" y="2531759"/>
                  <a:pt x="1207188" y="2532697"/>
                </a:cubicBezTo>
                <a:cubicBezTo>
                  <a:pt x="1218618" y="2535650"/>
                  <a:pt x="1213760" y="2538793"/>
                  <a:pt x="1197663" y="2538888"/>
                </a:cubicBezTo>
                <a:cubicBezTo>
                  <a:pt x="1189376" y="2538888"/>
                  <a:pt x="1178613" y="2538031"/>
                  <a:pt x="1167564" y="2536888"/>
                </a:cubicBezTo>
                <a:cubicBezTo>
                  <a:pt x="1162230" y="2536317"/>
                  <a:pt x="1157086" y="2535650"/>
                  <a:pt x="1152514" y="2534888"/>
                </a:cubicBezTo>
                <a:cubicBezTo>
                  <a:pt x="1147942" y="2534126"/>
                  <a:pt x="1143942" y="2533650"/>
                  <a:pt x="1140894" y="2532411"/>
                </a:cubicBezTo>
                <a:cubicBezTo>
                  <a:pt x="1128892" y="2529173"/>
                  <a:pt x="1133655" y="2526125"/>
                  <a:pt x="1150419" y="2526315"/>
                </a:cubicBezTo>
                <a:close/>
                <a:moveTo>
                  <a:pt x="2543189" y="2525840"/>
                </a:moveTo>
                <a:cubicBezTo>
                  <a:pt x="2552524" y="2528316"/>
                  <a:pt x="2542618" y="2533650"/>
                  <a:pt x="2519186" y="2538222"/>
                </a:cubicBezTo>
                <a:cubicBezTo>
                  <a:pt x="2500232" y="2542744"/>
                  <a:pt x="2480678" y="2544159"/>
                  <a:pt x="2461275" y="2542413"/>
                </a:cubicBezTo>
                <a:cubicBezTo>
                  <a:pt x="2450225" y="2539937"/>
                  <a:pt x="2460322" y="2534603"/>
                  <a:pt x="2485562" y="2529650"/>
                </a:cubicBezTo>
                <a:cubicBezTo>
                  <a:pt x="2504422" y="2525188"/>
                  <a:pt x="2523901" y="2523900"/>
                  <a:pt x="2543189" y="2525840"/>
                </a:cubicBezTo>
                <a:close/>
                <a:moveTo>
                  <a:pt x="1864240" y="2524220"/>
                </a:moveTo>
                <a:cubicBezTo>
                  <a:pt x="1871384" y="2525554"/>
                  <a:pt x="1873193" y="2527554"/>
                  <a:pt x="1870430" y="2529649"/>
                </a:cubicBezTo>
                <a:cubicBezTo>
                  <a:pt x="1868115" y="2531017"/>
                  <a:pt x="1865610" y="2532044"/>
                  <a:pt x="1863000" y="2532697"/>
                </a:cubicBezTo>
                <a:cubicBezTo>
                  <a:pt x="1858352" y="2533835"/>
                  <a:pt x="1853647" y="2534694"/>
                  <a:pt x="1848904" y="2535269"/>
                </a:cubicBezTo>
                <a:cubicBezTo>
                  <a:pt x="1843380" y="2536031"/>
                  <a:pt x="1837284" y="2536603"/>
                  <a:pt x="1830901" y="2537079"/>
                </a:cubicBezTo>
                <a:cubicBezTo>
                  <a:pt x="1824520" y="2537555"/>
                  <a:pt x="1818043" y="2537650"/>
                  <a:pt x="1811852" y="2537650"/>
                </a:cubicBezTo>
                <a:cubicBezTo>
                  <a:pt x="1801365" y="2537836"/>
                  <a:pt x="1790878" y="2537103"/>
                  <a:pt x="1780515" y="2535460"/>
                </a:cubicBezTo>
                <a:cubicBezTo>
                  <a:pt x="1766704" y="2532507"/>
                  <a:pt x="1773085" y="2527744"/>
                  <a:pt x="1794517" y="2524696"/>
                </a:cubicBezTo>
                <a:cubicBezTo>
                  <a:pt x="1817643" y="2521593"/>
                  <a:pt x="1841075" y="2521433"/>
                  <a:pt x="1864240" y="2524220"/>
                </a:cubicBezTo>
                <a:close/>
                <a:moveTo>
                  <a:pt x="1352831" y="2524124"/>
                </a:moveTo>
                <a:cubicBezTo>
                  <a:pt x="1374407" y="2523390"/>
                  <a:pt x="1396000" y="2525019"/>
                  <a:pt x="1417222" y="2528982"/>
                </a:cubicBezTo>
                <a:cubicBezTo>
                  <a:pt x="1428555" y="2532030"/>
                  <a:pt x="1421889" y="2535745"/>
                  <a:pt x="1403123" y="2536697"/>
                </a:cubicBezTo>
                <a:cubicBezTo>
                  <a:pt x="1381579" y="2537674"/>
                  <a:pt x="1359986" y="2536043"/>
                  <a:pt x="1338831" y="2531840"/>
                </a:cubicBezTo>
                <a:cubicBezTo>
                  <a:pt x="1326829" y="2528887"/>
                  <a:pt x="1333401" y="2525267"/>
                  <a:pt x="1352831" y="2524124"/>
                </a:cubicBezTo>
                <a:close/>
                <a:moveTo>
                  <a:pt x="3462215" y="2523744"/>
                </a:moveTo>
                <a:cubicBezTo>
                  <a:pt x="3459310" y="2525569"/>
                  <a:pt x="3456071" y="2526799"/>
                  <a:pt x="3452690" y="2527363"/>
                </a:cubicBezTo>
                <a:cubicBezTo>
                  <a:pt x="3449147" y="2528467"/>
                  <a:pt x="3445451" y="2528982"/>
                  <a:pt x="3441739" y="2528887"/>
                </a:cubicBezTo>
                <a:cubicBezTo>
                  <a:pt x="3441072" y="2528316"/>
                  <a:pt x="3446213" y="2526315"/>
                  <a:pt x="3451833" y="2524982"/>
                </a:cubicBezTo>
                <a:cubicBezTo>
                  <a:pt x="3455176" y="2523873"/>
                  <a:pt x="3458710" y="2523452"/>
                  <a:pt x="3462215" y="2523744"/>
                </a:cubicBezTo>
                <a:close/>
                <a:moveTo>
                  <a:pt x="3374023" y="2523362"/>
                </a:moveTo>
                <a:cubicBezTo>
                  <a:pt x="3375356" y="2524220"/>
                  <a:pt x="3370593" y="2526220"/>
                  <a:pt x="3361736" y="2528506"/>
                </a:cubicBezTo>
                <a:cubicBezTo>
                  <a:pt x="3355652" y="2530621"/>
                  <a:pt x="3349222" y="2531559"/>
                  <a:pt x="3342784" y="2531268"/>
                </a:cubicBezTo>
                <a:cubicBezTo>
                  <a:pt x="3340881" y="2530506"/>
                  <a:pt x="3346023" y="2528315"/>
                  <a:pt x="3355642" y="2525839"/>
                </a:cubicBezTo>
                <a:cubicBezTo>
                  <a:pt x="3361528" y="2523725"/>
                  <a:pt x="3367795" y="2522881"/>
                  <a:pt x="3374023" y="2523362"/>
                </a:cubicBezTo>
                <a:close/>
                <a:moveTo>
                  <a:pt x="3275842" y="2522696"/>
                </a:moveTo>
                <a:cubicBezTo>
                  <a:pt x="3277080" y="2524029"/>
                  <a:pt x="3268319" y="2527553"/>
                  <a:pt x="3256794" y="2530316"/>
                </a:cubicBezTo>
                <a:cubicBezTo>
                  <a:pt x="3248461" y="2532941"/>
                  <a:pt x="3239696" y="2533974"/>
                  <a:pt x="3230981" y="2533364"/>
                </a:cubicBezTo>
                <a:cubicBezTo>
                  <a:pt x="3230029" y="2532030"/>
                  <a:pt x="3238792" y="2528506"/>
                  <a:pt x="3250030" y="2525744"/>
                </a:cubicBezTo>
                <a:cubicBezTo>
                  <a:pt x="3258375" y="2523134"/>
                  <a:pt x="3267129" y="2522100"/>
                  <a:pt x="3275842" y="2522696"/>
                </a:cubicBezTo>
                <a:close/>
                <a:moveTo>
                  <a:pt x="3159361" y="2522124"/>
                </a:moveTo>
                <a:cubicBezTo>
                  <a:pt x="3163171" y="2523553"/>
                  <a:pt x="3153455" y="2527839"/>
                  <a:pt x="3138028" y="2531649"/>
                </a:cubicBezTo>
                <a:cubicBezTo>
                  <a:pt x="3127358" y="2534922"/>
                  <a:pt x="3116215" y="2536308"/>
                  <a:pt x="3105067" y="2535745"/>
                </a:cubicBezTo>
                <a:cubicBezTo>
                  <a:pt x="3101639" y="2534316"/>
                  <a:pt x="3110783" y="2530220"/>
                  <a:pt x="3125739" y="2526220"/>
                </a:cubicBezTo>
                <a:cubicBezTo>
                  <a:pt x="3136635" y="2522971"/>
                  <a:pt x="3148009" y="2521586"/>
                  <a:pt x="3159361" y="2522124"/>
                </a:cubicBezTo>
                <a:close/>
                <a:moveTo>
                  <a:pt x="2074458" y="2521743"/>
                </a:moveTo>
                <a:cubicBezTo>
                  <a:pt x="2084020" y="2521296"/>
                  <a:pt x="2093612" y="2521935"/>
                  <a:pt x="2103032" y="2523648"/>
                </a:cubicBezTo>
                <a:cubicBezTo>
                  <a:pt x="2115510" y="2526506"/>
                  <a:pt x="2106651" y="2531554"/>
                  <a:pt x="2081887" y="2535459"/>
                </a:cubicBezTo>
                <a:cubicBezTo>
                  <a:pt x="2069714" y="2537339"/>
                  <a:pt x="2057437" y="2538452"/>
                  <a:pt x="2045121" y="2538793"/>
                </a:cubicBezTo>
                <a:cubicBezTo>
                  <a:pt x="2035463" y="2539250"/>
                  <a:pt x="2025785" y="2538644"/>
                  <a:pt x="2016260" y="2536983"/>
                </a:cubicBezTo>
                <a:cubicBezTo>
                  <a:pt x="2002830" y="2533935"/>
                  <a:pt x="2011498" y="2528982"/>
                  <a:pt x="2037025" y="2525172"/>
                </a:cubicBezTo>
                <a:cubicBezTo>
                  <a:pt x="2049417" y="2523219"/>
                  <a:pt x="2061923" y="2522074"/>
                  <a:pt x="2074458" y="2521743"/>
                </a:cubicBezTo>
                <a:close/>
                <a:moveTo>
                  <a:pt x="3030968" y="2521172"/>
                </a:moveTo>
                <a:cubicBezTo>
                  <a:pt x="3035159" y="2522982"/>
                  <a:pt x="3023920" y="2527935"/>
                  <a:pt x="3006587" y="2532031"/>
                </a:cubicBezTo>
                <a:cubicBezTo>
                  <a:pt x="2993240" y="2535746"/>
                  <a:pt x="2979363" y="2537195"/>
                  <a:pt x="2965534" y="2536317"/>
                </a:cubicBezTo>
                <a:cubicBezTo>
                  <a:pt x="2960865" y="2534602"/>
                  <a:pt x="2972103" y="2529649"/>
                  <a:pt x="2989821" y="2525458"/>
                </a:cubicBezTo>
                <a:cubicBezTo>
                  <a:pt x="3003193" y="2521710"/>
                  <a:pt x="3017110" y="2520261"/>
                  <a:pt x="3030968" y="2521172"/>
                </a:cubicBezTo>
                <a:close/>
                <a:moveTo>
                  <a:pt x="2862946" y="2518696"/>
                </a:moveTo>
                <a:cubicBezTo>
                  <a:pt x="2869254" y="2517604"/>
                  <a:pt x="2875692" y="2517604"/>
                  <a:pt x="2881997" y="2518696"/>
                </a:cubicBezTo>
                <a:cubicBezTo>
                  <a:pt x="2888092" y="2520791"/>
                  <a:pt x="2878186" y="2525649"/>
                  <a:pt x="2857897" y="2530316"/>
                </a:cubicBezTo>
                <a:cubicBezTo>
                  <a:pt x="2841792" y="2534946"/>
                  <a:pt x="2824990" y="2536720"/>
                  <a:pt x="2808276" y="2535555"/>
                </a:cubicBezTo>
                <a:cubicBezTo>
                  <a:pt x="2800843" y="2533459"/>
                  <a:pt x="2811131" y="2528602"/>
                  <a:pt x="2832846" y="2523649"/>
                </a:cubicBezTo>
                <a:cubicBezTo>
                  <a:pt x="2842763" y="2521338"/>
                  <a:pt x="2852813" y="2519683"/>
                  <a:pt x="2862946" y="2518696"/>
                </a:cubicBezTo>
                <a:close/>
                <a:moveTo>
                  <a:pt x="943623" y="2517362"/>
                </a:moveTo>
                <a:cubicBezTo>
                  <a:pt x="947242" y="2517362"/>
                  <a:pt x="951719" y="2518029"/>
                  <a:pt x="956481" y="2518601"/>
                </a:cubicBezTo>
                <a:cubicBezTo>
                  <a:pt x="961244" y="2519172"/>
                  <a:pt x="966006" y="2519839"/>
                  <a:pt x="971150" y="2520601"/>
                </a:cubicBezTo>
                <a:cubicBezTo>
                  <a:pt x="979713" y="2521890"/>
                  <a:pt x="988209" y="2523638"/>
                  <a:pt x="996582" y="2525840"/>
                </a:cubicBezTo>
                <a:cubicBezTo>
                  <a:pt x="1001916" y="2527364"/>
                  <a:pt x="1003820" y="2528697"/>
                  <a:pt x="1002677" y="2529554"/>
                </a:cubicBezTo>
                <a:cubicBezTo>
                  <a:pt x="1001478" y="2530199"/>
                  <a:pt x="1000134" y="2530527"/>
                  <a:pt x="998772" y="2530507"/>
                </a:cubicBezTo>
                <a:cubicBezTo>
                  <a:pt x="996010" y="2530701"/>
                  <a:pt x="993248" y="2530701"/>
                  <a:pt x="990485" y="2530507"/>
                </a:cubicBezTo>
                <a:cubicBezTo>
                  <a:pt x="973741" y="2529273"/>
                  <a:pt x="957139" y="2526595"/>
                  <a:pt x="940861" y="2522506"/>
                </a:cubicBezTo>
                <a:cubicBezTo>
                  <a:pt x="928954" y="2519077"/>
                  <a:pt x="930288" y="2516600"/>
                  <a:pt x="943623" y="2517362"/>
                </a:cubicBezTo>
                <a:close/>
                <a:moveTo>
                  <a:pt x="2285728" y="2516124"/>
                </a:moveTo>
                <a:cubicBezTo>
                  <a:pt x="2294948" y="2515394"/>
                  <a:pt x="2304225" y="2515778"/>
                  <a:pt x="2313350" y="2517267"/>
                </a:cubicBezTo>
                <a:cubicBezTo>
                  <a:pt x="2324493" y="2519839"/>
                  <a:pt x="2314398" y="2525744"/>
                  <a:pt x="2291062" y="2530030"/>
                </a:cubicBezTo>
                <a:cubicBezTo>
                  <a:pt x="2269135" y="2534541"/>
                  <a:pt x="2246637" y="2535569"/>
                  <a:pt x="2224386" y="2533078"/>
                </a:cubicBezTo>
                <a:cubicBezTo>
                  <a:pt x="2213147" y="2530316"/>
                  <a:pt x="2223910" y="2524125"/>
                  <a:pt x="2248199" y="2520220"/>
                </a:cubicBezTo>
                <a:cubicBezTo>
                  <a:pt x="2260620" y="2518117"/>
                  <a:pt x="2273144" y="2516750"/>
                  <a:pt x="2285728" y="2516124"/>
                </a:cubicBezTo>
                <a:close/>
                <a:moveTo>
                  <a:pt x="2688901" y="2514957"/>
                </a:moveTo>
                <a:cubicBezTo>
                  <a:pt x="2699449" y="2514172"/>
                  <a:pt x="2707973" y="2514315"/>
                  <a:pt x="2711403" y="2515648"/>
                </a:cubicBezTo>
                <a:cubicBezTo>
                  <a:pt x="2718261" y="2518315"/>
                  <a:pt x="2704736" y="2524220"/>
                  <a:pt x="2683494" y="2528697"/>
                </a:cubicBezTo>
                <a:cubicBezTo>
                  <a:pt x="2662253" y="2533174"/>
                  <a:pt x="2633870" y="2535460"/>
                  <a:pt x="2626916" y="2532984"/>
                </a:cubicBezTo>
                <a:cubicBezTo>
                  <a:pt x="2619962" y="2530507"/>
                  <a:pt x="2632441" y="2524125"/>
                  <a:pt x="2654254" y="2519839"/>
                </a:cubicBezTo>
                <a:cubicBezTo>
                  <a:pt x="2665778" y="2517458"/>
                  <a:pt x="2678351" y="2515743"/>
                  <a:pt x="2688901" y="2514957"/>
                </a:cubicBezTo>
                <a:close/>
                <a:moveTo>
                  <a:pt x="1551339" y="2513362"/>
                </a:moveTo>
                <a:lnTo>
                  <a:pt x="1561436" y="2513362"/>
                </a:lnTo>
                <a:lnTo>
                  <a:pt x="1571532" y="2513362"/>
                </a:lnTo>
                <a:cubicBezTo>
                  <a:pt x="1582276" y="2513569"/>
                  <a:pt x="1592992" y="2514716"/>
                  <a:pt x="1603536" y="2516791"/>
                </a:cubicBezTo>
                <a:cubicBezTo>
                  <a:pt x="1616299" y="2520029"/>
                  <a:pt x="1608679" y="2524792"/>
                  <a:pt x="1587534" y="2526316"/>
                </a:cubicBezTo>
                <a:cubicBezTo>
                  <a:pt x="1564893" y="2528319"/>
                  <a:pt x="1542090" y="2527583"/>
                  <a:pt x="1519621" y="2524125"/>
                </a:cubicBezTo>
                <a:cubicBezTo>
                  <a:pt x="1512381" y="2522411"/>
                  <a:pt x="1510096" y="2520410"/>
                  <a:pt x="1512668" y="2518601"/>
                </a:cubicBezTo>
                <a:cubicBezTo>
                  <a:pt x="1519001" y="2515784"/>
                  <a:pt x="1525840" y="2514293"/>
                  <a:pt x="1532765" y="2514219"/>
                </a:cubicBezTo>
                <a:cubicBezTo>
                  <a:pt x="1538289" y="2514219"/>
                  <a:pt x="1544672" y="2513457"/>
                  <a:pt x="1551339" y="2513362"/>
                </a:cubicBezTo>
                <a:close/>
                <a:moveTo>
                  <a:pt x="3368891" y="2512790"/>
                </a:moveTo>
                <a:cubicBezTo>
                  <a:pt x="3370603" y="2513838"/>
                  <a:pt x="3364319" y="2516600"/>
                  <a:pt x="3353938" y="2519267"/>
                </a:cubicBezTo>
                <a:cubicBezTo>
                  <a:pt x="3346614" y="2521746"/>
                  <a:pt x="3338893" y="2522813"/>
                  <a:pt x="3331178" y="2522410"/>
                </a:cubicBezTo>
                <a:cubicBezTo>
                  <a:pt x="3329368" y="2521363"/>
                  <a:pt x="3335656" y="2518696"/>
                  <a:pt x="3346128" y="2515933"/>
                </a:cubicBezTo>
                <a:cubicBezTo>
                  <a:pt x="3353453" y="2513467"/>
                  <a:pt x="3361177" y="2512401"/>
                  <a:pt x="3368891" y="2512790"/>
                </a:cubicBezTo>
                <a:close/>
                <a:moveTo>
                  <a:pt x="3462596" y="2512504"/>
                </a:moveTo>
                <a:cubicBezTo>
                  <a:pt x="3463643" y="2513171"/>
                  <a:pt x="3457643" y="2515647"/>
                  <a:pt x="3450594" y="2517457"/>
                </a:cubicBezTo>
                <a:cubicBezTo>
                  <a:pt x="3445622" y="2519079"/>
                  <a:pt x="3440396" y="2519790"/>
                  <a:pt x="3435167" y="2519552"/>
                </a:cubicBezTo>
                <a:cubicBezTo>
                  <a:pt x="3434595" y="2518790"/>
                  <a:pt x="3441167" y="2516123"/>
                  <a:pt x="3448022" y="2514504"/>
                </a:cubicBezTo>
                <a:cubicBezTo>
                  <a:pt x="3452747" y="2513077"/>
                  <a:pt x="3457662" y="2512403"/>
                  <a:pt x="3462596" y="2512504"/>
                </a:cubicBezTo>
                <a:close/>
                <a:moveTo>
                  <a:pt x="3267088" y="2511742"/>
                </a:moveTo>
                <a:cubicBezTo>
                  <a:pt x="3269374" y="2513171"/>
                  <a:pt x="3259754" y="2517267"/>
                  <a:pt x="3246610" y="2520505"/>
                </a:cubicBezTo>
                <a:cubicBezTo>
                  <a:pt x="3236959" y="2523457"/>
                  <a:pt x="3226872" y="2524682"/>
                  <a:pt x="3216793" y="2524125"/>
                </a:cubicBezTo>
                <a:cubicBezTo>
                  <a:pt x="3214223" y="2522791"/>
                  <a:pt x="3223844" y="2518695"/>
                  <a:pt x="3237178" y="2515457"/>
                </a:cubicBezTo>
                <a:cubicBezTo>
                  <a:pt x="3246848" y="2512462"/>
                  <a:pt x="3256979" y="2511204"/>
                  <a:pt x="3267088" y="2511742"/>
                </a:cubicBezTo>
                <a:close/>
                <a:moveTo>
                  <a:pt x="3150600" y="2510028"/>
                </a:moveTo>
                <a:cubicBezTo>
                  <a:pt x="3153458" y="2511838"/>
                  <a:pt x="3141934" y="2516791"/>
                  <a:pt x="3126407" y="2520505"/>
                </a:cubicBezTo>
                <a:cubicBezTo>
                  <a:pt x="3114281" y="2523952"/>
                  <a:pt x="3101661" y="2525369"/>
                  <a:pt x="3089068" y="2524696"/>
                </a:cubicBezTo>
                <a:cubicBezTo>
                  <a:pt x="3085068" y="2523077"/>
                  <a:pt x="3097356" y="2517838"/>
                  <a:pt x="3113836" y="2513933"/>
                </a:cubicBezTo>
                <a:cubicBezTo>
                  <a:pt x="3125771" y="2510492"/>
                  <a:pt x="3138209" y="2509170"/>
                  <a:pt x="3150600" y="2510028"/>
                </a:cubicBezTo>
                <a:close/>
                <a:moveTo>
                  <a:pt x="2505758" y="2508885"/>
                </a:moveTo>
                <a:cubicBezTo>
                  <a:pt x="2516902" y="2511266"/>
                  <a:pt x="2504804" y="2517934"/>
                  <a:pt x="2480706" y="2522792"/>
                </a:cubicBezTo>
                <a:cubicBezTo>
                  <a:pt x="2468656" y="2525090"/>
                  <a:pt x="2456465" y="2526648"/>
                  <a:pt x="2444225" y="2527459"/>
                </a:cubicBezTo>
                <a:cubicBezTo>
                  <a:pt x="2435243" y="2528348"/>
                  <a:pt x="2426195" y="2528124"/>
                  <a:pt x="2417271" y="2526792"/>
                </a:cubicBezTo>
                <a:cubicBezTo>
                  <a:pt x="2406411" y="2524316"/>
                  <a:pt x="2417271" y="2518029"/>
                  <a:pt x="2441273" y="2513267"/>
                </a:cubicBezTo>
                <a:cubicBezTo>
                  <a:pt x="2462428" y="2508606"/>
                  <a:pt x="2484164" y="2507130"/>
                  <a:pt x="2505758" y="2508885"/>
                </a:cubicBezTo>
                <a:close/>
                <a:moveTo>
                  <a:pt x="3015730" y="2507837"/>
                </a:moveTo>
                <a:cubicBezTo>
                  <a:pt x="3021065" y="2509932"/>
                  <a:pt x="3010110" y="2514980"/>
                  <a:pt x="2989537" y="2519648"/>
                </a:cubicBezTo>
                <a:cubicBezTo>
                  <a:pt x="2975287" y="2523778"/>
                  <a:pt x="2960428" y="2525358"/>
                  <a:pt x="2945627" y="2524315"/>
                </a:cubicBezTo>
                <a:cubicBezTo>
                  <a:pt x="2939245" y="2522315"/>
                  <a:pt x="2949627" y="2517457"/>
                  <a:pt x="2970485" y="2512504"/>
                </a:cubicBezTo>
                <a:cubicBezTo>
                  <a:pt x="2985135" y="2508110"/>
                  <a:pt x="3000490" y="2506527"/>
                  <a:pt x="3015730" y="2507837"/>
                </a:cubicBezTo>
                <a:close/>
                <a:moveTo>
                  <a:pt x="2834682" y="2505038"/>
                </a:moveTo>
                <a:cubicBezTo>
                  <a:pt x="2844895" y="2504050"/>
                  <a:pt x="2853279" y="2503979"/>
                  <a:pt x="2856850" y="2505170"/>
                </a:cubicBezTo>
                <a:cubicBezTo>
                  <a:pt x="2863995" y="2507551"/>
                  <a:pt x="2851421" y="2513361"/>
                  <a:pt x="2829991" y="2518219"/>
                </a:cubicBezTo>
                <a:cubicBezTo>
                  <a:pt x="2812484" y="2522840"/>
                  <a:pt x="2794339" y="2524578"/>
                  <a:pt x="2776271" y="2523362"/>
                </a:cubicBezTo>
                <a:cubicBezTo>
                  <a:pt x="2768271" y="2521362"/>
                  <a:pt x="2779700" y="2515361"/>
                  <a:pt x="2801511" y="2510408"/>
                </a:cubicBezTo>
                <a:cubicBezTo>
                  <a:pt x="2812414" y="2507932"/>
                  <a:pt x="2824465" y="2506027"/>
                  <a:pt x="2834682" y="2505038"/>
                </a:cubicBezTo>
                <a:close/>
                <a:moveTo>
                  <a:pt x="3542889" y="2503646"/>
                </a:moveTo>
                <a:cubicBezTo>
                  <a:pt x="3539586" y="2505647"/>
                  <a:pt x="3535934" y="2507004"/>
                  <a:pt x="3532126" y="2507646"/>
                </a:cubicBezTo>
                <a:cubicBezTo>
                  <a:pt x="3528743" y="2508719"/>
                  <a:pt x="3525193" y="2509170"/>
                  <a:pt x="3521648" y="2508980"/>
                </a:cubicBezTo>
                <a:cubicBezTo>
                  <a:pt x="3520982" y="2508313"/>
                  <a:pt x="3526220" y="2506313"/>
                  <a:pt x="3531650" y="2505074"/>
                </a:cubicBezTo>
                <a:cubicBezTo>
                  <a:pt x="3535263" y="2503852"/>
                  <a:pt x="3539085" y="2503366"/>
                  <a:pt x="3542889" y="2503646"/>
                </a:cubicBezTo>
                <a:close/>
                <a:moveTo>
                  <a:pt x="3460119" y="2502122"/>
                </a:moveTo>
                <a:cubicBezTo>
                  <a:pt x="3461357" y="2502884"/>
                  <a:pt x="3454975" y="2505646"/>
                  <a:pt x="3446688" y="2507837"/>
                </a:cubicBezTo>
                <a:cubicBezTo>
                  <a:pt x="3440300" y="2509901"/>
                  <a:pt x="3433595" y="2510867"/>
                  <a:pt x="3426879" y="2510694"/>
                </a:cubicBezTo>
                <a:cubicBezTo>
                  <a:pt x="3425546" y="2509933"/>
                  <a:pt x="3432023" y="2507170"/>
                  <a:pt x="3440309" y="2504979"/>
                </a:cubicBezTo>
                <a:cubicBezTo>
                  <a:pt x="3446679" y="2502824"/>
                  <a:pt x="3453394" y="2501856"/>
                  <a:pt x="3460119" y="2502122"/>
                </a:cubicBezTo>
                <a:close/>
                <a:moveTo>
                  <a:pt x="2035502" y="2502122"/>
                </a:moveTo>
                <a:cubicBezTo>
                  <a:pt x="2049026" y="2505075"/>
                  <a:pt x="2040836" y="2510409"/>
                  <a:pt x="2015499" y="2514600"/>
                </a:cubicBezTo>
                <a:cubicBezTo>
                  <a:pt x="2009117" y="2515553"/>
                  <a:pt x="2002544" y="2516315"/>
                  <a:pt x="1995973" y="2516886"/>
                </a:cubicBezTo>
                <a:cubicBezTo>
                  <a:pt x="1989400" y="2517458"/>
                  <a:pt x="1982924" y="2517839"/>
                  <a:pt x="1976923" y="2517934"/>
                </a:cubicBezTo>
                <a:cubicBezTo>
                  <a:pt x="1966493" y="2518315"/>
                  <a:pt x="1956054" y="2517613"/>
                  <a:pt x="1945776" y="2515838"/>
                </a:cubicBezTo>
                <a:cubicBezTo>
                  <a:pt x="1937680" y="2514124"/>
                  <a:pt x="1935680" y="2511933"/>
                  <a:pt x="1939204" y="2509647"/>
                </a:cubicBezTo>
                <a:cubicBezTo>
                  <a:pt x="1942185" y="2508027"/>
                  <a:pt x="1945395" y="2506871"/>
                  <a:pt x="1948729" y="2506218"/>
                </a:cubicBezTo>
                <a:cubicBezTo>
                  <a:pt x="1953110" y="2505170"/>
                  <a:pt x="1958825" y="2504027"/>
                  <a:pt x="1965683" y="2502980"/>
                </a:cubicBezTo>
                <a:cubicBezTo>
                  <a:pt x="1988782" y="2499186"/>
                  <a:pt x="2012317" y="2498896"/>
                  <a:pt x="2035502" y="2502122"/>
                </a:cubicBezTo>
                <a:close/>
                <a:moveTo>
                  <a:pt x="3366421" y="2500694"/>
                </a:moveTo>
                <a:cubicBezTo>
                  <a:pt x="3368232" y="2502027"/>
                  <a:pt x="3360230" y="2505075"/>
                  <a:pt x="3348041" y="2508409"/>
                </a:cubicBezTo>
                <a:cubicBezTo>
                  <a:pt x="3339508" y="2511335"/>
                  <a:pt x="3330469" y="2512533"/>
                  <a:pt x="3321469" y="2511933"/>
                </a:cubicBezTo>
                <a:cubicBezTo>
                  <a:pt x="3319565" y="2510600"/>
                  <a:pt x="3327374" y="2507266"/>
                  <a:pt x="3339852" y="2504123"/>
                </a:cubicBezTo>
                <a:cubicBezTo>
                  <a:pt x="3348374" y="2501167"/>
                  <a:pt x="3357422" y="2499999"/>
                  <a:pt x="3366421" y="2500694"/>
                </a:cubicBezTo>
                <a:close/>
                <a:moveTo>
                  <a:pt x="3260994" y="2499455"/>
                </a:moveTo>
                <a:cubicBezTo>
                  <a:pt x="3263567" y="2501456"/>
                  <a:pt x="3253374" y="2505361"/>
                  <a:pt x="3237372" y="2508980"/>
                </a:cubicBezTo>
                <a:cubicBezTo>
                  <a:pt x="3226953" y="2512470"/>
                  <a:pt x="3215932" y="2513768"/>
                  <a:pt x="3204988" y="2512790"/>
                </a:cubicBezTo>
                <a:cubicBezTo>
                  <a:pt x="3201939" y="2511171"/>
                  <a:pt x="3211463" y="2507075"/>
                  <a:pt x="3227562" y="2503265"/>
                </a:cubicBezTo>
                <a:cubicBezTo>
                  <a:pt x="3243660" y="2499455"/>
                  <a:pt x="3258423" y="2497455"/>
                  <a:pt x="3260994" y="2499455"/>
                </a:cubicBezTo>
                <a:close/>
                <a:moveTo>
                  <a:pt x="2649778" y="2499265"/>
                </a:moveTo>
                <a:cubicBezTo>
                  <a:pt x="2657997" y="2498317"/>
                  <a:pt x="2666303" y="2498573"/>
                  <a:pt x="2674447" y="2500027"/>
                </a:cubicBezTo>
                <a:cubicBezTo>
                  <a:pt x="2682828" y="2502694"/>
                  <a:pt x="2671018" y="2508790"/>
                  <a:pt x="2647777" y="2513838"/>
                </a:cubicBezTo>
                <a:cubicBezTo>
                  <a:pt x="2641680" y="2515076"/>
                  <a:pt x="2635489" y="2516219"/>
                  <a:pt x="2629298" y="2517172"/>
                </a:cubicBezTo>
                <a:cubicBezTo>
                  <a:pt x="2623109" y="2518124"/>
                  <a:pt x="2617108" y="2518696"/>
                  <a:pt x="2611486" y="2519172"/>
                </a:cubicBezTo>
                <a:cubicBezTo>
                  <a:pt x="2602991" y="2520160"/>
                  <a:pt x="2594409" y="2520000"/>
                  <a:pt x="2585960" y="2518696"/>
                </a:cubicBezTo>
                <a:cubicBezTo>
                  <a:pt x="2575863" y="2516124"/>
                  <a:pt x="2587960" y="2509742"/>
                  <a:pt x="2613012" y="2504504"/>
                </a:cubicBezTo>
                <a:cubicBezTo>
                  <a:pt x="2625145" y="2502012"/>
                  <a:pt x="2637423" y="2500262"/>
                  <a:pt x="2649778" y="2499265"/>
                </a:cubicBezTo>
                <a:close/>
                <a:moveTo>
                  <a:pt x="2256295" y="2499169"/>
                </a:moveTo>
                <a:cubicBezTo>
                  <a:pt x="2268772" y="2502217"/>
                  <a:pt x="2257532" y="2508694"/>
                  <a:pt x="2231529" y="2512981"/>
                </a:cubicBezTo>
                <a:cubicBezTo>
                  <a:pt x="2218918" y="2515062"/>
                  <a:pt x="2206193" y="2516367"/>
                  <a:pt x="2193427" y="2516886"/>
                </a:cubicBezTo>
                <a:cubicBezTo>
                  <a:pt x="2183463" y="2517486"/>
                  <a:pt x="2173462" y="2516974"/>
                  <a:pt x="2163613" y="2515362"/>
                </a:cubicBezTo>
                <a:cubicBezTo>
                  <a:pt x="2156851" y="2513743"/>
                  <a:pt x="2156279" y="2511457"/>
                  <a:pt x="2160661" y="2508885"/>
                </a:cubicBezTo>
                <a:cubicBezTo>
                  <a:pt x="2169347" y="2505129"/>
                  <a:pt x="2178510" y="2502627"/>
                  <a:pt x="2187902" y="2501455"/>
                </a:cubicBezTo>
                <a:cubicBezTo>
                  <a:pt x="2210451" y="2497228"/>
                  <a:pt x="2233510" y="2496458"/>
                  <a:pt x="2256295" y="2499169"/>
                </a:cubicBezTo>
                <a:close/>
                <a:moveTo>
                  <a:pt x="1732603" y="2498026"/>
                </a:moveTo>
                <a:cubicBezTo>
                  <a:pt x="1739270" y="2497645"/>
                  <a:pt x="1746033" y="2497550"/>
                  <a:pt x="1752320" y="2498026"/>
                </a:cubicBezTo>
                <a:cubicBezTo>
                  <a:pt x="1758606" y="2498503"/>
                  <a:pt x="1764702" y="2498026"/>
                  <a:pt x="1770131" y="2498884"/>
                </a:cubicBezTo>
                <a:cubicBezTo>
                  <a:pt x="1774903" y="2499310"/>
                  <a:pt x="1779647" y="2500042"/>
                  <a:pt x="1784324" y="2501074"/>
                </a:cubicBezTo>
                <a:cubicBezTo>
                  <a:pt x="1799278" y="2504122"/>
                  <a:pt x="1792896" y="2508694"/>
                  <a:pt x="1768893" y="2511742"/>
                </a:cubicBezTo>
                <a:cubicBezTo>
                  <a:pt x="1755939" y="2513368"/>
                  <a:pt x="1742890" y="2514101"/>
                  <a:pt x="1729841" y="2513933"/>
                </a:cubicBezTo>
                <a:cubicBezTo>
                  <a:pt x="1719001" y="2513964"/>
                  <a:pt x="1708181" y="2512911"/>
                  <a:pt x="1697551" y="2510790"/>
                </a:cubicBezTo>
                <a:cubicBezTo>
                  <a:pt x="1681644" y="2507170"/>
                  <a:pt x="1688027" y="2502598"/>
                  <a:pt x="1712600" y="2499646"/>
                </a:cubicBezTo>
                <a:cubicBezTo>
                  <a:pt x="1719079" y="2498884"/>
                  <a:pt x="1725936" y="2498407"/>
                  <a:pt x="1732603" y="2498026"/>
                </a:cubicBezTo>
                <a:close/>
                <a:moveTo>
                  <a:pt x="3135935" y="2497645"/>
                </a:moveTo>
                <a:cubicBezTo>
                  <a:pt x="3140507" y="2499550"/>
                  <a:pt x="3130316" y="2504218"/>
                  <a:pt x="3111457" y="2508885"/>
                </a:cubicBezTo>
                <a:cubicBezTo>
                  <a:pt x="3097979" y="2512968"/>
                  <a:pt x="3083881" y="2514613"/>
                  <a:pt x="3069833" y="2513743"/>
                </a:cubicBezTo>
                <a:cubicBezTo>
                  <a:pt x="3064211" y="2511838"/>
                  <a:pt x="3074687" y="2506980"/>
                  <a:pt x="3094785" y="2502217"/>
                </a:cubicBezTo>
                <a:cubicBezTo>
                  <a:pt x="3108074" y="2498016"/>
                  <a:pt x="3122049" y="2496462"/>
                  <a:pt x="3135935" y="2497645"/>
                </a:cubicBezTo>
                <a:close/>
                <a:moveTo>
                  <a:pt x="2977237" y="2494121"/>
                </a:moveTo>
                <a:cubicBezTo>
                  <a:pt x="2986535" y="2493169"/>
                  <a:pt x="2993919" y="2493122"/>
                  <a:pt x="2996775" y="2494312"/>
                </a:cubicBezTo>
                <a:cubicBezTo>
                  <a:pt x="3002490" y="2496693"/>
                  <a:pt x="2988774" y="2502789"/>
                  <a:pt x="2967249" y="2507742"/>
                </a:cubicBezTo>
                <a:cubicBezTo>
                  <a:pt x="2945721" y="2512695"/>
                  <a:pt x="2924578" y="2514600"/>
                  <a:pt x="2918766" y="2512314"/>
                </a:cubicBezTo>
                <a:cubicBezTo>
                  <a:pt x="2912763" y="2510123"/>
                  <a:pt x="2925146" y="2504218"/>
                  <a:pt x="2946196" y="2499360"/>
                </a:cubicBezTo>
                <a:cubicBezTo>
                  <a:pt x="2956721" y="2496931"/>
                  <a:pt x="2967939" y="2495074"/>
                  <a:pt x="2977237" y="2494121"/>
                </a:cubicBezTo>
                <a:close/>
                <a:moveTo>
                  <a:pt x="3545366" y="2492121"/>
                </a:moveTo>
                <a:cubicBezTo>
                  <a:pt x="3546319" y="2492788"/>
                  <a:pt x="3540318" y="2495264"/>
                  <a:pt x="3533365" y="2497169"/>
                </a:cubicBezTo>
                <a:cubicBezTo>
                  <a:pt x="3528223" y="2498795"/>
                  <a:pt x="3522849" y="2499568"/>
                  <a:pt x="3517458" y="2499455"/>
                </a:cubicBezTo>
                <a:cubicBezTo>
                  <a:pt x="3516410" y="2498788"/>
                  <a:pt x="3522125" y="2496312"/>
                  <a:pt x="3529459" y="2494407"/>
                </a:cubicBezTo>
                <a:cubicBezTo>
                  <a:pt x="3534602" y="2492786"/>
                  <a:pt x="3539975" y="2492013"/>
                  <a:pt x="3545366" y="2492121"/>
                </a:cubicBezTo>
                <a:close/>
                <a:moveTo>
                  <a:pt x="2431153" y="2490858"/>
                </a:moveTo>
                <a:cubicBezTo>
                  <a:pt x="2443964" y="2490192"/>
                  <a:pt x="2454942" y="2490549"/>
                  <a:pt x="2460324" y="2492025"/>
                </a:cubicBezTo>
                <a:cubicBezTo>
                  <a:pt x="2471086" y="2494978"/>
                  <a:pt x="2458894" y="2501550"/>
                  <a:pt x="2435082" y="2506408"/>
                </a:cubicBezTo>
                <a:cubicBezTo>
                  <a:pt x="2422156" y="2508943"/>
                  <a:pt x="2409079" y="2510597"/>
                  <a:pt x="2395934" y="2511361"/>
                </a:cubicBezTo>
                <a:cubicBezTo>
                  <a:pt x="2385809" y="2512272"/>
                  <a:pt x="2375617" y="2512016"/>
                  <a:pt x="2365550" y="2510599"/>
                </a:cubicBezTo>
                <a:cubicBezTo>
                  <a:pt x="2353357" y="2507837"/>
                  <a:pt x="2365550" y="2501074"/>
                  <a:pt x="2390981" y="2495835"/>
                </a:cubicBezTo>
                <a:cubicBezTo>
                  <a:pt x="2403696" y="2493216"/>
                  <a:pt x="2418342" y="2491525"/>
                  <a:pt x="2431153" y="2490858"/>
                </a:cubicBezTo>
                <a:close/>
                <a:moveTo>
                  <a:pt x="3459644" y="2490502"/>
                </a:moveTo>
                <a:cubicBezTo>
                  <a:pt x="3460977" y="2491645"/>
                  <a:pt x="3454119" y="2494502"/>
                  <a:pt x="3442978" y="2497455"/>
                </a:cubicBezTo>
                <a:cubicBezTo>
                  <a:pt x="3435929" y="2499942"/>
                  <a:pt x="3428433" y="2500947"/>
                  <a:pt x="3420979" y="2500408"/>
                </a:cubicBezTo>
                <a:cubicBezTo>
                  <a:pt x="3419172" y="2499360"/>
                  <a:pt x="3425644" y="2496502"/>
                  <a:pt x="3436787" y="2493550"/>
                </a:cubicBezTo>
                <a:cubicBezTo>
                  <a:pt x="3444089" y="2490869"/>
                  <a:pt x="3451890" y="2489829"/>
                  <a:pt x="3459644" y="2490502"/>
                </a:cubicBezTo>
                <a:close/>
                <a:moveTo>
                  <a:pt x="1231672" y="2489930"/>
                </a:moveTo>
                <a:cubicBezTo>
                  <a:pt x="1242150" y="2489930"/>
                  <a:pt x="1255866" y="2490692"/>
                  <a:pt x="1268534" y="2492025"/>
                </a:cubicBezTo>
                <a:cubicBezTo>
                  <a:pt x="1274916" y="2492692"/>
                  <a:pt x="1280917" y="2493454"/>
                  <a:pt x="1286155" y="2494312"/>
                </a:cubicBezTo>
                <a:cubicBezTo>
                  <a:pt x="1290432" y="2494868"/>
                  <a:pt x="1294671" y="2495727"/>
                  <a:pt x="1298824" y="2496883"/>
                </a:cubicBezTo>
                <a:cubicBezTo>
                  <a:pt x="1310635" y="2500312"/>
                  <a:pt x="1304729" y="2504122"/>
                  <a:pt x="1286632" y="2504789"/>
                </a:cubicBezTo>
                <a:cubicBezTo>
                  <a:pt x="1274706" y="2504944"/>
                  <a:pt x="1262781" y="2504403"/>
                  <a:pt x="1250913" y="2503170"/>
                </a:cubicBezTo>
                <a:cubicBezTo>
                  <a:pt x="1244627" y="2502503"/>
                  <a:pt x="1238530" y="2501836"/>
                  <a:pt x="1233006" y="2500979"/>
                </a:cubicBezTo>
                <a:cubicBezTo>
                  <a:pt x="1227481" y="2500122"/>
                  <a:pt x="1222720" y="2499074"/>
                  <a:pt x="1219195" y="2498121"/>
                </a:cubicBezTo>
                <a:cubicBezTo>
                  <a:pt x="1204717" y="2494121"/>
                  <a:pt x="1211004" y="2490025"/>
                  <a:pt x="1231672" y="2489930"/>
                </a:cubicBezTo>
                <a:close/>
                <a:moveTo>
                  <a:pt x="2811512" y="2489072"/>
                </a:moveTo>
                <a:cubicBezTo>
                  <a:pt x="2818768" y="2488052"/>
                  <a:pt x="2826144" y="2488277"/>
                  <a:pt x="2833324" y="2489739"/>
                </a:cubicBezTo>
                <a:cubicBezTo>
                  <a:pt x="2841229" y="2492501"/>
                  <a:pt x="2828467" y="2498693"/>
                  <a:pt x="2803226" y="2504217"/>
                </a:cubicBezTo>
                <a:cubicBezTo>
                  <a:pt x="2792042" y="2506650"/>
                  <a:pt x="2780720" y="2508400"/>
                  <a:pt x="2769318" y="2509456"/>
                </a:cubicBezTo>
                <a:cubicBezTo>
                  <a:pt x="2761965" y="2510465"/>
                  <a:pt x="2754496" y="2510240"/>
                  <a:pt x="2747217" y="2508789"/>
                </a:cubicBezTo>
                <a:cubicBezTo>
                  <a:pt x="2738457" y="2506122"/>
                  <a:pt x="2751124" y="2500026"/>
                  <a:pt x="2777031" y="2494406"/>
                </a:cubicBezTo>
                <a:cubicBezTo>
                  <a:pt x="2788385" y="2491831"/>
                  <a:pt x="2799911" y="2490049"/>
                  <a:pt x="2811512" y="2489072"/>
                </a:cubicBezTo>
                <a:close/>
                <a:moveTo>
                  <a:pt x="3360614" y="2488691"/>
                </a:moveTo>
                <a:cubicBezTo>
                  <a:pt x="3362712" y="2490025"/>
                  <a:pt x="3353283" y="2494216"/>
                  <a:pt x="3340333" y="2497550"/>
                </a:cubicBezTo>
                <a:cubicBezTo>
                  <a:pt x="3330294" y="2500847"/>
                  <a:pt x="3319747" y="2502363"/>
                  <a:pt x="3309184" y="2502026"/>
                </a:cubicBezTo>
                <a:cubicBezTo>
                  <a:pt x="3306231" y="2500693"/>
                  <a:pt x="3316233" y="2496311"/>
                  <a:pt x="3330045" y="2492501"/>
                </a:cubicBezTo>
                <a:cubicBezTo>
                  <a:pt x="3339914" y="2489353"/>
                  <a:pt x="3350272" y="2488061"/>
                  <a:pt x="3360614" y="2488691"/>
                </a:cubicBezTo>
                <a:close/>
                <a:moveTo>
                  <a:pt x="3236912" y="2486275"/>
                </a:moveTo>
                <a:cubicBezTo>
                  <a:pt x="3243925" y="2485454"/>
                  <a:pt x="3249187" y="2485406"/>
                  <a:pt x="3250712" y="2486406"/>
                </a:cubicBezTo>
                <a:cubicBezTo>
                  <a:pt x="3253758" y="2488406"/>
                  <a:pt x="3242425" y="2493264"/>
                  <a:pt x="3225660" y="2497360"/>
                </a:cubicBezTo>
                <a:cubicBezTo>
                  <a:pt x="3208230" y="2501646"/>
                  <a:pt x="3190990" y="2503741"/>
                  <a:pt x="3187560" y="2501741"/>
                </a:cubicBezTo>
                <a:cubicBezTo>
                  <a:pt x="3184133" y="2499741"/>
                  <a:pt x="3195561" y="2494978"/>
                  <a:pt x="3212612" y="2490787"/>
                </a:cubicBezTo>
                <a:cubicBezTo>
                  <a:pt x="3221136" y="2488692"/>
                  <a:pt x="3229900" y="2487096"/>
                  <a:pt x="3236912" y="2486275"/>
                </a:cubicBezTo>
                <a:close/>
                <a:moveTo>
                  <a:pt x="1015542" y="2484120"/>
                </a:moveTo>
                <a:cubicBezTo>
                  <a:pt x="1036545" y="2485217"/>
                  <a:pt x="1057424" y="2488116"/>
                  <a:pt x="1077930" y="2492787"/>
                </a:cubicBezTo>
                <a:cubicBezTo>
                  <a:pt x="1091932" y="2496312"/>
                  <a:pt x="1089647" y="2500026"/>
                  <a:pt x="1073453" y="2499836"/>
                </a:cubicBezTo>
                <a:cubicBezTo>
                  <a:pt x="1062872" y="2499373"/>
                  <a:pt x="1052309" y="2498356"/>
                  <a:pt x="1041831" y="2496788"/>
                </a:cubicBezTo>
                <a:cubicBezTo>
                  <a:pt x="1036021" y="2496026"/>
                  <a:pt x="1030211" y="2494978"/>
                  <a:pt x="1024972" y="2493930"/>
                </a:cubicBezTo>
                <a:cubicBezTo>
                  <a:pt x="1019733" y="2492883"/>
                  <a:pt x="1015447" y="2491835"/>
                  <a:pt x="1011637" y="2490882"/>
                </a:cubicBezTo>
                <a:cubicBezTo>
                  <a:pt x="998493" y="2486977"/>
                  <a:pt x="1000302" y="2483739"/>
                  <a:pt x="1015542" y="2484120"/>
                </a:cubicBezTo>
                <a:close/>
                <a:moveTo>
                  <a:pt x="1425800" y="2483644"/>
                </a:moveTo>
                <a:cubicBezTo>
                  <a:pt x="1450003" y="2482281"/>
                  <a:pt x="1474292" y="2483912"/>
                  <a:pt x="1498094" y="2488501"/>
                </a:cubicBezTo>
                <a:cubicBezTo>
                  <a:pt x="1512381" y="2492502"/>
                  <a:pt x="1503904" y="2497074"/>
                  <a:pt x="1480092" y="2498026"/>
                </a:cubicBezTo>
                <a:cubicBezTo>
                  <a:pt x="1467405" y="2498800"/>
                  <a:pt x="1454680" y="2498800"/>
                  <a:pt x="1441992" y="2498026"/>
                </a:cubicBezTo>
                <a:cubicBezTo>
                  <a:pt x="1431382" y="2497463"/>
                  <a:pt x="1420837" y="2496029"/>
                  <a:pt x="1410465" y="2493740"/>
                </a:cubicBezTo>
                <a:cubicBezTo>
                  <a:pt x="1394653" y="2489644"/>
                  <a:pt x="1401606" y="2484882"/>
                  <a:pt x="1425800" y="2483644"/>
                </a:cubicBezTo>
                <a:close/>
                <a:moveTo>
                  <a:pt x="3109706" y="2483013"/>
                </a:moveTo>
                <a:cubicBezTo>
                  <a:pt x="3117839" y="2482215"/>
                  <a:pt x="3123838" y="2482310"/>
                  <a:pt x="3125839" y="2483453"/>
                </a:cubicBezTo>
                <a:cubicBezTo>
                  <a:pt x="3129841" y="2485739"/>
                  <a:pt x="3116696" y="2491644"/>
                  <a:pt x="3096883" y="2496407"/>
                </a:cubicBezTo>
                <a:cubicBezTo>
                  <a:pt x="3076975" y="2501074"/>
                  <a:pt x="3056211" y="2503265"/>
                  <a:pt x="3051258" y="2501169"/>
                </a:cubicBezTo>
                <a:cubicBezTo>
                  <a:pt x="3046304" y="2499074"/>
                  <a:pt x="3059736" y="2492787"/>
                  <a:pt x="3080784" y="2487930"/>
                </a:cubicBezTo>
                <a:cubicBezTo>
                  <a:pt x="3091311" y="2485501"/>
                  <a:pt x="3101574" y="2483810"/>
                  <a:pt x="3109706" y="2483013"/>
                </a:cubicBezTo>
                <a:close/>
                <a:moveTo>
                  <a:pt x="3625757" y="2482691"/>
                </a:moveTo>
                <a:cubicBezTo>
                  <a:pt x="3622724" y="2484747"/>
                  <a:pt x="3619278" y="2486112"/>
                  <a:pt x="3615660" y="2486692"/>
                </a:cubicBezTo>
                <a:cubicBezTo>
                  <a:pt x="3611831" y="2487991"/>
                  <a:pt x="3607795" y="2488572"/>
                  <a:pt x="3603754" y="2488406"/>
                </a:cubicBezTo>
                <a:cubicBezTo>
                  <a:pt x="3603183" y="2487835"/>
                  <a:pt x="3607659" y="2486025"/>
                  <a:pt x="3613279" y="2484501"/>
                </a:cubicBezTo>
                <a:cubicBezTo>
                  <a:pt x="3617267" y="2483035"/>
                  <a:pt x="3621517" y="2482418"/>
                  <a:pt x="3625757" y="2482691"/>
                </a:cubicBezTo>
                <a:close/>
                <a:moveTo>
                  <a:pt x="2615333" y="2481739"/>
                </a:moveTo>
                <a:cubicBezTo>
                  <a:pt x="2626799" y="2480977"/>
                  <a:pt x="2636158" y="2481310"/>
                  <a:pt x="2641205" y="2482882"/>
                </a:cubicBezTo>
                <a:cubicBezTo>
                  <a:pt x="2651302" y="2486025"/>
                  <a:pt x="2638538" y="2492407"/>
                  <a:pt x="2610821" y="2498217"/>
                </a:cubicBezTo>
                <a:cubicBezTo>
                  <a:pt x="2584626" y="2503646"/>
                  <a:pt x="2557671" y="2505266"/>
                  <a:pt x="2547384" y="2502218"/>
                </a:cubicBezTo>
                <a:cubicBezTo>
                  <a:pt x="2537098" y="2499170"/>
                  <a:pt x="2549479" y="2492693"/>
                  <a:pt x="2576818" y="2487168"/>
                </a:cubicBezTo>
                <a:cubicBezTo>
                  <a:pt x="2590294" y="2484358"/>
                  <a:pt x="2603868" y="2482501"/>
                  <a:pt x="2615333" y="2481739"/>
                </a:cubicBezTo>
                <a:close/>
                <a:moveTo>
                  <a:pt x="3545176" y="2481262"/>
                </a:moveTo>
                <a:cubicBezTo>
                  <a:pt x="3540376" y="2484540"/>
                  <a:pt x="3534911" y="2486719"/>
                  <a:pt x="3529174" y="2487644"/>
                </a:cubicBezTo>
                <a:cubicBezTo>
                  <a:pt x="3523189" y="2489613"/>
                  <a:pt x="3516891" y="2490452"/>
                  <a:pt x="3510600" y="2490121"/>
                </a:cubicBezTo>
                <a:cubicBezTo>
                  <a:pt x="3509647" y="2489073"/>
                  <a:pt x="3518029" y="2485739"/>
                  <a:pt x="3527269" y="2483453"/>
                </a:cubicBezTo>
                <a:cubicBezTo>
                  <a:pt x="3533020" y="2481483"/>
                  <a:pt x="3539120" y="2480737"/>
                  <a:pt x="3545176" y="2481262"/>
                </a:cubicBezTo>
                <a:close/>
                <a:moveTo>
                  <a:pt x="3456598" y="2478881"/>
                </a:moveTo>
                <a:cubicBezTo>
                  <a:pt x="3458313" y="2480310"/>
                  <a:pt x="3450122" y="2483739"/>
                  <a:pt x="3436982" y="2487072"/>
                </a:cubicBezTo>
                <a:cubicBezTo>
                  <a:pt x="3428791" y="2490052"/>
                  <a:pt x="3420044" y="2491190"/>
                  <a:pt x="3411367" y="2490406"/>
                </a:cubicBezTo>
                <a:cubicBezTo>
                  <a:pt x="3409843" y="2488977"/>
                  <a:pt x="3417653" y="2485644"/>
                  <a:pt x="3430410" y="2482310"/>
                </a:cubicBezTo>
                <a:cubicBezTo>
                  <a:pt x="3438782" y="2479263"/>
                  <a:pt x="3447721" y="2478092"/>
                  <a:pt x="3456598" y="2478881"/>
                </a:cubicBezTo>
                <a:close/>
                <a:moveTo>
                  <a:pt x="2958379" y="2478595"/>
                </a:moveTo>
                <a:cubicBezTo>
                  <a:pt x="2968083" y="2477666"/>
                  <a:pt x="2975583" y="2477785"/>
                  <a:pt x="2978868" y="2479166"/>
                </a:cubicBezTo>
                <a:cubicBezTo>
                  <a:pt x="2985441" y="2481929"/>
                  <a:pt x="2973342" y="2487548"/>
                  <a:pt x="2950294" y="2492978"/>
                </a:cubicBezTo>
                <a:cubicBezTo>
                  <a:pt x="2927243" y="2498407"/>
                  <a:pt x="2903810" y="2500979"/>
                  <a:pt x="2896096" y="2498502"/>
                </a:cubicBezTo>
                <a:cubicBezTo>
                  <a:pt x="2888282" y="2495930"/>
                  <a:pt x="2900476" y="2489930"/>
                  <a:pt x="2924670" y="2484310"/>
                </a:cubicBezTo>
                <a:cubicBezTo>
                  <a:pt x="2936767" y="2481500"/>
                  <a:pt x="2948673" y="2479524"/>
                  <a:pt x="2958379" y="2478595"/>
                </a:cubicBezTo>
                <a:close/>
                <a:moveTo>
                  <a:pt x="1926059" y="2476595"/>
                </a:moveTo>
                <a:cubicBezTo>
                  <a:pt x="1932631" y="2476595"/>
                  <a:pt x="1938918" y="2476595"/>
                  <a:pt x="1944442" y="2477357"/>
                </a:cubicBezTo>
                <a:cubicBezTo>
                  <a:pt x="1949224" y="2477695"/>
                  <a:pt x="1953967" y="2478395"/>
                  <a:pt x="1958634" y="2479452"/>
                </a:cubicBezTo>
                <a:cubicBezTo>
                  <a:pt x="1973875" y="2483167"/>
                  <a:pt x="1965302" y="2488692"/>
                  <a:pt x="1938156" y="2492692"/>
                </a:cubicBezTo>
                <a:cubicBezTo>
                  <a:pt x="1924554" y="2494606"/>
                  <a:pt x="1910838" y="2495593"/>
                  <a:pt x="1897104" y="2495645"/>
                </a:cubicBezTo>
                <a:cubicBezTo>
                  <a:pt x="1886044" y="2495804"/>
                  <a:pt x="1875006" y="2494814"/>
                  <a:pt x="1864147" y="2492692"/>
                </a:cubicBezTo>
                <a:cubicBezTo>
                  <a:pt x="1847860" y="2488882"/>
                  <a:pt x="1856146" y="2483167"/>
                  <a:pt x="1884150" y="2479548"/>
                </a:cubicBezTo>
                <a:cubicBezTo>
                  <a:pt x="1898037" y="2477644"/>
                  <a:pt x="1912038" y="2476657"/>
                  <a:pt x="1926059" y="2476595"/>
                </a:cubicBezTo>
                <a:close/>
                <a:moveTo>
                  <a:pt x="2167614" y="2476119"/>
                </a:moveTo>
                <a:cubicBezTo>
                  <a:pt x="2178158" y="2475492"/>
                  <a:pt x="2188750" y="2476131"/>
                  <a:pt x="2199142" y="2478024"/>
                </a:cubicBezTo>
                <a:cubicBezTo>
                  <a:pt x="2213431" y="2481453"/>
                  <a:pt x="2202763" y="2487549"/>
                  <a:pt x="2175520" y="2492597"/>
                </a:cubicBezTo>
                <a:cubicBezTo>
                  <a:pt x="2151583" y="2497082"/>
                  <a:pt x="2127095" y="2497788"/>
                  <a:pt x="2102940" y="2494693"/>
                </a:cubicBezTo>
                <a:cubicBezTo>
                  <a:pt x="2087699" y="2491168"/>
                  <a:pt x="2097987" y="2485168"/>
                  <a:pt x="2126180" y="2480119"/>
                </a:cubicBezTo>
                <a:cubicBezTo>
                  <a:pt x="2139887" y="2477857"/>
                  <a:pt x="2153727" y="2476521"/>
                  <a:pt x="2167614" y="2476119"/>
                </a:cubicBezTo>
                <a:close/>
                <a:moveTo>
                  <a:pt x="3357476" y="2475833"/>
                </a:moveTo>
                <a:cubicBezTo>
                  <a:pt x="3359762" y="2477643"/>
                  <a:pt x="3347949" y="2482501"/>
                  <a:pt x="3333096" y="2486311"/>
                </a:cubicBezTo>
                <a:cubicBezTo>
                  <a:pt x="3322267" y="2489852"/>
                  <a:pt x="3310836" y="2491244"/>
                  <a:pt x="3299473" y="2490407"/>
                </a:cubicBezTo>
                <a:cubicBezTo>
                  <a:pt x="3296903" y="2488692"/>
                  <a:pt x="3308330" y="2483739"/>
                  <a:pt x="3323856" y="2479929"/>
                </a:cubicBezTo>
                <a:cubicBezTo>
                  <a:pt x="3334696" y="2476407"/>
                  <a:pt x="3346114" y="2475016"/>
                  <a:pt x="3357476" y="2475833"/>
                </a:cubicBezTo>
                <a:close/>
                <a:moveTo>
                  <a:pt x="2781125" y="2473071"/>
                </a:moveTo>
                <a:cubicBezTo>
                  <a:pt x="2789281" y="2471956"/>
                  <a:pt x="2797567" y="2472278"/>
                  <a:pt x="2805605" y="2474023"/>
                </a:cubicBezTo>
                <a:cubicBezTo>
                  <a:pt x="2812463" y="2476976"/>
                  <a:pt x="2797987" y="2484120"/>
                  <a:pt x="2774270" y="2489454"/>
                </a:cubicBezTo>
                <a:cubicBezTo>
                  <a:pt x="2761870" y="2492175"/>
                  <a:pt x="2749295" y="2494053"/>
                  <a:pt x="2736645" y="2495074"/>
                </a:cubicBezTo>
                <a:cubicBezTo>
                  <a:pt x="2728036" y="2496249"/>
                  <a:pt x="2719292" y="2496057"/>
                  <a:pt x="2710738" y="2494502"/>
                </a:cubicBezTo>
                <a:cubicBezTo>
                  <a:pt x="2701975" y="2491645"/>
                  <a:pt x="2717119" y="2484025"/>
                  <a:pt x="2742455" y="2478595"/>
                </a:cubicBezTo>
                <a:cubicBezTo>
                  <a:pt x="2748838" y="2477262"/>
                  <a:pt x="2755601" y="2476119"/>
                  <a:pt x="2762077" y="2475166"/>
                </a:cubicBezTo>
                <a:cubicBezTo>
                  <a:pt x="2768553" y="2474214"/>
                  <a:pt x="2775032" y="2473547"/>
                  <a:pt x="2781125" y="2473071"/>
                </a:cubicBezTo>
                <a:close/>
                <a:moveTo>
                  <a:pt x="3229056" y="2472035"/>
                </a:moveTo>
                <a:cubicBezTo>
                  <a:pt x="3236639" y="2471213"/>
                  <a:pt x="3242284" y="2471213"/>
                  <a:pt x="3244045" y="2472213"/>
                </a:cubicBezTo>
                <a:cubicBezTo>
                  <a:pt x="3247569" y="2474213"/>
                  <a:pt x="3234042" y="2480405"/>
                  <a:pt x="3215469" y="2484881"/>
                </a:cubicBezTo>
                <a:cubicBezTo>
                  <a:pt x="3206878" y="2487017"/>
                  <a:pt x="3198163" y="2488608"/>
                  <a:pt x="3189371" y="2489644"/>
                </a:cubicBezTo>
                <a:cubicBezTo>
                  <a:pt x="3184238" y="2490621"/>
                  <a:pt x="3178970" y="2490589"/>
                  <a:pt x="3173845" y="2489549"/>
                </a:cubicBezTo>
                <a:cubicBezTo>
                  <a:pt x="3169656" y="2487453"/>
                  <a:pt x="3183370" y="2481357"/>
                  <a:pt x="3202421" y="2476785"/>
                </a:cubicBezTo>
                <a:cubicBezTo>
                  <a:pt x="3211944" y="2474499"/>
                  <a:pt x="3221469" y="2472856"/>
                  <a:pt x="3229056" y="2472035"/>
                </a:cubicBezTo>
                <a:close/>
                <a:moveTo>
                  <a:pt x="1614779" y="2471833"/>
                </a:moveTo>
                <a:cubicBezTo>
                  <a:pt x="1639647" y="2468991"/>
                  <a:pt x="1664784" y="2469696"/>
                  <a:pt x="1689453" y="2473928"/>
                </a:cubicBezTo>
                <a:cubicBezTo>
                  <a:pt x="1698026" y="2475928"/>
                  <a:pt x="1700884" y="2478119"/>
                  <a:pt x="1698407" y="2480215"/>
                </a:cubicBezTo>
                <a:cubicBezTo>
                  <a:pt x="1691235" y="2483664"/>
                  <a:pt x="1683405" y="2485547"/>
                  <a:pt x="1675452" y="2485739"/>
                </a:cubicBezTo>
                <a:cubicBezTo>
                  <a:pt x="1668975" y="2486501"/>
                  <a:pt x="1662308" y="2486977"/>
                  <a:pt x="1655544" y="2487263"/>
                </a:cubicBezTo>
                <a:lnTo>
                  <a:pt x="1645449" y="2487263"/>
                </a:lnTo>
                <a:lnTo>
                  <a:pt x="1635448" y="2487263"/>
                </a:lnTo>
                <a:cubicBezTo>
                  <a:pt x="1623837" y="2487169"/>
                  <a:pt x="1612253" y="2485957"/>
                  <a:pt x="1600872" y="2483644"/>
                </a:cubicBezTo>
                <a:cubicBezTo>
                  <a:pt x="1591347" y="2481548"/>
                  <a:pt x="1588585" y="2479167"/>
                  <a:pt x="1591347" y="2477167"/>
                </a:cubicBezTo>
                <a:cubicBezTo>
                  <a:pt x="1598681" y="2473722"/>
                  <a:pt x="1606673" y="2471903"/>
                  <a:pt x="1614779" y="2471833"/>
                </a:cubicBezTo>
                <a:close/>
                <a:moveTo>
                  <a:pt x="2376967" y="2471452"/>
                </a:moveTo>
                <a:cubicBezTo>
                  <a:pt x="2390530" y="2470857"/>
                  <a:pt x="2402173" y="2471309"/>
                  <a:pt x="2407840" y="2472976"/>
                </a:cubicBezTo>
                <a:cubicBezTo>
                  <a:pt x="2419175" y="2476310"/>
                  <a:pt x="2406412" y="2483263"/>
                  <a:pt x="2381361" y="2488216"/>
                </a:cubicBezTo>
                <a:cubicBezTo>
                  <a:pt x="2367654" y="2490838"/>
                  <a:pt x="2353776" y="2492493"/>
                  <a:pt x="2339832" y="2493169"/>
                </a:cubicBezTo>
                <a:cubicBezTo>
                  <a:pt x="2329183" y="2494021"/>
                  <a:pt x="2318477" y="2493605"/>
                  <a:pt x="2307923" y="2491931"/>
                </a:cubicBezTo>
                <a:cubicBezTo>
                  <a:pt x="2294970" y="2488692"/>
                  <a:pt x="2307923" y="2481263"/>
                  <a:pt x="2334593" y="2476215"/>
                </a:cubicBezTo>
                <a:cubicBezTo>
                  <a:pt x="2347928" y="2473691"/>
                  <a:pt x="2363406" y="2472047"/>
                  <a:pt x="2376967" y="2471452"/>
                </a:cubicBezTo>
                <a:close/>
                <a:moveTo>
                  <a:pt x="3626900" y="2471356"/>
                </a:moveTo>
                <a:cubicBezTo>
                  <a:pt x="3626900" y="2472118"/>
                  <a:pt x="3621471" y="2474595"/>
                  <a:pt x="3614613" y="2476500"/>
                </a:cubicBezTo>
                <a:cubicBezTo>
                  <a:pt x="3609479" y="2478298"/>
                  <a:pt x="3604043" y="2479074"/>
                  <a:pt x="3598611" y="2478786"/>
                </a:cubicBezTo>
                <a:cubicBezTo>
                  <a:pt x="3598325" y="2478024"/>
                  <a:pt x="3604135" y="2475547"/>
                  <a:pt x="3611089" y="2473737"/>
                </a:cubicBezTo>
                <a:cubicBezTo>
                  <a:pt x="3616151" y="2471912"/>
                  <a:pt x="3621524" y="2471104"/>
                  <a:pt x="3626900" y="2471356"/>
                </a:cubicBezTo>
                <a:close/>
                <a:moveTo>
                  <a:pt x="3547366" y="2468784"/>
                </a:moveTo>
                <a:cubicBezTo>
                  <a:pt x="3548795" y="2469927"/>
                  <a:pt x="3540603" y="2473451"/>
                  <a:pt x="3529840" y="2476309"/>
                </a:cubicBezTo>
                <a:cubicBezTo>
                  <a:pt x="3522453" y="2478787"/>
                  <a:pt x="3514665" y="2479854"/>
                  <a:pt x="3506884" y="2479452"/>
                </a:cubicBezTo>
                <a:cubicBezTo>
                  <a:pt x="3505265" y="2478404"/>
                  <a:pt x="3513552" y="2474880"/>
                  <a:pt x="3524410" y="2472023"/>
                </a:cubicBezTo>
                <a:cubicBezTo>
                  <a:pt x="3531787" y="2469492"/>
                  <a:pt x="3539577" y="2468393"/>
                  <a:pt x="3547366" y="2468784"/>
                </a:cubicBezTo>
                <a:close/>
                <a:moveTo>
                  <a:pt x="3089739" y="2468499"/>
                </a:moveTo>
                <a:cubicBezTo>
                  <a:pt x="3095826" y="2467196"/>
                  <a:pt x="3102132" y="2467196"/>
                  <a:pt x="3108220" y="2468499"/>
                </a:cubicBezTo>
                <a:cubicBezTo>
                  <a:pt x="3113456" y="2470975"/>
                  <a:pt x="3101458" y="2476785"/>
                  <a:pt x="3079644" y="2482119"/>
                </a:cubicBezTo>
                <a:cubicBezTo>
                  <a:pt x="3069222" y="2484674"/>
                  <a:pt x="3058667" y="2486614"/>
                  <a:pt x="3048019" y="2487930"/>
                </a:cubicBezTo>
                <a:cubicBezTo>
                  <a:pt x="3041637" y="2489190"/>
                  <a:pt x="3035084" y="2489255"/>
                  <a:pt x="3028685" y="2488120"/>
                </a:cubicBezTo>
                <a:cubicBezTo>
                  <a:pt x="3022016" y="2485644"/>
                  <a:pt x="3034493" y="2479738"/>
                  <a:pt x="3057828" y="2474118"/>
                </a:cubicBezTo>
                <a:cubicBezTo>
                  <a:pt x="3068337" y="2471555"/>
                  <a:pt x="3078995" y="2469679"/>
                  <a:pt x="3089739" y="2468499"/>
                </a:cubicBezTo>
                <a:close/>
                <a:moveTo>
                  <a:pt x="3456792" y="2465832"/>
                </a:moveTo>
                <a:cubicBezTo>
                  <a:pt x="3458126" y="2467642"/>
                  <a:pt x="3448697" y="2471642"/>
                  <a:pt x="3434414" y="2475357"/>
                </a:cubicBezTo>
                <a:cubicBezTo>
                  <a:pt x="3424844" y="2478808"/>
                  <a:pt x="3414639" y="2480109"/>
                  <a:pt x="3404514" y="2479167"/>
                </a:cubicBezTo>
                <a:cubicBezTo>
                  <a:pt x="3402609" y="2477357"/>
                  <a:pt x="3412323" y="2473261"/>
                  <a:pt x="3426892" y="2469547"/>
                </a:cubicBezTo>
                <a:cubicBezTo>
                  <a:pt x="3442031" y="2465641"/>
                  <a:pt x="3455460" y="2464022"/>
                  <a:pt x="3456792" y="2465832"/>
                </a:cubicBezTo>
                <a:close/>
                <a:moveTo>
                  <a:pt x="2572340" y="2463927"/>
                </a:moveTo>
                <a:cubicBezTo>
                  <a:pt x="2581656" y="2462966"/>
                  <a:pt x="2591057" y="2463383"/>
                  <a:pt x="2600247" y="2465165"/>
                </a:cubicBezTo>
                <a:cubicBezTo>
                  <a:pt x="2611870" y="2468499"/>
                  <a:pt x="2599866" y="2475262"/>
                  <a:pt x="2571864" y="2481072"/>
                </a:cubicBezTo>
                <a:cubicBezTo>
                  <a:pt x="2558423" y="2483933"/>
                  <a:pt x="2544803" y="2485842"/>
                  <a:pt x="2531097" y="2486787"/>
                </a:cubicBezTo>
                <a:cubicBezTo>
                  <a:pt x="2521562" y="2487732"/>
                  <a:pt x="2511941" y="2487316"/>
                  <a:pt x="2502521" y="2485549"/>
                </a:cubicBezTo>
                <a:cubicBezTo>
                  <a:pt x="2490234" y="2482120"/>
                  <a:pt x="2502521" y="2475357"/>
                  <a:pt x="2531953" y="2469452"/>
                </a:cubicBezTo>
                <a:cubicBezTo>
                  <a:pt x="2545278" y="2466711"/>
                  <a:pt x="2558766" y="2464865"/>
                  <a:pt x="2572340" y="2463927"/>
                </a:cubicBezTo>
                <a:close/>
                <a:moveTo>
                  <a:pt x="3349764" y="2462879"/>
                </a:moveTo>
                <a:cubicBezTo>
                  <a:pt x="3353004" y="2464974"/>
                  <a:pt x="3342621" y="2469737"/>
                  <a:pt x="3324622" y="2474309"/>
                </a:cubicBezTo>
                <a:cubicBezTo>
                  <a:pt x="3312383" y="2478489"/>
                  <a:pt x="3299418" y="2480110"/>
                  <a:pt x="3286525" y="2479071"/>
                </a:cubicBezTo>
                <a:cubicBezTo>
                  <a:pt x="3282429" y="2477071"/>
                  <a:pt x="3293287" y="2472118"/>
                  <a:pt x="3312524" y="2467355"/>
                </a:cubicBezTo>
                <a:cubicBezTo>
                  <a:pt x="3331763" y="2462593"/>
                  <a:pt x="3346525" y="2460783"/>
                  <a:pt x="3349764" y="2462879"/>
                </a:cubicBezTo>
                <a:close/>
                <a:moveTo>
                  <a:pt x="2934230" y="2462879"/>
                </a:moveTo>
                <a:cubicBezTo>
                  <a:pt x="2945268" y="2461974"/>
                  <a:pt x="2954055" y="2462212"/>
                  <a:pt x="2957343" y="2463736"/>
                </a:cubicBezTo>
                <a:cubicBezTo>
                  <a:pt x="2963914" y="2466784"/>
                  <a:pt x="2949055" y="2473737"/>
                  <a:pt x="2925242" y="2479262"/>
                </a:cubicBezTo>
                <a:cubicBezTo>
                  <a:pt x="2900665" y="2484977"/>
                  <a:pt x="2872950" y="2487358"/>
                  <a:pt x="2865712" y="2484500"/>
                </a:cubicBezTo>
                <a:cubicBezTo>
                  <a:pt x="2858471" y="2481643"/>
                  <a:pt x="2873041" y="2474975"/>
                  <a:pt x="2897617" y="2468879"/>
                </a:cubicBezTo>
                <a:cubicBezTo>
                  <a:pt x="2909905" y="2465831"/>
                  <a:pt x="2923195" y="2463783"/>
                  <a:pt x="2934230" y="2462879"/>
                </a:cubicBezTo>
                <a:close/>
                <a:moveTo>
                  <a:pt x="782339" y="2462533"/>
                </a:moveTo>
                <a:cubicBezTo>
                  <a:pt x="784172" y="2461807"/>
                  <a:pt x="789411" y="2461926"/>
                  <a:pt x="797316" y="2463164"/>
                </a:cubicBezTo>
                <a:lnTo>
                  <a:pt x="804174" y="2464307"/>
                </a:lnTo>
                <a:lnTo>
                  <a:pt x="811604" y="2465736"/>
                </a:lnTo>
                <a:cubicBezTo>
                  <a:pt x="816748" y="2466784"/>
                  <a:pt x="822082" y="2467927"/>
                  <a:pt x="827225" y="2469165"/>
                </a:cubicBezTo>
                <a:cubicBezTo>
                  <a:pt x="832368" y="2470403"/>
                  <a:pt x="837417" y="2471642"/>
                  <a:pt x="841608" y="2472785"/>
                </a:cubicBezTo>
                <a:cubicBezTo>
                  <a:pt x="845799" y="2473928"/>
                  <a:pt x="849323" y="2474975"/>
                  <a:pt x="851704" y="2475833"/>
                </a:cubicBezTo>
                <a:cubicBezTo>
                  <a:pt x="860467" y="2479262"/>
                  <a:pt x="855895" y="2481071"/>
                  <a:pt x="842656" y="2479643"/>
                </a:cubicBezTo>
                <a:cubicBezTo>
                  <a:pt x="838941" y="2479643"/>
                  <a:pt x="834178" y="2478404"/>
                  <a:pt x="829225" y="2477547"/>
                </a:cubicBezTo>
                <a:cubicBezTo>
                  <a:pt x="824272" y="2476690"/>
                  <a:pt x="818843" y="2475452"/>
                  <a:pt x="813604" y="2474213"/>
                </a:cubicBezTo>
                <a:cubicBezTo>
                  <a:pt x="808365" y="2472975"/>
                  <a:pt x="803317" y="2471832"/>
                  <a:pt x="798745" y="2470594"/>
                </a:cubicBezTo>
                <a:cubicBezTo>
                  <a:pt x="794173" y="2469356"/>
                  <a:pt x="790554" y="2468308"/>
                  <a:pt x="787791" y="2466974"/>
                </a:cubicBezTo>
                <a:cubicBezTo>
                  <a:pt x="782077" y="2464831"/>
                  <a:pt x="780505" y="2463260"/>
                  <a:pt x="782339" y="2462533"/>
                </a:cubicBezTo>
                <a:close/>
                <a:moveTo>
                  <a:pt x="3703957" y="2462212"/>
                </a:moveTo>
                <a:cubicBezTo>
                  <a:pt x="3704720" y="2462784"/>
                  <a:pt x="3699481" y="2464974"/>
                  <a:pt x="3693385" y="2466498"/>
                </a:cubicBezTo>
                <a:cubicBezTo>
                  <a:pt x="3689958" y="2467687"/>
                  <a:pt x="3686342" y="2468236"/>
                  <a:pt x="3682717" y="2468118"/>
                </a:cubicBezTo>
                <a:cubicBezTo>
                  <a:pt x="3682717" y="2467451"/>
                  <a:pt x="3687194" y="2465546"/>
                  <a:pt x="3692242" y="2464022"/>
                </a:cubicBezTo>
                <a:cubicBezTo>
                  <a:pt x="3696024" y="2462794"/>
                  <a:pt x="3699981" y="2462183"/>
                  <a:pt x="3703957" y="2462212"/>
                </a:cubicBezTo>
                <a:close/>
                <a:moveTo>
                  <a:pt x="3628804" y="2459831"/>
                </a:moveTo>
                <a:cubicBezTo>
                  <a:pt x="3629662" y="2460783"/>
                  <a:pt x="3621661" y="2464117"/>
                  <a:pt x="3612517" y="2466498"/>
                </a:cubicBezTo>
                <a:cubicBezTo>
                  <a:pt x="3606600" y="2468480"/>
                  <a:pt x="3600367" y="2469352"/>
                  <a:pt x="3594133" y="2469070"/>
                </a:cubicBezTo>
                <a:cubicBezTo>
                  <a:pt x="3593086" y="2468022"/>
                  <a:pt x="3601087" y="2464784"/>
                  <a:pt x="3610421" y="2462307"/>
                </a:cubicBezTo>
                <a:cubicBezTo>
                  <a:pt x="3616328" y="2460285"/>
                  <a:pt x="3622573" y="2459443"/>
                  <a:pt x="3628804" y="2459831"/>
                </a:cubicBezTo>
                <a:close/>
                <a:moveTo>
                  <a:pt x="3216065" y="2457831"/>
                </a:moveTo>
                <a:cubicBezTo>
                  <a:pt x="3223997" y="2456998"/>
                  <a:pt x="3229662" y="2457164"/>
                  <a:pt x="3231947" y="2458402"/>
                </a:cubicBezTo>
                <a:cubicBezTo>
                  <a:pt x="3236519" y="2460879"/>
                  <a:pt x="3223851" y="2466689"/>
                  <a:pt x="3201849" y="2472118"/>
                </a:cubicBezTo>
                <a:cubicBezTo>
                  <a:pt x="3179846" y="2477548"/>
                  <a:pt x="3161559" y="2479357"/>
                  <a:pt x="3156605" y="2477071"/>
                </a:cubicBezTo>
                <a:cubicBezTo>
                  <a:pt x="3151271" y="2474595"/>
                  <a:pt x="3163940" y="2468785"/>
                  <a:pt x="3186608" y="2463260"/>
                </a:cubicBezTo>
                <a:cubicBezTo>
                  <a:pt x="3197943" y="2460498"/>
                  <a:pt x="3208133" y="2458665"/>
                  <a:pt x="3216065" y="2457831"/>
                </a:cubicBezTo>
                <a:close/>
                <a:moveTo>
                  <a:pt x="3545937" y="2456592"/>
                </a:moveTo>
                <a:cubicBezTo>
                  <a:pt x="3546889" y="2458307"/>
                  <a:pt x="3538222" y="2461831"/>
                  <a:pt x="3524982" y="2465165"/>
                </a:cubicBezTo>
                <a:cubicBezTo>
                  <a:pt x="3511742" y="2468499"/>
                  <a:pt x="3500885" y="2470022"/>
                  <a:pt x="3499742" y="2468308"/>
                </a:cubicBezTo>
                <a:cubicBezTo>
                  <a:pt x="3498599" y="2466593"/>
                  <a:pt x="3507362" y="2463164"/>
                  <a:pt x="3520696" y="2459735"/>
                </a:cubicBezTo>
                <a:cubicBezTo>
                  <a:pt x="3534507" y="2456116"/>
                  <a:pt x="3544984" y="2454878"/>
                  <a:pt x="3545937" y="2456592"/>
                </a:cubicBezTo>
                <a:close/>
                <a:moveTo>
                  <a:pt x="2750362" y="2454973"/>
                </a:moveTo>
                <a:cubicBezTo>
                  <a:pt x="2759344" y="2453805"/>
                  <a:pt x="2768460" y="2454159"/>
                  <a:pt x="2777317" y="2456021"/>
                </a:cubicBezTo>
                <a:cubicBezTo>
                  <a:pt x="2785987" y="2459354"/>
                  <a:pt x="2770080" y="2467355"/>
                  <a:pt x="2743027" y="2473070"/>
                </a:cubicBezTo>
                <a:cubicBezTo>
                  <a:pt x="2715978" y="2478785"/>
                  <a:pt x="2686737" y="2480690"/>
                  <a:pt x="2677594" y="2477547"/>
                </a:cubicBezTo>
                <a:cubicBezTo>
                  <a:pt x="2668068" y="2474404"/>
                  <a:pt x="2682640" y="2466784"/>
                  <a:pt x="2709310" y="2460974"/>
                </a:cubicBezTo>
                <a:cubicBezTo>
                  <a:pt x="2722855" y="2458091"/>
                  <a:pt x="2736560" y="2456086"/>
                  <a:pt x="2750362" y="2454973"/>
                </a:cubicBezTo>
                <a:close/>
                <a:moveTo>
                  <a:pt x="2097987" y="2453354"/>
                </a:moveTo>
                <a:cubicBezTo>
                  <a:pt x="2104940" y="2453354"/>
                  <a:pt x="2111607" y="2453354"/>
                  <a:pt x="2117037" y="2453830"/>
                </a:cubicBezTo>
                <a:cubicBezTo>
                  <a:pt x="2121790" y="2454136"/>
                  <a:pt x="2126504" y="2454837"/>
                  <a:pt x="2131134" y="2455926"/>
                </a:cubicBezTo>
                <a:cubicBezTo>
                  <a:pt x="2145326" y="2459641"/>
                  <a:pt x="2134658" y="2466975"/>
                  <a:pt x="2107893" y="2470975"/>
                </a:cubicBezTo>
                <a:cubicBezTo>
                  <a:pt x="2093710" y="2473265"/>
                  <a:pt x="2079395" y="2474539"/>
                  <a:pt x="2065030" y="2474785"/>
                </a:cubicBezTo>
                <a:cubicBezTo>
                  <a:pt x="2053514" y="2475300"/>
                  <a:pt x="2041990" y="2474533"/>
                  <a:pt x="2030646" y="2472499"/>
                </a:cubicBezTo>
                <a:cubicBezTo>
                  <a:pt x="2014072" y="2468594"/>
                  <a:pt x="2024931" y="2461546"/>
                  <a:pt x="2054173" y="2456973"/>
                </a:cubicBezTo>
                <a:cubicBezTo>
                  <a:pt x="2068679" y="2454771"/>
                  <a:pt x="2083318" y="2453562"/>
                  <a:pt x="2097987" y="2453354"/>
                </a:cubicBezTo>
                <a:close/>
                <a:moveTo>
                  <a:pt x="3442512" y="2452497"/>
                </a:moveTo>
                <a:cubicBezTo>
                  <a:pt x="3448604" y="2451783"/>
                  <a:pt x="3452843" y="2451831"/>
                  <a:pt x="3453462" y="2452878"/>
                </a:cubicBezTo>
                <a:cubicBezTo>
                  <a:pt x="3454701" y="2454974"/>
                  <a:pt x="3443082" y="2459831"/>
                  <a:pt x="3427939" y="2463737"/>
                </a:cubicBezTo>
                <a:cubicBezTo>
                  <a:pt x="3417080" y="2467413"/>
                  <a:pt x="3405573" y="2468839"/>
                  <a:pt x="3394136" y="2467928"/>
                </a:cubicBezTo>
                <a:cubicBezTo>
                  <a:pt x="3391948" y="2466023"/>
                  <a:pt x="3404326" y="2460689"/>
                  <a:pt x="3420423" y="2456688"/>
                </a:cubicBezTo>
                <a:cubicBezTo>
                  <a:pt x="3428465" y="2454688"/>
                  <a:pt x="3436418" y="2453212"/>
                  <a:pt x="3442512" y="2452497"/>
                </a:cubicBezTo>
                <a:close/>
                <a:moveTo>
                  <a:pt x="3074749" y="2452104"/>
                </a:moveTo>
                <a:cubicBezTo>
                  <a:pt x="3084551" y="2451163"/>
                  <a:pt x="3092073" y="2451306"/>
                  <a:pt x="3095360" y="2452592"/>
                </a:cubicBezTo>
                <a:cubicBezTo>
                  <a:pt x="3101932" y="2455164"/>
                  <a:pt x="3087929" y="2462307"/>
                  <a:pt x="3064023" y="2468022"/>
                </a:cubicBezTo>
                <a:cubicBezTo>
                  <a:pt x="3040113" y="2473928"/>
                  <a:pt x="3014873" y="2476404"/>
                  <a:pt x="3008111" y="2473737"/>
                </a:cubicBezTo>
                <a:cubicBezTo>
                  <a:pt x="3001349" y="2471070"/>
                  <a:pt x="3015730" y="2464212"/>
                  <a:pt x="3040496" y="2458116"/>
                </a:cubicBezTo>
                <a:cubicBezTo>
                  <a:pt x="3052877" y="2455068"/>
                  <a:pt x="3064950" y="2453044"/>
                  <a:pt x="3074749" y="2452104"/>
                </a:cubicBezTo>
                <a:close/>
                <a:moveTo>
                  <a:pt x="3708148" y="2450783"/>
                </a:moveTo>
                <a:cubicBezTo>
                  <a:pt x="3708719" y="2451640"/>
                  <a:pt x="3701957" y="2454402"/>
                  <a:pt x="3694623" y="2456307"/>
                </a:cubicBezTo>
                <a:cubicBezTo>
                  <a:pt x="3689940" y="2457919"/>
                  <a:pt x="3684996" y="2458629"/>
                  <a:pt x="3680049" y="2458403"/>
                </a:cubicBezTo>
                <a:cubicBezTo>
                  <a:pt x="3679383" y="2457545"/>
                  <a:pt x="3686145" y="2454783"/>
                  <a:pt x="3693670" y="2452878"/>
                </a:cubicBezTo>
                <a:cubicBezTo>
                  <a:pt x="3698307" y="2451217"/>
                  <a:pt x="3703230" y="2450505"/>
                  <a:pt x="3708148" y="2450783"/>
                </a:cubicBezTo>
                <a:close/>
                <a:moveTo>
                  <a:pt x="1846715" y="2449735"/>
                </a:moveTo>
                <a:cubicBezTo>
                  <a:pt x="1858344" y="2449623"/>
                  <a:pt x="1869946" y="2450870"/>
                  <a:pt x="1881290" y="2453449"/>
                </a:cubicBezTo>
                <a:cubicBezTo>
                  <a:pt x="1896149" y="2457545"/>
                  <a:pt x="1887386" y="2462974"/>
                  <a:pt x="1861002" y="2466975"/>
                </a:cubicBezTo>
                <a:cubicBezTo>
                  <a:pt x="1846639" y="2468884"/>
                  <a:pt x="1832151" y="2469743"/>
                  <a:pt x="1817663" y="2469547"/>
                </a:cubicBezTo>
                <a:cubicBezTo>
                  <a:pt x="1805700" y="2469692"/>
                  <a:pt x="1793746" y="2468510"/>
                  <a:pt x="1782040" y="2466022"/>
                </a:cubicBezTo>
                <a:cubicBezTo>
                  <a:pt x="1764609" y="2461736"/>
                  <a:pt x="1773372" y="2455640"/>
                  <a:pt x="1802424" y="2452116"/>
                </a:cubicBezTo>
                <a:cubicBezTo>
                  <a:pt x="1817121" y="2450336"/>
                  <a:pt x="1831913" y="2449540"/>
                  <a:pt x="1846715" y="2449735"/>
                </a:cubicBezTo>
                <a:close/>
                <a:moveTo>
                  <a:pt x="2326080" y="2449592"/>
                </a:moveTo>
                <a:cubicBezTo>
                  <a:pt x="2340214" y="2449140"/>
                  <a:pt x="2352263" y="2449783"/>
                  <a:pt x="2358216" y="2451640"/>
                </a:cubicBezTo>
                <a:cubicBezTo>
                  <a:pt x="2364218" y="2453545"/>
                  <a:pt x="2363740" y="2456402"/>
                  <a:pt x="2358216" y="2459450"/>
                </a:cubicBezTo>
                <a:cubicBezTo>
                  <a:pt x="2348853" y="2463800"/>
                  <a:pt x="2338908" y="2466752"/>
                  <a:pt x="2328688" y="2468213"/>
                </a:cubicBezTo>
                <a:cubicBezTo>
                  <a:pt x="2301066" y="2473262"/>
                  <a:pt x="2264870" y="2474405"/>
                  <a:pt x="2252487" y="2470785"/>
                </a:cubicBezTo>
                <a:cubicBezTo>
                  <a:pt x="2245916" y="2468880"/>
                  <a:pt x="2246107" y="2465927"/>
                  <a:pt x="2251441" y="2462975"/>
                </a:cubicBezTo>
                <a:cubicBezTo>
                  <a:pt x="2260947" y="2458557"/>
                  <a:pt x="2271062" y="2455572"/>
                  <a:pt x="2281444" y="2454117"/>
                </a:cubicBezTo>
                <a:cubicBezTo>
                  <a:pt x="2295731" y="2451593"/>
                  <a:pt x="2311948" y="2450045"/>
                  <a:pt x="2326080" y="2449592"/>
                </a:cubicBezTo>
                <a:close/>
                <a:moveTo>
                  <a:pt x="3331252" y="2447818"/>
                </a:moveTo>
                <a:cubicBezTo>
                  <a:pt x="3338791" y="2446925"/>
                  <a:pt x="3344335" y="2446925"/>
                  <a:pt x="3346239" y="2448020"/>
                </a:cubicBezTo>
                <a:cubicBezTo>
                  <a:pt x="3350050" y="2450211"/>
                  <a:pt x="3336717" y="2456306"/>
                  <a:pt x="3317668" y="2461260"/>
                </a:cubicBezTo>
                <a:cubicBezTo>
                  <a:pt x="3298621" y="2466213"/>
                  <a:pt x="3279856" y="2468213"/>
                  <a:pt x="3275761" y="2466213"/>
                </a:cubicBezTo>
                <a:cubicBezTo>
                  <a:pt x="3271382" y="2464022"/>
                  <a:pt x="3284617" y="2457926"/>
                  <a:pt x="3304333" y="2452973"/>
                </a:cubicBezTo>
                <a:cubicBezTo>
                  <a:pt x="3314191" y="2450497"/>
                  <a:pt x="3323717" y="2448711"/>
                  <a:pt x="3331252" y="2447818"/>
                </a:cubicBezTo>
                <a:close/>
                <a:moveTo>
                  <a:pt x="1312355" y="2447258"/>
                </a:moveTo>
                <a:cubicBezTo>
                  <a:pt x="1325795" y="2446815"/>
                  <a:pt x="1339254" y="2447228"/>
                  <a:pt x="1352646" y="2448496"/>
                </a:cubicBezTo>
                <a:cubicBezTo>
                  <a:pt x="1363962" y="2449335"/>
                  <a:pt x="1375182" y="2451184"/>
                  <a:pt x="1386174" y="2454021"/>
                </a:cubicBezTo>
                <a:cubicBezTo>
                  <a:pt x="1403129" y="2458783"/>
                  <a:pt x="1397033" y="2462879"/>
                  <a:pt x="1371411" y="2464117"/>
                </a:cubicBezTo>
                <a:cubicBezTo>
                  <a:pt x="1365124" y="2464117"/>
                  <a:pt x="1358456" y="2464117"/>
                  <a:pt x="1351789" y="2464117"/>
                </a:cubicBezTo>
                <a:cubicBezTo>
                  <a:pt x="1345121" y="2464117"/>
                  <a:pt x="1338359" y="2463450"/>
                  <a:pt x="1331882" y="2462879"/>
                </a:cubicBezTo>
                <a:cubicBezTo>
                  <a:pt x="1325405" y="2462307"/>
                  <a:pt x="1319118" y="2461450"/>
                  <a:pt x="1313403" y="2460498"/>
                </a:cubicBezTo>
                <a:cubicBezTo>
                  <a:pt x="1308164" y="2459678"/>
                  <a:pt x="1302973" y="2458534"/>
                  <a:pt x="1297878" y="2457069"/>
                </a:cubicBezTo>
                <a:cubicBezTo>
                  <a:pt x="1279685" y="2452116"/>
                  <a:pt x="1285686" y="2447925"/>
                  <a:pt x="1312355" y="2447258"/>
                </a:cubicBezTo>
                <a:close/>
                <a:moveTo>
                  <a:pt x="3633472" y="2446686"/>
                </a:moveTo>
                <a:cubicBezTo>
                  <a:pt x="3633472" y="2448020"/>
                  <a:pt x="3624804" y="2451734"/>
                  <a:pt x="3614422" y="2454497"/>
                </a:cubicBezTo>
                <a:cubicBezTo>
                  <a:pt x="3607369" y="2456986"/>
                  <a:pt x="3599878" y="2457991"/>
                  <a:pt x="3592419" y="2457449"/>
                </a:cubicBezTo>
                <a:cubicBezTo>
                  <a:pt x="3591371" y="2456211"/>
                  <a:pt x="3600039" y="2452592"/>
                  <a:pt x="3610707" y="2449734"/>
                </a:cubicBezTo>
                <a:cubicBezTo>
                  <a:pt x="3617953" y="2446956"/>
                  <a:pt x="3625750" y="2445912"/>
                  <a:pt x="3633472" y="2446686"/>
                </a:cubicBezTo>
                <a:close/>
                <a:moveTo>
                  <a:pt x="1097655" y="2446019"/>
                </a:moveTo>
                <a:cubicBezTo>
                  <a:pt x="1103656" y="2446019"/>
                  <a:pt x="1109847" y="2446019"/>
                  <a:pt x="1116039" y="2447067"/>
                </a:cubicBezTo>
                <a:cubicBezTo>
                  <a:pt x="1122230" y="2448115"/>
                  <a:pt x="1128421" y="2448210"/>
                  <a:pt x="1134422" y="2449067"/>
                </a:cubicBezTo>
                <a:cubicBezTo>
                  <a:pt x="1140423" y="2449925"/>
                  <a:pt x="1146233" y="2450782"/>
                  <a:pt x="1151662" y="2451925"/>
                </a:cubicBezTo>
                <a:cubicBezTo>
                  <a:pt x="1157092" y="2453068"/>
                  <a:pt x="1161854" y="2454116"/>
                  <a:pt x="1166045" y="2455354"/>
                </a:cubicBezTo>
                <a:cubicBezTo>
                  <a:pt x="1182619" y="2460212"/>
                  <a:pt x="1178046" y="2463545"/>
                  <a:pt x="1154996" y="2463450"/>
                </a:cubicBezTo>
                <a:cubicBezTo>
                  <a:pt x="1142890" y="2463277"/>
                  <a:pt x="1130793" y="2462355"/>
                  <a:pt x="1118801" y="2460688"/>
                </a:cubicBezTo>
                <a:cubicBezTo>
                  <a:pt x="1107943" y="2459307"/>
                  <a:pt x="1097208" y="2457078"/>
                  <a:pt x="1086702" y="2454020"/>
                </a:cubicBezTo>
                <a:cubicBezTo>
                  <a:pt x="1069272" y="2448591"/>
                  <a:pt x="1073748" y="2445353"/>
                  <a:pt x="1097655" y="2446019"/>
                </a:cubicBezTo>
                <a:close/>
                <a:moveTo>
                  <a:pt x="2910417" y="2444746"/>
                </a:moveTo>
                <a:cubicBezTo>
                  <a:pt x="2921884" y="2443758"/>
                  <a:pt x="2930814" y="2444020"/>
                  <a:pt x="2934956" y="2445734"/>
                </a:cubicBezTo>
                <a:cubicBezTo>
                  <a:pt x="2943243" y="2449163"/>
                  <a:pt x="2928861" y="2456116"/>
                  <a:pt x="2902476" y="2462308"/>
                </a:cubicBezTo>
                <a:cubicBezTo>
                  <a:pt x="2876090" y="2468499"/>
                  <a:pt x="2847516" y="2471071"/>
                  <a:pt x="2838563" y="2467832"/>
                </a:cubicBezTo>
                <a:cubicBezTo>
                  <a:pt x="2829607" y="2464594"/>
                  <a:pt x="2843515" y="2457450"/>
                  <a:pt x="2870662" y="2451259"/>
                </a:cubicBezTo>
                <a:cubicBezTo>
                  <a:pt x="2884948" y="2447973"/>
                  <a:pt x="2898951" y="2445734"/>
                  <a:pt x="2910417" y="2444746"/>
                </a:cubicBezTo>
                <a:close/>
                <a:moveTo>
                  <a:pt x="2531466" y="2443508"/>
                </a:moveTo>
                <a:cubicBezTo>
                  <a:pt x="2545574" y="2442734"/>
                  <a:pt x="2557528" y="2443163"/>
                  <a:pt x="2563101" y="2445068"/>
                </a:cubicBezTo>
                <a:cubicBezTo>
                  <a:pt x="2574245" y="2448878"/>
                  <a:pt x="2558909" y="2456688"/>
                  <a:pt x="2531287" y="2462308"/>
                </a:cubicBezTo>
                <a:cubicBezTo>
                  <a:pt x="2503667" y="2467928"/>
                  <a:pt x="2469567" y="2469833"/>
                  <a:pt x="2457375" y="2466308"/>
                </a:cubicBezTo>
                <a:cubicBezTo>
                  <a:pt x="2444991" y="2462784"/>
                  <a:pt x="2458517" y="2454974"/>
                  <a:pt x="2486902" y="2449163"/>
                </a:cubicBezTo>
                <a:cubicBezTo>
                  <a:pt x="2501093" y="2446258"/>
                  <a:pt x="2517357" y="2444282"/>
                  <a:pt x="2531466" y="2443508"/>
                </a:cubicBezTo>
                <a:close/>
                <a:moveTo>
                  <a:pt x="3547651" y="2442877"/>
                </a:moveTo>
                <a:cubicBezTo>
                  <a:pt x="3548509" y="2444782"/>
                  <a:pt x="3538126" y="2449068"/>
                  <a:pt x="3523554" y="2452973"/>
                </a:cubicBezTo>
                <a:cubicBezTo>
                  <a:pt x="3514432" y="2456353"/>
                  <a:pt x="3504650" y="2457559"/>
                  <a:pt x="3494980" y="2456497"/>
                </a:cubicBezTo>
                <a:cubicBezTo>
                  <a:pt x="3493551" y="2454783"/>
                  <a:pt x="3503742" y="2450497"/>
                  <a:pt x="3519076" y="2446496"/>
                </a:cubicBezTo>
                <a:cubicBezTo>
                  <a:pt x="3534316" y="2442591"/>
                  <a:pt x="3546794" y="2440972"/>
                  <a:pt x="3547651" y="2442877"/>
                </a:cubicBezTo>
                <a:close/>
                <a:moveTo>
                  <a:pt x="3782062" y="2442495"/>
                </a:moveTo>
                <a:cubicBezTo>
                  <a:pt x="3778902" y="2444348"/>
                  <a:pt x="3775459" y="2445667"/>
                  <a:pt x="3771870" y="2446401"/>
                </a:cubicBezTo>
                <a:cubicBezTo>
                  <a:pt x="3768587" y="2447631"/>
                  <a:pt x="3765081" y="2448150"/>
                  <a:pt x="3761583" y="2447925"/>
                </a:cubicBezTo>
                <a:cubicBezTo>
                  <a:pt x="3764949" y="2445854"/>
                  <a:pt x="3768659" y="2444402"/>
                  <a:pt x="3772537" y="2443638"/>
                </a:cubicBezTo>
                <a:cubicBezTo>
                  <a:pt x="3777871" y="2442305"/>
                  <a:pt x="3782919" y="2441638"/>
                  <a:pt x="3782062" y="2442495"/>
                </a:cubicBezTo>
                <a:close/>
                <a:moveTo>
                  <a:pt x="3205682" y="2442270"/>
                </a:moveTo>
                <a:cubicBezTo>
                  <a:pt x="3214850" y="2441329"/>
                  <a:pt x="3221805" y="2441401"/>
                  <a:pt x="3224233" y="2442686"/>
                </a:cubicBezTo>
                <a:cubicBezTo>
                  <a:pt x="3229090" y="2445258"/>
                  <a:pt x="3213659" y="2452211"/>
                  <a:pt x="3190990" y="2458117"/>
                </a:cubicBezTo>
                <a:cubicBezTo>
                  <a:pt x="3168321" y="2464022"/>
                  <a:pt x="3144603" y="2466023"/>
                  <a:pt x="3140316" y="2463165"/>
                </a:cubicBezTo>
                <a:cubicBezTo>
                  <a:pt x="3136030" y="2460308"/>
                  <a:pt x="3151365" y="2453069"/>
                  <a:pt x="3173845" y="2447925"/>
                </a:cubicBezTo>
                <a:cubicBezTo>
                  <a:pt x="3185130" y="2445163"/>
                  <a:pt x="3196513" y="2443211"/>
                  <a:pt x="3205682" y="2442270"/>
                </a:cubicBezTo>
                <a:close/>
                <a:moveTo>
                  <a:pt x="3435764" y="2438376"/>
                </a:moveTo>
                <a:cubicBezTo>
                  <a:pt x="3442703" y="2437542"/>
                  <a:pt x="3447797" y="2437542"/>
                  <a:pt x="3449272" y="2438590"/>
                </a:cubicBezTo>
                <a:cubicBezTo>
                  <a:pt x="3452223" y="2440685"/>
                  <a:pt x="3437943" y="2446877"/>
                  <a:pt x="3420710" y="2451353"/>
                </a:cubicBezTo>
                <a:cubicBezTo>
                  <a:pt x="3403468" y="2455830"/>
                  <a:pt x="3385950" y="2457640"/>
                  <a:pt x="3383662" y="2455544"/>
                </a:cubicBezTo>
                <a:cubicBezTo>
                  <a:pt x="3381375" y="2453449"/>
                  <a:pt x="3393661" y="2447924"/>
                  <a:pt x="3411184" y="2443162"/>
                </a:cubicBezTo>
                <a:cubicBezTo>
                  <a:pt x="3420043" y="2440876"/>
                  <a:pt x="3428823" y="2439209"/>
                  <a:pt x="3435764" y="2438376"/>
                </a:cubicBezTo>
                <a:close/>
                <a:moveTo>
                  <a:pt x="3714911" y="2438114"/>
                </a:moveTo>
                <a:cubicBezTo>
                  <a:pt x="3709877" y="2441486"/>
                  <a:pt x="3704203" y="2443789"/>
                  <a:pt x="3698242" y="2444876"/>
                </a:cubicBezTo>
                <a:cubicBezTo>
                  <a:pt x="3692529" y="2446874"/>
                  <a:pt x="3686467" y="2447684"/>
                  <a:pt x="3680431" y="2447258"/>
                </a:cubicBezTo>
                <a:cubicBezTo>
                  <a:pt x="3679573" y="2446210"/>
                  <a:pt x="3687765" y="2442876"/>
                  <a:pt x="3697004" y="2440400"/>
                </a:cubicBezTo>
                <a:cubicBezTo>
                  <a:pt x="3706243" y="2437923"/>
                  <a:pt x="3715102" y="2436875"/>
                  <a:pt x="3714911" y="2438114"/>
                </a:cubicBezTo>
                <a:close/>
                <a:moveTo>
                  <a:pt x="1511242" y="2437161"/>
                </a:moveTo>
                <a:cubicBezTo>
                  <a:pt x="1525796" y="2436209"/>
                  <a:pt x="1540408" y="2436209"/>
                  <a:pt x="1554962" y="2437161"/>
                </a:cubicBezTo>
                <a:cubicBezTo>
                  <a:pt x="1566781" y="2437603"/>
                  <a:pt x="1578526" y="2439263"/>
                  <a:pt x="1590014" y="2442114"/>
                </a:cubicBezTo>
                <a:cubicBezTo>
                  <a:pt x="1606300" y="2446877"/>
                  <a:pt x="1597157" y="2451639"/>
                  <a:pt x="1568868" y="2454306"/>
                </a:cubicBezTo>
                <a:cubicBezTo>
                  <a:pt x="1542770" y="2456630"/>
                  <a:pt x="1516471" y="2454797"/>
                  <a:pt x="1490954" y="2448877"/>
                </a:cubicBezTo>
                <a:cubicBezTo>
                  <a:pt x="1475238" y="2444019"/>
                  <a:pt x="1483715" y="2439352"/>
                  <a:pt x="1511242" y="2437161"/>
                </a:cubicBezTo>
                <a:close/>
                <a:moveTo>
                  <a:pt x="2713788" y="2436400"/>
                </a:moveTo>
                <a:cubicBezTo>
                  <a:pt x="2723323" y="2435257"/>
                  <a:pt x="2732978" y="2435707"/>
                  <a:pt x="2742360" y="2437733"/>
                </a:cubicBezTo>
                <a:cubicBezTo>
                  <a:pt x="2752171" y="2441448"/>
                  <a:pt x="2737600" y="2449258"/>
                  <a:pt x="2709027" y="2455450"/>
                </a:cubicBezTo>
                <a:cubicBezTo>
                  <a:pt x="2695157" y="2458491"/>
                  <a:pt x="2681091" y="2460528"/>
                  <a:pt x="2666926" y="2461546"/>
                </a:cubicBezTo>
                <a:cubicBezTo>
                  <a:pt x="2657391" y="2462644"/>
                  <a:pt x="2647753" y="2462226"/>
                  <a:pt x="2638352" y="2460308"/>
                </a:cubicBezTo>
                <a:cubicBezTo>
                  <a:pt x="2627016" y="2456783"/>
                  <a:pt x="2641399" y="2448877"/>
                  <a:pt x="2670831" y="2442591"/>
                </a:cubicBezTo>
                <a:cubicBezTo>
                  <a:pt x="2684985" y="2439496"/>
                  <a:pt x="2699339" y="2437428"/>
                  <a:pt x="2713788" y="2436400"/>
                </a:cubicBezTo>
                <a:close/>
                <a:moveTo>
                  <a:pt x="3055317" y="2435697"/>
                </a:moveTo>
                <a:cubicBezTo>
                  <a:pt x="3065734" y="2434780"/>
                  <a:pt x="3073544" y="2435113"/>
                  <a:pt x="3076878" y="2436875"/>
                </a:cubicBezTo>
                <a:cubicBezTo>
                  <a:pt x="3083547" y="2440400"/>
                  <a:pt x="3068498" y="2447258"/>
                  <a:pt x="3041829" y="2453639"/>
                </a:cubicBezTo>
                <a:cubicBezTo>
                  <a:pt x="3015158" y="2460021"/>
                  <a:pt x="2990583" y="2462117"/>
                  <a:pt x="2983247" y="2458878"/>
                </a:cubicBezTo>
                <a:cubicBezTo>
                  <a:pt x="2975915" y="2455640"/>
                  <a:pt x="2990583" y="2448496"/>
                  <a:pt x="3018111" y="2442019"/>
                </a:cubicBezTo>
                <a:cubicBezTo>
                  <a:pt x="3031877" y="2438781"/>
                  <a:pt x="3044900" y="2436614"/>
                  <a:pt x="3055317" y="2435697"/>
                </a:cubicBezTo>
                <a:close/>
                <a:moveTo>
                  <a:pt x="3634139" y="2434590"/>
                </a:moveTo>
                <a:cubicBezTo>
                  <a:pt x="3634710" y="2436400"/>
                  <a:pt x="3626138" y="2439924"/>
                  <a:pt x="3612993" y="2443353"/>
                </a:cubicBezTo>
                <a:cubicBezTo>
                  <a:pt x="3599849" y="2446782"/>
                  <a:pt x="3589276" y="2448211"/>
                  <a:pt x="3588419" y="2446401"/>
                </a:cubicBezTo>
                <a:cubicBezTo>
                  <a:pt x="3587561" y="2444592"/>
                  <a:pt x="3596324" y="2441163"/>
                  <a:pt x="3609564" y="2437638"/>
                </a:cubicBezTo>
                <a:cubicBezTo>
                  <a:pt x="3623375" y="2434019"/>
                  <a:pt x="3633567" y="2432781"/>
                  <a:pt x="3634139" y="2434590"/>
                </a:cubicBezTo>
                <a:close/>
                <a:moveTo>
                  <a:pt x="3321895" y="2433209"/>
                </a:moveTo>
                <a:cubicBezTo>
                  <a:pt x="3330764" y="2432185"/>
                  <a:pt x="3337526" y="2432114"/>
                  <a:pt x="3339385" y="2433447"/>
                </a:cubicBezTo>
                <a:cubicBezTo>
                  <a:pt x="3343096" y="2436114"/>
                  <a:pt x="3326717" y="2442972"/>
                  <a:pt x="3306046" y="2448306"/>
                </a:cubicBezTo>
                <a:cubicBezTo>
                  <a:pt x="3285380" y="2453640"/>
                  <a:pt x="3264143" y="2455640"/>
                  <a:pt x="3260334" y="2453164"/>
                </a:cubicBezTo>
                <a:cubicBezTo>
                  <a:pt x="3256523" y="2450687"/>
                  <a:pt x="3271189" y="2443639"/>
                  <a:pt x="3291764" y="2438686"/>
                </a:cubicBezTo>
                <a:cubicBezTo>
                  <a:pt x="3302049" y="2436210"/>
                  <a:pt x="3313026" y="2434233"/>
                  <a:pt x="3321895" y="2433209"/>
                </a:cubicBezTo>
                <a:close/>
                <a:moveTo>
                  <a:pt x="3788253" y="2429828"/>
                </a:moveTo>
                <a:cubicBezTo>
                  <a:pt x="3788253" y="2430685"/>
                  <a:pt x="3782252" y="2433352"/>
                  <a:pt x="3775394" y="2435257"/>
                </a:cubicBezTo>
                <a:cubicBezTo>
                  <a:pt x="3770692" y="2436927"/>
                  <a:pt x="3765711" y="2437671"/>
                  <a:pt x="3760726" y="2437448"/>
                </a:cubicBezTo>
                <a:cubicBezTo>
                  <a:pt x="3760726" y="2436686"/>
                  <a:pt x="3766631" y="2433923"/>
                  <a:pt x="3773585" y="2432018"/>
                </a:cubicBezTo>
                <a:cubicBezTo>
                  <a:pt x="3778287" y="2430349"/>
                  <a:pt x="3783268" y="2429605"/>
                  <a:pt x="3788253" y="2429828"/>
                </a:cubicBezTo>
                <a:close/>
                <a:moveTo>
                  <a:pt x="859714" y="2429256"/>
                </a:moveTo>
                <a:cubicBezTo>
                  <a:pt x="864191" y="2429256"/>
                  <a:pt x="869239" y="2430303"/>
                  <a:pt x="875239" y="2431256"/>
                </a:cubicBezTo>
                <a:lnTo>
                  <a:pt x="884098" y="2432780"/>
                </a:lnTo>
                <a:lnTo>
                  <a:pt x="893147" y="2434399"/>
                </a:lnTo>
                <a:cubicBezTo>
                  <a:pt x="899243" y="2435637"/>
                  <a:pt x="905339" y="2436876"/>
                  <a:pt x="910958" y="2438209"/>
                </a:cubicBezTo>
                <a:cubicBezTo>
                  <a:pt x="916578" y="2439543"/>
                  <a:pt x="921722" y="2440876"/>
                  <a:pt x="925722" y="2442114"/>
                </a:cubicBezTo>
                <a:cubicBezTo>
                  <a:pt x="943153" y="2447353"/>
                  <a:pt x="941057" y="2451639"/>
                  <a:pt x="921626" y="2449734"/>
                </a:cubicBezTo>
                <a:cubicBezTo>
                  <a:pt x="910406" y="2448636"/>
                  <a:pt x="899243" y="2446951"/>
                  <a:pt x="888194" y="2444686"/>
                </a:cubicBezTo>
                <a:cubicBezTo>
                  <a:pt x="882193" y="2443543"/>
                  <a:pt x="876097" y="2442114"/>
                  <a:pt x="870668" y="2440686"/>
                </a:cubicBezTo>
                <a:cubicBezTo>
                  <a:pt x="865238" y="2439257"/>
                  <a:pt x="860095" y="2437828"/>
                  <a:pt x="856094" y="2436495"/>
                </a:cubicBezTo>
                <a:cubicBezTo>
                  <a:pt x="840093" y="2431065"/>
                  <a:pt x="841807" y="2427541"/>
                  <a:pt x="859714" y="2429256"/>
                </a:cubicBezTo>
                <a:close/>
                <a:moveTo>
                  <a:pt x="3536320" y="2428672"/>
                </a:moveTo>
                <a:cubicBezTo>
                  <a:pt x="3542296" y="2427970"/>
                  <a:pt x="3546463" y="2428018"/>
                  <a:pt x="3547368" y="2428875"/>
                </a:cubicBezTo>
                <a:cubicBezTo>
                  <a:pt x="3549272" y="2430875"/>
                  <a:pt x="3537844" y="2435923"/>
                  <a:pt x="3521746" y="2440210"/>
                </a:cubicBezTo>
                <a:cubicBezTo>
                  <a:pt x="3505651" y="2444496"/>
                  <a:pt x="3489554" y="2446496"/>
                  <a:pt x="3487839" y="2444401"/>
                </a:cubicBezTo>
                <a:cubicBezTo>
                  <a:pt x="3486126" y="2442305"/>
                  <a:pt x="3498127" y="2437257"/>
                  <a:pt x="3514415" y="2432971"/>
                </a:cubicBezTo>
                <a:cubicBezTo>
                  <a:pt x="3522557" y="2430828"/>
                  <a:pt x="3530343" y="2429375"/>
                  <a:pt x="3536320" y="2428672"/>
                </a:cubicBezTo>
                <a:close/>
                <a:moveTo>
                  <a:pt x="2883770" y="2426541"/>
                </a:moveTo>
                <a:cubicBezTo>
                  <a:pt x="2896309" y="2425660"/>
                  <a:pt x="2906047" y="2426113"/>
                  <a:pt x="2909622" y="2428113"/>
                </a:cubicBezTo>
                <a:cubicBezTo>
                  <a:pt x="2916766" y="2432113"/>
                  <a:pt x="2900096" y="2440305"/>
                  <a:pt x="2872377" y="2446401"/>
                </a:cubicBezTo>
                <a:cubicBezTo>
                  <a:pt x="2858612" y="2449526"/>
                  <a:pt x="2844640" y="2451627"/>
                  <a:pt x="2830562" y="2452687"/>
                </a:cubicBezTo>
                <a:cubicBezTo>
                  <a:pt x="2821761" y="2453881"/>
                  <a:pt x="2812819" y="2453428"/>
                  <a:pt x="2804177" y="2451354"/>
                </a:cubicBezTo>
                <a:cubicBezTo>
                  <a:pt x="2796176" y="2447925"/>
                  <a:pt x="2812752" y="2439162"/>
                  <a:pt x="2841133" y="2432971"/>
                </a:cubicBezTo>
                <a:cubicBezTo>
                  <a:pt x="2855898" y="2429637"/>
                  <a:pt x="2871235" y="2427422"/>
                  <a:pt x="2883770" y="2426541"/>
                </a:cubicBezTo>
                <a:close/>
                <a:moveTo>
                  <a:pt x="2263155" y="2426303"/>
                </a:moveTo>
                <a:cubicBezTo>
                  <a:pt x="2274747" y="2425555"/>
                  <a:pt x="2286377" y="2426421"/>
                  <a:pt x="2297731" y="2428875"/>
                </a:cubicBezTo>
                <a:cubicBezTo>
                  <a:pt x="2310209" y="2432780"/>
                  <a:pt x="2297731" y="2440686"/>
                  <a:pt x="2270299" y="2445829"/>
                </a:cubicBezTo>
                <a:cubicBezTo>
                  <a:pt x="2263346" y="2447068"/>
                  <a:pt x="2255726" y="2448211"/>
                  <a:pt x="2247916" y="2448973"/>
                </a:cubicBezTo>
                <a:cubicBezTo>
                  <a:pt x="2240105" y="2449735"/>
                  <a:pt x="2232104" y="2450306"/>
                  <a:pt x="2224579" y="2450497"/>
                </a:cubicBezTo>
                <a:cubicBezTo>
                  <a:pt x="2217054" y="2450687"/>
                  <a:pt x="2209911" y="2450497"/>
                  <a:pt x="2203815" y="2450497"/>
                </a:cubicBezTo>
                <a:cubicBezTo>
                  <a:pt x="2198716" y="2450341"/>
                  <a:pt x="2193649" y="2449736"/>
                  <a:pt x="2188667" y="2448687"/>
                </a:cubicBezTo>
                <a:cubicBezTo>
                  <a:pt x="2181142" y="2446687"/>
                  <a:pt x="2180571" y="2443543"/>
                  <a:pt x="2185714" y="2440305"/>
                </a:cubicBezTo>
                <a:cubicBezTo>
                  <a:pt x="2195276" y="2435469"/>
                  <a:pt x="2205577" y="2432251"/>
                  <a:pt x="2216197" y="2430780"/>
                </a:cubicBezTo>
                <a:cubicBezTo>
                  <a:pt x="2231722" y="2428190"/>
                  <a:pt x="2247420" y="2426695"/>
                  <a:pt x="2263155" y="2426303"/>
                </a:cubicBezTo>
                <a:close/>
                <a:moveTo>
                  <a:pt x="2022074" y="2426018"/>
                </a:moveTo>
                <a:cubicBezTo>
                  <a:pt x="2034408" y="2425572"/>
                  <a:pt x="2046753" y="2426595"/>
                  <a:pt x="2058840" y="2429066"/>
                </a:cubicBezTo>
                <a:cubicBezTo>
                  <a:pt x="2074556" y="2433161"/>
                  <a:pt x="2063983" y="2440496"/>
                  <a:pt x="2036266" y="2445068"/>
                </a:cubicBezTo>
                <a:cubicBezTo>
                  <a:pt x="2029408" y="2446211"/>
                  <a:pt x="2021788" y="2447068"/>
                  <a:pt x="2014072" y="2447639"/>
                </a:cubicBezTo>
                <a:cubicBezTo>
                  <a:pt x="2006357" y="2448211"/>
                  <a:pt x="1998452" y="2448497"/>
                  <a:pt x="1990928" y="2448592"/>
                </a:cubicBezTo>
                <a:cubicBezTo>
                  <a:pt x="1978507" y="2448942"/>
                  <a:pt x="1966086" y="2447953"/>
                  <a:pt x="1953875" y="2445639"/>
                </a:cubicBezTo>
                <a:cubicBezTo>
                  <a:pt x="1936921" y="2441353"/>
                  <a:pt x="1947017" y="2433923"/>
                  <a:pt x="1975783" y="2429542"/>
                </a:cubicBezTo>
                <a:cubicBezTo>
                  <a:pt x="1991109" y="2427291"/>
                  <a:pt x="2006577" y="2426113"/>
                  <a:pt x="2022074" y="2426018"/>
                </a:cubicBezTo>
                <a:close/>
                <a:moveTo>
                  <a:pt x="3191229" y="2425804"/>
                </a:moveTo>
                <a:cubicBezTo>
                  <a:pt x="3200896" y="2424851"/>
                  <a:pt x="3207947" y="2425113"/>
                  <a:pt x="3210613" y="2426780"/>
                </a:cubicBezTo>
                <a:cubicBezTo>
                  <a:pt x="3215946" y="2430113"/>
                  <a:pt x="3201181" y="2436971"/>
                  <a:pt x="3175655" y="2443258"/>
                </a:cubicBezTo>
                <a:cubicBezTo>
                  <a:pt x="3150127" y="2449449"/>
                  <a:pt x="3127266" y="2451735"/>
                  <a:pt x="3121267" y="2448592"/>
                </a:cubicBezTo>
                <a:cubicBezTo>
                  <a:pt x="3115268" y="2445449"/>
                  <a:pt x="3129841" y="2438495"/>
                  <a:pt x="3156128" y="2432114"/>
                </a:cubicBezTo>
                <a:cubicBezTo>
                  <a:pt x="3169273" y="2428923"/>
                  <a:pt x="3181561" y="2426756"/>
                  <a:pt x="3191229" y="2425804"/>
                </a:cubicBezTo>
                <a:close/>
                <a:moveTo>
                  <a:pt x="3718435" y="2424874"/>
                </a:moveTo>
                <a:cubicBezTo>
                  <a:pt x="3719769" y="2426017"/>
                  <a:pt x="3710149" y="2430113"/>
                  <a:pt x="3699385" y="2433066"/>
                </a:cubicBezTo>
                <a:cubicBezTo>
                  <a:pt x="3692493" y="2435535"/>
                  <a:pt x="3685162" y="2436541"/>
                  <a:pt x="3677859" y="2436018"/>
                </a:cubicBezTo>
                <a:cubicBezTo>
                  <a:pt x="3676811" y="2434780"/>
                  <a:pt x="3685574" y="2430970"/>
                  <a:pt x="3696242" y="2428113"/>
                </a:cubicBezTo>
                <a:cubicBezTo>
                  <a:pt x="3703354" y="2425578"/>
                  <a:pt x="3710896" y="2424477"/>
                  <a:pt x="3718435" y="2424874"/>
                </a:cubicBezTo>
                <a:close/>
                <a:moveTo>
                  <a:pt x="3434883" y="2422648"/>
                </a:moveTo>
                <a:cubicBezTo>
                  <a:pt x="3441846" y="2421922"/>
                  <a:pt x="3446416" y="2422208"/>
                  <a:pt x="3447655" y="2423541"/>
                </a:cubicBezTo>
                <a:cubicBezTo>
                  <a:pt x="3450130" y="2426208"/>
                  <a:pt x="3436418" y="2432019"/>
                  <a:pt x="3416425" y="2437162"/>
                </a:cubicBezTo>
                <a:cubicBezTo>
                  <a:pt x="3396329" y="2442306"/>
                  <a:pt x="3379092" y="2444306"/>
                  <a:pt x="3375857" y="2441829"/>
                </a:cubicBezTo>
                <a:cubicBezTo>
                  <a:pt x="3372620" y="2439353"/>
                  <a:pt x="3386139" y="2433257"/>
                  <a:pt x="3407757" y="2427827"/>
                </a:cubicBezTo>
                <a:cubicBezTo>
                  <a:pt x="3418568" y="2425113"/>
                  <a:pt x="3427920" y="2423374"/>
                  <a:pt x="3434883" y="2422648"/>
                </a:cubicBezTo>
                <a:close/>
                <a:moveTo>
                  <a:pt x="2482555" y="2422112"/>
                </a:moveTo>
                <a:cubicBezTo>
                  <a:pt x="2497307" y="2421517"/>
                  <a:pt x="2509712" y="2422208"/>
                  <a:pt x="2515285" y="2424398"/>
                </a:cubicBezTo>
                <a:cubicBezTo>
                  <a:pt x="2526430" y="2428780"/>
                  <a:pt x="2510333" y="2437066"/>
                  <a:pt x="2481376" y="2442686"/>
                </a:cubicBezTo>
                <a:cubicBezTo>
                  <a:pt x="2466508" y="2445522"/>
                  <a:pt x="2451449" y="2447272"/>
                  <a:pt x="2436324" y="2447925"/>
                </a:cubicBezTo>
                <a:cubicBezTo>
                  <a:pt x="2425550" y="2448856"/>
                  <a:pt x="2414692" y="2448149"/>
                  <a:pt x="2404129" y="2445829"/>
                </a:cubicBezTo>
                <a:cubicBezTo>
                  <a:pt x="2391365" y="2441734"/>
                  <a:pt x="2405844" y="2433447"/>
                  <a:pt x="2435753" y="2427541"/>
                </a:cubicBezTo>
                <a:cubicBezTo>
                  <a:pt x="2450707" y="2424589"/>
                  <a:pt x="2467805" y="2422708"/>
                  <a:pt x="2482555" y="2422112"/>
                </a:cubicBezTo>
                <a:close/>
                <a:moveTo>
                  <a:pt x="3859882" y="2421731"/>
                </a:moveTo>
                <a:cubicBezTo>
                  <a:pt x="3859882" y="2422303"/>
                  <a:pt x="3855786" y="2424208"/>
                  <a:pt x="3851024" y="2425541"/>
                </a:cubicBezTo>
                <a:cubicBezTo>
                  <a:pt x="3847535" y="2426885"/>
                  <a:pt x="3843802" y="2427469"/>
                  <a:pt x="3840070" y="2427256"/>
                </a:cubicBezTo>
                <a:cubicBezTo>
                  <a:pt x="3842983" y="2425388"/>
                  <a:pt x="3846210" y="2424065"/>
                  <a:pt x="3849595" y="2423351"/>
                </a:cubicBezTo>
                <a:cubicBezTo>
                  <a:pt x="3852900" y="2422202"/>
                  <a:pt x="3856383" y="2421653"/>
                  <a:pt x="3859882" y="2421731"/>
                </a:cubicBezTo>
                <a:close/>
                <a:moveTo>
                  <a:pt x="3638997" y="2420302"/>
                </a:moveTo>
                <a:cubicBezTo>
                  <a:pt x="3639949" y="2422398"/>
                  <a:pt x="3629472" y="2426494"/>
                  <a:pt x="3614613" y="2430494"/>
                </a:cubicBezTo>
                <a:cubicBezTo>
                  <a:pt x="3599754" y="2434495"/>
                  <a:pt x="3587943" y="2435923"/>
                  <a:pt x="3586704" y="2434018"/>
                </a:cubicBezTo>
                <a:cubicBezTo>
                  <a:pt x="3585466" y="2432113"/>
                  <a:pt x="3595658" y="2427732"/>
                  <a:pt x="3611088" y="2423731"/>
                </a:cubicBezTo>
                <a:cubicBezTo>
                  <a:pt x="3626328" y="2419636"/>
                  <a:pt x="3638044" y="2418207"/>
                  <a:pt x="3638997" y="2420302"/>
                </a:cubicBezTo>
                <a:close/>
                <a:moveTo>
                  <a:pt x="1750229" y="2420017"/>
                </a:moveTo>
                <a:cubicBezTo>
                  <a:pt x="1762743" y="2420130"/>
                  <a:pt x="1775221" y="2421503"/>
                  <a:pt x="1787470" y="2424112"/>
                </a:cubicBezTo>
                <a:cubicBezTo>
                  <a:pt x="1805377" y="2428875"/>
                  <a:pt x="1795662" y="2435638"/>
                  <a:pt x="1766421" y="2439067"/>
                </a:cubicBezTo>
                <a:cubicBezTo>
                  <a:pt x="1751485" y="2440585"/>
                  <a:pt x="1736465" y="2441094"/>
                  <a:pt x="1721463" y="2440591"/>
                </a:cubicBezTo>
                <a:cubicBezTo>
                  <a:pt x="1709062" y="2440366"/>
                  <a:pt x="1696708" y="2438898"/>
                  <a:pt x="1684601" y="2436209"/>
                </a:cubicBezTo>
                <a:cubicBezTo>
                  <a:pt x="1667075" y="2431256"/>
                  <a:pt x="1675934" y="2424875"/>
                  <a:pt x="1704509" y="2421636"/>
                </a:cubicBezTo>
                <a:cubicBezTo>
                  <a:pt x="1719691" y="2420084"/>
                  <a:pt x="1734970" y="2419543"/>
                  <a:pt x="1750229" y="2420017"/>
                </a:cubicBezTo>
                <a:close/>
                <a:moveTo>
                  <a:pt x="3038278" y="2417076"/>
                </a:moveTo>
                <a:cubicBezTo>
                  <a:pt x="3050329" y="2416040"/>
                  <a:pt x="3059638" y="2416350"/>
                  <a:pt x="3062591" y="2418493"/>
                </a:cubicBezTo>
                <a:cubicBezTo>
                  <a:pt x="3068498" y="2422779"/>
                  <a:pt x="3050212" y="2430875"/>
                  <a:pt x="3023637" y="2436971"/>
                </a:cubicBezTo>
                <a:cubicBezTo>
                  <a:pt x="3010748" y="2439992"/>
                  <a:pt x="2997671" y="2442093"/>
                  <a:pt x="2984486" y="2443258"/>
                </a:cubicBezTo>
                <a:cubicBezTo>
                  <a:pt x="2976400" y="2444512"/>
                  <a:pt x="2968143" y="2444156"/>
                  <a:pt x="2960198" y="2442210"/>
                </a:cubicBezTo>
                <a:cubicBezTo>
                  <a:pt x="2952769" y="2438781"/>
                  <a:pt x="2969722" y="2430208"/>
                  <a:pt x="2997536" y="2423731"/>
                </a:cubicBezTo>
                <a:cubicBezTo>
                  <a:pt x="3011444" y="2420493"/>
                  <a:pt x="3026232" y="2418111"/>
                  <a:pt x="3038278" y="2417076"/>
                </a:cubicBezTo>
                <a:close/>
                <a:moveTo>
                  <a:pt x="3797111" y="2416969"/>
                </a:moveTo>
                <a:cubicBezTo>
                  <a:pt x="3791937" y="2420214"/>
                  <a:pt x="3786177" y="2422414"/>
                  <a:pt x="3780157" y="2423446"/>
                </a:cubicBezTo>
                <a:cubicBezTo>
                  <a:pt x="3774692" y="2425511"/>
                  <a:pt x="3768827" y="2426295"/>
                  <a:pt x="3763012" y="2425732"/>
                </a:cubicBezTo>
                <a:cubicBezTo>
                  <a:pt x="3767916" y="2422453"/>
                  <a:pt x="3773473" y="2420277"/>
                  <a:pt x="3779300" y="2419350"/>
                </a:cubicBezTo>
                <a:cubicBezTo>
                  <a:pt x="3788825" y="2416873"/>
                  <a:pt x="3797397" y="2415635"/>
                  <a:pt x="3797111" y="2416969"/>
                </a:cubicBezTo>
                <a:close/>
                <a:moveTo>
                  <a:pt x="3316406" y="2415575"/>
                </a:moveTo>
                <a:cubicBezTo>
                  <a:pt x="3325097" y="2414730"/>
                  <a:pt x="3331289" y="2415016"/>
                  <a:pt x="3333195" y="2416587"/>
                </a:cubicBezTo>
                <a:cubicBezTo>
                  <a:pt x="3337005" y="2419730"/>
                  <a:pt x="3321384" y="2426874"/>
                  <a:pt x="3296810" y="2432875"/>
                </a:cubicBezTo>
                <a:cubicBezTo>
                  <a:pt x="3272240" y="2438876"/>
                  <a:pt x="3252617" y="2440685"/>
                  <a:pt x="3248234" y="2437637"/>
                </a:cubicBezTo>
                <a:cubicBezTo>
                  <a:pt x="3243665" y="2434494"/>
                  <a:pt x="3259380" y="2427541"/>
                  <a:pt x="3284617" y="2421350"/>
                </a:cubicBezTo>
                <a:cubicBezTo>
                  <a:pt x="3296525" y="2418397"/>
                  <a:pt x="3307716" y="2416421"/>
                  <a:pt x="3316406" y="2415575"/>
                </a:cubicBezTo>
                <a:close/>
                <a:moveTo>
                  <a:pt x="2677308" y="2414397"/>
                </a:moveTo>
                <a:cubicBezTo>
                  <a:pt x="2687310" y="2413299"/>
                  <a:pt x="2697434" y="2413943"/>
                  <a:pt x="2707215" y="2416302"/>
                </a:cubicBezTo>
                <a:cubicBezTo>
                  <a:pt x="2712931" y="2418398"/>
                  <a:pt x="2711788" y="2421541"/>
                  <a:pt x="2705311" y="2424970"/>
                </a:cubicBezTo>
                <a:cubicBezTo>
                  <a:pt x="2694405" y="2429919"/>
                  <a:pt x="2682919" y="2433472"/>
                  <a:pt x="2671117" y="2435543"/>
                </a:cubicBezTo>
                <a:cubicBezTo>
                  <a:pt x="2640826" y="2441924"/>
                  <a:pt x="2609013" y="2443639"/>
                  <a:pt x="2597392" y="2439543"/>
                </a:cubicBezTo>
                <a:cubicBezTo>
                  <a:pt x="2591486" y="2437448"/>
                  <a:pt x="2592343" y="2434400"/>
                  <a:pt x="2598536" y="2430971"/>
                </a:cubicBezTo>
                <a:cubicBezTo>
                  <a:pt x="2609299" y="2426130"/>
                  <a:pt x="2620634" y="2422643"/>
                  <a:pt x="2632255" y="2420588"/>
                </a:cubicBezTo>
                <a:cubicBezTo>
                  <a:pt x="2640064" y="2418969"/>
                  <a:pt x="2647971" y="2417540"/>
                  <a:pt x="2655590" y="2416588"/>
                </a:cubicBezTo>
                <a:cubicBezTo>
                  <a:pt x="2663211" y="2415635"/>
                  <a:pt x="2670545" y="2414778"/>
                  <a:pt x="2677308" y="2414397"/>
                </a:cubicBezTo>
                <a:close/>
                <a:moveTo>
                  <a:pt x="3538295" y="2413480"/>
                </a:moveTo>
                <a:cubicBezTo>
                  <a:pt x="3544820" y="2412753"/>
                  <a:pt x="3549274" y="2412873"/>
                  <a:pt x="3549940" y="2414016"/>
                </a:cubicBezTo>
                <a:cubicBezTo>
                  <a:pt x="3551272" y="2416302"/>
                  <a:pt x="3536320" y="2422874"/>
                  <a:pt x="3518794" y="2427255"/>
                </a:cubicBezTo>
                <a:cubicBezTo>
                  <a:pt x="3501270" y="2431637"/>
                  <a:pt x="3484790" y="2433542"/>
                  <a:pt x="3483173" y="2431256"/>
                </a:cubicBezTo>
                <a:cubicBezTo>
                  <a:pt x="3481362" y="2428875"/>
                  <a:pt x="3496318" y="2422493"/>
                  <a:pt x="3514222" y="2418016"/>
                </a:cubicBezTo>
                <a:cubicBezTo>
                  <a:pt x="3523177" y="2415778"/>
                  <a:pt x="3531773" y="2414206"/>
                  <a:pt x="3538295" y="2413480"/>
                </a:cubicBezTo>
                <a:close/>
                <a:moveTo>
                  <a:pt x="3725293" y="2410968"/>
                </a:moveTo>
                <a:cubicBezTo>
                  <a:pt x="3725769" y="2412682"/>
                  <a:pt x="3715196" y="2417064"/>
                  <a:pt x="3702623" y="2420493"/>
                </a:cubicBezTo>
                <a:cubicBezTo>
                  <a:pt x="3694931" y="2423348"/>
                  <a:pt x="3686692" y="2424423"/>
                  <a:pt x="3678525" y="2423636"/>
                </a:cubicBezTo>
                <a:cubicBezTo>
                  <a:pt x="3677287" y="2422017"/>
                  <a:pt x="3687574" y="2417635"/>
                  <a:pt x="3700337" y="2414206"/>
                </a:cubicBezTo>
                <a:cubicBezTo>
                  <a:pt x="3713101" y="2410777"/>
                  <a:pt x="3724817" y="2409253"/>
                  <a:pt x="3725293" y="2410968"/>
                </a:cubicBezTo>
                <a:close/>
                <a:moveTo>
                  <a:pt x="3870549" y="2408681"/>
                </a:moveTo>
                <a:cubicBezTo>
                  <a:pt x="3866116" y="2411282"/>
                  <a:pt x="3861291" y="2413148"/>
                  <a:pt x="3856261" y="2414206"/>
                </a:cubicBezTo>
                <a:cubicBezTo>
                  <a:pt x="3849880" y="2415920"/>
                  <a:pt x="3843879" y="2416682"/>
                  <a:pt x="3843879" y="2415825"/>
                </a:cubicBezTo>
                <a:cubicBezTo>
                  <a:pt x="3848005" y="2413092"/>
                  <a:pt x="3852636" y="2411214"/>
                  <a:pt x="3857500" y="2410301"/>
                </a:cubicBezTo>
                <a:cubicBezTo>
                  <a:pt x="3864262" y="2408491"/>
                  <a:pt x="3870930" y="2407634"/>
                  <a:pt x="3870549" y="2408681"/>
                </a:cubicBezTo>
                <a:close/>
                <a:moveTo>
                  <a:pt x="3176919" y="2408551"/>
                </a:moveTo>
                <a:cubicBezTo>
                  <a:pt x="3187729" y="2407658"/>
                  <a:pt x="3195611" y="2408063"/>
                  <a:pt x="3197658" y="2410016"/>
                </a:cubicBezTo>
                <a:cubicBezTo>
                  <a:pt x="3201754" y="2413921"/>
                  <a:pt x="3183466" y="2422112"/>
                  <a:pt x="3157747" y="2428208"/>
                </a:cubicBezTo>
                <a:cubicBezTo>
                  <a:pt x="3132030" y="2434304"/>
                  <a:pt x="3103646" y="2436876"/>
                  <a:pt x="3098788" y="2433161"/>
                </a:cubicBezTo>
                <a:cubicBezTo>
                  <a:pt x="3093930" y="2429447"/>
                  <a:pt x="3112599" y="2421160"/>
                  <a:pt x="3138602" y="2414873"/>
                </a:cubicBezTo>
                <a:cubicBezTo>
                  <a:pt x="3152367" y="2411635"/>
                  <a:pt x="3166108" y="2409444"/>
                  <a:pt x="3176919" y="2408551"/>
                </a:cubicBezTo>
                <a:close/>
                <a:moveTo>
                  <a:pt x="3428597" y="2407062"/>
                </a:moveTo>
                <a:cubicBezTo>
                  <a:pt x="3436656" y="2406253"/>
                  <a:pt x="3442276" y="2406491"/>
                  <a:pt x="3443559" y="2407920"/>
                </a:cubicBezTo>
                <a:cubicBezTo>
                  <a:pt x="3446129" y="2410777"/>
                  <a:pt x="3429562" y="2418207"/>
                  <a:pt x="3407946" y="2423636"/>
                </a:cubicBezTo>
                <a:cubicBezTo>
                  <a:pt x="3386330" y="2429065"/>
                  <a:pt x="3366526" y="2430970"/>
                  <a:pt x="3363477" y="2428303"/>
                </a:cubicBezTo>
                <a:cubicBezTo>
                  <a:pt x="3360336" y="2425350"/>
                  <a:pt x="3376903" y="2418016"/>
                  <a:pt x="3398993" y="2412492"/>
                </a:cubicBezTo>
                <a:cubicBezTo>
                  <a:pt x="3410042" y="2409730"/>
                  <a:pt x="3420541" y="2407872"/>
                  <a:pt x="3428597" y="2407062"/>
                </a:cubicBezTo>
                <a:close/>
                <a:moveTo>
                  <a:pt x="2857291" y="2405575"/>
                </a:moveTo>
                <a:cubicBezTo>
                  <a:pt x="2870520" y="2404730"/>
                  <a:pt x="2880997" y="2405206"/>
                  <a:pt x="2885142" y="2407254"/>
                </a:cubicBezTo>
                <a:cubicBezTo>
                  <a:pt x="2893427" y="2411349"/>
                  <a:pt x="2875330" y="2420969"/>
                  <a:pt x="2846660" y="2427446"/>
                </a:cubicBezTo>
                <a:cubicBezTo>
                  <a:pt x="2832352" y="2430632"/>
                  <a:pt x="2817837" y="2432796"/>
                  <a:pt x="2803226" y="2433923"/>
                </a:cubicBezTo>
                <a:cubicBezTo>
                  <a:pt x="2793511" y="2435179"/>
                  <a:pt x="2783641" y="2434727"/>
                  <a:pt x="2774079" y="2432590"/>
                </a:cubicBezTo>
                <a:cubicBezTo>
                  <a:pt x="2768840" y="2430685"/>
                  <a:pt x="2770937" y="2427256"/>
                  <a:pt x="2778081" y="2423065"/>
                </a:cubicBezTo>
                <a:cubicBezTo>
                  <a:pt x="2789203" y="2417916"/>
                  <a:pt x="2800910" y="2414141"/>
                  <a:pt x="2812941" y="2411825"/>
                </a:cubicBezTo>
                <a:cubicBezTo>
                  <a:pt x="2828084" y="2408587"/>
                  <a:pt x="2844064" y="2406420"/>
                  <a:pt x="2857291" y="2405575"/>
                </a:cubicBezTo>
                <a:close/>
                <a:moveTo>
                  <a:pt x="3630913" y="2405479"/>
                </a:moveTo>
                <a:cubicBezTo>
                  <a:pt x="3636663" y="2404824"/>
                  <a:pt x="3640378" y="2405015"/>
                  <a:pt x="3640616" y="2406205"/>
                </a:cubicBezTo>
                <a:cubicBezTo>
                  <a:pt x="3641092" y="2408586"/>
                  <a:pt x="3628615" y="2413730"/>
                  <a:pt x="3612708" y="2417921"/>
                </a:cubicBezTo>
                <a:cubicBezTo>
                  <a:pt x="3596801" y="2422112"/>
                  <a:pt x="3581847" y="2423922"/>
                  <a:pt x="3581085" y="2421540"/>
                </a:cubicBezTo>
                <a:cubicBezTo>
                  <a:pt x="3580323" y="2419159"/>
                  <a:pt x="3592801" y="2413635"/>
                  <a:pt x="3608993" y="2409825"/>
                </a:cubicBezTo>
                <a:cubicBezTo>
                  <a:pt x="3617375" y="2407634"/>
                  <a:pt x="3625162" y="2406134"/>
                  <a:pt x="3630913" y="2405479"/>
                </a:cubicBezTo>
                <a:close/>
                <a:moveTo>
                  <a:pt x="3802731" y="2403443"/>
                </a:moveTo>
                <a:cubicBezTo>
                  <a:pt x="3796931" y="2407605"/>
                  <a:pt x="3790249" y="2410376"/>
                  <a:pt x="3783205" y="2411539"/>
                </a:cubicBezTo>
                <a:cubicBezTo>
                  <a:pt x="3772633" y="2414397"/>
                  <a:pt x="3763012" y="2415635"/>
                  <a:pt x="3762822" y="2414206"/>
                </a:cubicBezTo>
                <a:cubicBezTo>
                  <a:pt x="3762631" y="2412777"/>
                  <a:pt x="3771775" y="2408968"/>
                  <a:pt x="3782443" y="2406110"/>
                </a:cubicBezTo>
                <a:cubicBezTo>
                  <a:pt x="3793111" y="2403252"/>
                  <a:pt x="3802636" y="2402014"/>
                  <a:pt x="3802731" y="2403443"/>
                </a:cubicBezTo>
                <a:close/>
                <a:moveTo>
                  <a:pt x="1173575" y="2403062"/>
                </a:moveTo>
                <a:cubicBezTo>
                  <a:pt x="1180243" y="2403062"/>
                  <a:pt x="1187482" y="2403062"/>
                  <a:pt x="1194910" y="2403729"/>
                </a:cubicBezTo>
                <a:cubicBezTo>
                  <a:pt x="1202340" y="2404396"/>
                  <a:pt x="1209770" y="2404777"/>
                  <a:pt x="1217104" y="2405634"/>
                </a:cubicBezTo>
                <a:lnTo>
                  <a:pt x="1227962" y="2407158"/>
                </a:lnTo>
                <a:lnTo>
                  <a:pt x="1233105" y="2408015"/>
                </a:lnTo>
                <a:lnTo>
                  <a:pt x="1238059" y="2408872"/>
                </a:lnTo>
                <a:cubicBezTo>
                  <a:pt x="1243821" y="2409842"/>
                  <a:pt x="1249517" y="2411178"/>
                  <a:pt x="1255108" y="2412873"/>
                </a:cubicBezTo>
                <a:cubicBezTo>
                  <a:pt x="1272920" y="2418302"/>
                  <a:pt x="1267681" y="2422398"/>
                  <a:pt x="1242916" y="2423350"/>
                </a:cubicBezTo>
                <a:cubicBezTo>
                  <a:pt x="1239773" y="2423350"/>
                  <a:pt x="1236535" y="2423350"/>
                  <a:pt x="1233391" y="2423350"/>
                </a:cubicBezTo>
                <a:lnTo>
                  <a:pt x="1223104" y="2423350"/>
                </a:lnTo>
                <a:cubicBezTo>
                  <a:pt x="1216151" y="2423350"/>
                  <a:pt x="1209007" y="2422302"/>
                  <a:pt x="1202149" y="2421445"/>
                </a:cubicBezTo>
                <a:cubicBezTo>
                  <a:pt x="1195291" y="2420588"/>
                  <a:pt x="1188338" y="2419540"/>
                  <a:pt x="1182053" y="2418397"/>
                </a:cubicBezTo>
                <a:cubicBezTo>
                  <a:pt x="1176298" y="2417198"/>
                  <a:pt x="1170603" y="2415705"/>
                  <a:pt x="1165003" y="2413921"/>
                </a:cubicBezTo>
                <a:cubicBezTo>
                  <a:pt x="1155478" y="2411063"/>
                  <a:pt x="1151000" y="2408301"/>
                  <a:pt x="1152525" y="2406396"/>
                </a:cubicBezTo>
                <a:cubicBezTo>
                  <a:pt x="1154049" y="2404491"/>
                  <a:pt x="1161193" y="2403157"/>
                  <a:pt x="1173575" y="2403062"/>
                </a:cubicBezTo>
                <a:close/>
                <a:moveTo>
                  <a:pt x="3936462" y="2401538"/>
                </a:moveTo>
                <a:cubicBezTo>
                  <a:pt x="3933916" y="2403277"/>
                  <a:pt x="3931024" y="2404447"/>
                  <a:pt x="3927985" y="2404967"/>
                </a:cubicBezTo>
                <a:cubicBezTo>
                  <a:pt x="3922365" y="2406586"/>
                  <a:pt x="3918460" y="2407158"/>
                  <a:pt x="3918460" y="2406396"/>
                </a:cubicBezTo>
                <a:cubicBezTo>
                  <a:pt x="3920975" y="2404583"/>
                  <a:pt x="3923878" y="2403376"/>
                  <a:pt x="3926937" y="2402872"/>
                </a:cubicBezTo>
                <a:cubicBezTo>
                  <a:pt x="3932557" y="2401348"/>
                  <a:pt x="3936462" y="2400776"/>
                  <a:pt x="3936462" y="2401538"/>
                </a:cubicBezTo>
                <a:close/>
                <a:moveTo>
                  <a:pt x="2200097" y="2400110"/>
                </a:moveTo>
                <a:cubicBezTo>
                  <a:pt x="2212540" y="2399403"/>
                  <a:pt x="2225009" y="2400461"/>
                  <a:pt x="2237152" y="2403253"/>
                </a:cubicBezTo>
                <a:cubicBezTo>
                  <a:pt x="2250868" y="2407729"/>
                  <a:pt x="2237725" y="2416016"/>
                  <a:pt x="2209053" y="2421255"/>
                </a:cubicBezTo>
                <a:cubicBezTo>
                  <a:pt x="2193020" y="2423942"/>
                  <a:pt x="2176818" y="2425406"/>
                  <a:pt x="2160568" y="2425637"/>
                </a:cubicBezTo>
                <a:cubicBezTo>
                  <a:pt x="2148015" y="2426279"/>
                  <a:pt x="2135423" y="2425255"/>
                  <a:pt x="2123135" y="2422588"/>
                </a:cubicBezTo>
                <a:cubicBezTo>
                  <a:pt x="2108277" y="2418017"/>
                  <a:pt x="2120850" y="2409825"/>
                  <a:pt x="2150567" y="2404491"/>
                </a:cubicBezTo>
                <a:cubicBezTo>
                  <a:pt x="2166940" y="2401779"/>
                  <a:pt x="2183504" y="2400314"/>
                  <a:pt x="2200097" y="2400110"/>
                </a:cubicBezTo>
                <a:close/>
                <a:moveTo>
                  <a:pt x="3304597" y="2398704"/>
                </a:moveTo>
                <a:cubicBezTo>
                  <a:pt x="3314668" y="2397704"/>
                  <a:pt x="3322097" y="2397918"/>
                  <a:pt x="3324431" y="2399537"/>
                </a:cubicBezTo>
                <a:cubicBezTo>
                  <a:pt x="3329097" y="2402776"/>
                  <a:pt x="3312622" y="2410872"/>
                  <a:pt x="3287761" y="2417159"/>
                </a:cubicBezTo>
                <a:cubicBezTo>
                  <a:pt x="3263571" y="2423350"/>
                  <a:pt x="3237566" y="2426112"/>
                  <a:pt x="3231567" y="2423255"/>
                </a:cubicBezTo>
                <a:cubicBezTo>
                  <a:pt x="3225566" y="2420397"/>
                  <a:pt x="3243092" y="2411634"/>
                  <a:pt x="3268905" y="2405157"/>
                </a:cubicBezTo>
                <a:cubicBezTo>
                  <a:pt x="3281809" y="2401919"/>
                  <a:pt x="3294525" y="2399704"/>
                  <a:pt x="3304597" y="2398704"/>
                </a:cubicBezTo>
                <a:close/>
                <a:moveTo>
                  <a:pt x="1390559" y="2398585"/>
                </a:moveTo>
                <a:cubicBezTo>
                  <a:pt x="1397512" y="2398585"/>
                  <a:pt x="1405132" y="2398585"/>
                  <a:pt x="1413038" y="2398585"/>
                </a:cubicBezTo>
                <a:cubicBezTo>
                  <a:pt x="1420944" y="2398585"/>
                  <a:pt x="1429040" y="2399347"/>
                  <a:pt x="1436660" y="2400014"/>
                </a:cubicBezTo>
                <a:cubicBezTo>
                  <a:pt x="1449337" y="2400763"/>
                  <a:pt x="1461911" y="2402773"/>
                  <a:pt x="1474188" y="2406014"/>
                </a:cubicBezTo>
                <a:cubicBezTo>
                  <a:pt x="1481807" y="2408491"/>
                  <a:pt x="1483712" y="2411158"/>
                  <a:pt x="1480474" y="2413444"/>
                </a:cubicBezTo>
                <a:cubicBezTo>
                  <a:pt x="1477940" y="2414996"/>
                  <a:pt x="1475122" y="2416031"/>
                  <a:pt x="1472187" y="2416492"/>
                </a:cubicBezTo>
                <a:cubicBezTo>
                  <a:pt x="1467158" y="2417505"/>
                  <a:pt x="1462072" y="2418143"/>
                  <a:pt x="1456948" y="2418397"/>
                </a:cubicBezTo>
                <a:cubicBezTo>
                  <a:pt x="1450471" y="2418397"/>
                  <a:pt x="1443136" y="2418969"/>
                  <a:pt x="1435517" y="2418397"/>
                </a:cubicBezTo>
                <a:cubicBezTo>
                  <a:pt x="1427897" y="2417825"/>
                  <a:pt x="1419801" y="2417825"/>
                  <a:pt x="1412181" y="2417159"/>
                </a:cubicBezTo>
                <a:cubicBezTo>
                  <a:pt x="1404561" y="2416492"/>
                  <a:pt x="1397036" y="2415730"/>
                  <a:pt x="1390368" y="2414682"/>
                </a:cubicBezTo>
                <a:cubicBezTo>
                  <a:pt x="1384596" y="2413891"/>
                  <a:pt x="1378872" y="2412777"/>
                  <a:pt x="1373224" y="2411349"/>
                </a:cubicBezTo>
                <a:cubicBezTo>
                  <a:pt x="1354840" y="2405824"/>
                  <a:pt x="1362936" y="2399728"/>
                  <a:pt x="1390559" y="2398585"/>
                </a:cubicBezTo>
                <a:close/>
                <a:moveTo>
                  <a:pt x="3014885" y="2398157"/>
                </a:moveTo>
                <a:cubicBezTo>
                  <a:pt x="3027256" y="2397252"/>
                  <a:pt x="3036590" y="2397824"/>
                  <a:pt x="3040209" y="2400014"/>
                </a:cubicBezTo>
                <a:cubicBezTo>
                  <a:pt x="3047447" y="2404396"/>
                  <a:pt x="3029255" y="2412873"/>
                  <a:pt x="2999252" y="2419826"/>
                </a:cubicBezTo>
                <a:cubicBezTo>
                  <a:pt x="2985582" y="2423048"/>
                  <a:pt x="2971704" y="2425276"/>
                  <a:pt x="2957724" y="2426494"/>
                </a:cubicBezTo>
                <a:cubicBezTo>
                  <a:pt x="2949170" y="2427732"/>
                  <a:pt x="2940443" y="2427213"/>
                  <a:pt x="2932100" y="2424970"/>
                </a:cubicBezTo>
                <a:cubicBezTo>
                  <a:pt x="2927815" y="2422874"/>
                  <a:pt x="2929910" y="2419731"/>
                  <a:pt x="2936957" y="2416207"/>
                </a:cubicBezTo>
                <a:cubicBezTo>
                  <a:pt x="2947988" y="2411295"/>
                  <a:pt x="2959515" y="2407591"/>
                  <a:pt x="2971343" y="2405158"/>
                </a:cubicBezTo>
                <a:cubicBezTo>
                  <a:pt x="2987107" y="2401443"/>
                  <a:pt x="3002513" y="2399062"/>
                  <a:pt x="3014885" y="2398157"/>
                </a:cubicBezTo>
                <a:close/>
                <a:moveTo>
                  <a:pt x="3534630" y="2398157"/>
                </a:moveTo>
                <a:cubicBezTo>
                  <a:pt x="3541843" y="2397347"/>
                  <a:pt x="3546748" y="2397586"/>
                  <a:pt x="3547845" y="2399062"/>
                </a:cubicBezTo>
                <a:cubicBezTo>
                  <a:pt x="3550035" y="2402014"/>
                  <a:pt x="3536320" y="2407729"/>
                  <a:pt x="3516034" y="2413063"/>
                </a:cubicBezTo>
                <a:cubicBezTo>
                  <a:pt x="3495175" y="2418493"/>
                  <a:pt x="3477937" y="2420493"/>
                  <a:pt x="3475745" y="2417635"/>
                </a:cubicBezTo>
                <a:cubicBezTo>
                  <a:pt x="3473558" y="2414778"/>
                  <a:pt x="3486886" y="2408968"/>
                  <a:pt x="3507557" y="2403538"/>
                </a:cubicBezTo>
                <a:cubicBezTo>
                  <a:pt x="3517890" y="2400824"/>
                  <a:pt x="3527415" y="2398966"/>
                  <a:pt x="3534630" y="2398157"/>
                </a:cubicBezTo>
                <a:close/>
                <a:moveTo>
                  <a:pt x="2432715" y="2397645"/>
                </a:moveTo>
                <a:cubicBezTo>
                  <a:pt x="2447348" y="2397133"/>
                  <a:pt x="2459564" y="2398014"/>
                  <a:pt x="2466516" y="2400395"/>
                </a:cubicBezTo>
                <a:cubicBezTo>
                  <a:pt x="2472993" y="2402681"/>
                  <a:pt x="2473089" y="2405824"/>
                  <a:pt x="2467756" y="2409158"/>
                </a:cubicBezTo>
                <a:cubicBezTo>
                  <a:pt x="2457821" y="2414046"/>
                  <a:pt x="2447238" y="2417479"/>
                  <a:pt x="2436322" y="2419350"/>
                </a:cubicBezTo>
                <a:cubicBezTo>
                  <a:pt x="2404317" y="2425446"/>
                  <a:pt x="2369648" y="2426874"/>
                  <a:pt x="2354026" y="2422302"/>
                </a:cubicBezTo>
                <a:cubicBezTo>
                  <a:pt x="2338310" y="2417730"/>
                  <a:pt x="2351168" y="2409634"/>
                  <a:pt x="2384412" y="2403252"/>
                </a:cubicBezTo>
                <a:cubicBezTo>
                  <a:pt x="2401032" y="2400062"/>
                  <a:pt x="2418082" y="2398157"/>
                  <a:pt x="2432715" y="2397645"/>
                </a:cubicBezTo>
                <a:close/>
                <a:moveTo>
                  <a:pt x="1937491" y="2397252"/>
                </a:moveTo>
                <a:cubicBezTo>
                  <a:pt x="1950474" y="2397016"/>
                  <a:pt x="1963437" y="2398198"/>
                  <a:pt x="1976162" y="2400776"/>
                </a:cubicBezTo>
                <a:cubicBezTo>
                  <a:pt x="1993117" y="2405253"/>
                  <a:pt x="1981782" y="2413635"/>
                  <a:pt x="1953017" y="2417826"/>
                </a:cubicBezTo>
                <a:cubicBezTo>
                  <a:pt x="1946159" y="2418873"/>
                  <a:pt x="1938444" y="2419636"/>
                  <a:pt x="1930538" y="2420112"/>
                </a:cubicBezTo>
                <a:cubicBezTo>
                  <a:pt x="1922632" y="2420588"/>
                  <a:pt x="1914345" y="2420779"/>
                  <a:pt x="1906535" y="2420683"/>
                </a:cubicBezTo>
                <a:cubicBezTo>
                  <a:pt x="1893390" y="2420881"/>
                  <a:pt x="1880266" y="2419668"/>
                  <a:pt x="1867387" y="2417064"/>
                </a:cubicBezTo>
                <a:cubicBezTo>
                  <a:pt x="1849195" y="2412396"/>
                  <a:pt x="1860053" y="2404015"/>
                  <a:pt x="1889867" y="2399919"/>
                </a:cubicBezTo>
                <a:cubicBezTo>
                  <a:pt x="1905658" y="2397884"/>
                  <a:pt x="1921575" y="2396993"/>
                  <a:pt x="1937491" y="2397252"/>
                </a:cubicBezTo>
                <a:close/>
                <a:moveTo>
                  <a:pt x="3728626" y="2396585"/>
                </a:moveTo>
                <a:cubicBezTo>
                  <a:pt x="3729579" y="2398585"/>
                  <a:pt x="3719673" y="2402967"/>
                  <a:pt x="3704719" y="2406967"/>
                </a:cubicBezTo>
                <a:cubicBezTo>
                  <a:pt x="3689764" y="2410968"/>
                  <a:pt x="3677953" y="2412587"/>
                  <a:pt x="3676715" y="2410682"/>
                </a:cubicBezTo>
                <a:cubicBezTo>
                  <a:pt x="3675477" y="2408777"/>
                  <a:pt x="3685478" y="2404776"/>
                  <a:pt x="3700718" y="2400300"/>
                </a:cubicBezTo>
                <a:cubicBezTo>
                  <a:pt x="3715958" y="2396204"/>
                  <a:pt x="3727674" y="2394585"/>
                  <a:pt x="3728626" y="2396585"/>
                </a:cubicBezTo>
                <a:close/>
                <a:moveTo>
                  <a:pt x="3878360" y="2395537"/>
                </a:moveTo>
                <a:cubicBezTo>
                  <a:pt x="3873427" y="2398732"/>
                  <a:pt x="3867932" y="2400962"/>
                  <a:pt x="3862168" y="2402109"/>
                </a:cubicBezTo>
                <a:cubicBezTo>
                  <a:pt x="3853786" y="2404491"/>
                  <a:pt x="3845308" y="2405634"/>
                  <a:pt x="3845404" y="2404491"/>
                </a:cubicBezTo>
                <a:cubicBezTo>
                  <a:pt x="3850500" y="2401086"/>
                  <a:pt x="3856236" y="2398753"/>
                  <a:pt x="3862263" y="2397633"/>
                </a:cubicBezTo>
                <a:cubicBezTo>
                  <a:pt x="3870835" y="2395347"/>
                  <a:pt x="3878932" y="2394299"/>
                  <a:pt x="3878360" y="2395537"/>
                </a:cubicBezTo>
                <a:close/>
                <a:moveTo>
                  <a:pt x="2633110" y="2392775"/>
                </a:moveTo>
                <a:cubicBezTo>
                  <a:pt x="2644055" y="2391623"/>
                  <a:pt x="2655124" y="2392430"/>
                  <a:pt x="2665781" y="2395157"/>
                </a:cubicBezTo>
                <a:cubicBezTo>
                  <a:pt x="2677498" y="2399633"/>
                  <a:pt x="2662352" y="2408301"/>
                  <a:pt x="2630824" y="2415064"/>
                </a:cubicBezTo>
                <a:cubicBezTo>
                  <a:pt x="2622918" y="2416683"/>
                  <a:pt x="2614918" y="2418112"/>
                  <a:pt x="2607012" y="2419160"/>
                </a:cubicBezTo>
                <a:cubicBezTo>
                  <a:pt x="2599108" y="2420207"/>
                  <a:pt x="2591583" y="2420969"/>
                  <a:pt x="2584438" y="2421350"/>
                </a:cubicBezTo>
                <a:cubicBezTo>
                  <a:pt x="2573541" y="2422434"/>
                  <a:pt x="2562540" y="2421759"/>
                  <a:pt x="2551863" y="2419350"/>
                </a:cubicBezTo>
                <a:cubicBezTo>
                  <a:pt x="2538147" y="2414969"/>
                  <a:pt x="2551863" y="2406396"/>
                  <a:pt x="2584438" y="2399443"/>
                </a:cubicBezTo>
                <a:cubicBezTo>
                  <a:pt x="2600488" y="2396066"/>
                  <a:pt x="2616748" y="2393839"/>
                  <a:pt x="2633110" y="2392775"/>
                </a:cubicBezTo>
                <a:close/>
                <a:moveTo>
                  <a:pt x="940874" y="2390775"/>
                </a:moveTo>
                <a:cubicBezTo>
                  <a:pt x="947256" y="2390775"/>
                  <a:pt x="954019" y="2391918"/>
                  <a:pt x="960876" y="2392775"/>
                </a:cubicBezTo>
                <a:cubicBezTo>
                  <a:pt x="967734" y="2393632"/>
                  <a:pt x="974402" y="2394680"/>
                  <a:pt x="981165" y="2395918"/>
                </a:cubicBezTo>
                <a:cubicBezTo>
                  <a:pt x="987927" y="2397157"/>
                  <a:pt x="994309" y="2398490"/>
                  <a:pt x="1000215" y="2400014"/>
                </a:cubicBezTo>
                <a:cubicBezTo>
                  <a:pt x="1006120" y="2401538"/>
                  <a:pt x="1011740" y="2402967"/>
                  <a:pt x="1016693" y="2404681"/>
                </a:cubicBezTo>
                <a:cubicBezTo>
                  <a:pt x="1035743" y="2411063"/>
                  <a:pt x="1031266" y="2414206"/>
                  <a:pt x="1005358" y="2412968"/>
                </a:cubicBezTo>
                <a:lnTo>
                  <a:pt x="1000786" y="2412968"/>
                </a:lnTo>
                <a:lnTo>
                  <a:pt x="996119" y="2412968"/>
                </a:lnTo>
                <a:cubicBezTo>
                  <a:pt x="992975" y="2412968"/>
                  <a:pt x="989737" y="2412301"/>
                  <a:pt x="986595" y="2411825"/>
                </a:cubicBezTo>
                <a:cubicBezTo>
                  <a:pt x="980212" y="2411063"/>
                  <a:pt x="973830" y="2410015"/>
                  <a:pt x="967544" y="2408872"/>
                </a:cubicBezTo>
                <a:lnTo>
                  <a:pt x="962877" y="2407920"/>
                </a:lnTo>
                <a:lnTo>
                  <a:pt x="958304" y="2406967"/>
                </a:lnTo>
                <a:lnTo>
                  <a:pt x="949351" y="2404777"/>
                </a:lnTo>
                <a:cubicBezTo>
                  <a:pt x="943732" y="2402967"/>
                  <a:pt x="938302" y="2401348"/>
                  <a:pt x="933541" y="2399728"/>
                </a:cubicBezTo>
                <a:cubicBezTo>
                  <a:pt x="924015" y="2396394"/>
                  <a:pt x="919728" y="2393728"/>
                  <a:pt x="921063" y="2392204"/>
                </a:cubicBezTo>
                <a:cubicBezTo>
                  <a:pt x="922396" y="2390680"/>
                  <a:pt x="923730" y="2391061"/>
                  <a:pt x="926967" y="2390870"/>
                </a:cubicBezTo>
                <a:cubicBezTo>
                  <a:pt x="931596" y="2390567"/>
                  <a:pt x="936246" y="2390535"/>
                  <a:pt x="940874" y="2390775"/>
                </a:cubicBezTo>
                <a:close/>
                <a:moveTo>
                  <a:pt x="3424551" y="2389644"/>
                </a:moveTo>
                <a:cubicBezTo>
                  <a:pt x="3433870" y="2388655"/>
                  <a:pt x="3440608" y="2388870"/>
                  <a:pt x="3442224" y="2390584"/>
                </a:cubicBezTo>
                <a:cubicBezTo>
                  <a:pt x="3445463" y="2394013"/>
                  <a:pt x="3428038" y="2401633"/>
                  <a:pt x="3404803" y="2407539"/>
                </a:cubicBezTo>
                <a:cubicBezTo>
                  <a:pt x="3381568" y="2413444"/>
                  <a:pt x="3359003" y="2415921"/>
                  <a:pt x="3355097" y="2412873"/>
                </a:cubicBezTo>
                <a:cubicBezTo>
                  <a:pt x="3351097" y="2409730"/>
                  <a:pt x="3367477" y="2402110"/>
                  <a:pt x="3391376" y="2395918"/>
                </a:cubicBezTo>
                <a:cubicBezTo>
                  <a:pt x="3403326" y="2392823"/>
                  <a:pt x="3415233" y="2390632"/>
                  <a:pt x="3424551" y="2389644"/>
                </a:cubicBezTo>
                <a:close/>
                <a:moveTo>
                  <a:pt x="3633758" y="2388989"/>
                </a:moveTo>
                <a:cubicBezTo>
                  <a:pt x="3640259" y="2388203"/>
                  <a:pt x="3644760" y="2388298"/>
                  <a:pt x="3645760" y="2389441"/>
                </a:cubicBezTo>
                <a:cubicBezTo>
                  <a:pt x="3647760" y="2391727"/>
                  <a:pt x="3633663" y="2397918"/>
                  <a:pt x="3615946" y="2402681"/>
                </a:cubicBezTo>
                <a:cubicBezTo>
                  <a:pt x="3598420" y="2407443"/>
                  <a:pt x="3580990" y="2409634"/>
                  <a:pt x="3579086" y="2407348"/>
                </a:cubicBezTo>
                <a:cubicBezTo>
                  <a:pt x="3577181" y="2405062"/>
                  <a:pt x="3591753" y="2398585"/>
                  <a:pt x="3609755" y="2393823"/>
                </a:cubicBezTo>
                <a:cubicBezTo>
                  <a:pt x="3618756" y="2391442"/>
                  <a:pt x="3627257" y="2389775"/>
                  <a:pt x="3633758" y="2388989"/>
                </a:cubicBezTo>
                <a:close/>
                <a:moveTo>
                  <a:pt x="3811399" y="2388965"/>
                </a:moveTo>
                <a:cubicBezTo>
                  <a:pt x="3811495" y="2390870"/>
                  <a:pt x="3801874" y="2394775"/>
                  <a:pt x="3788254" y="2398490"/>
                </a:cubicBezTo>
                <a:cubicBezTo>
                  <a:pt x="3774633" y="2402205"/>
                  <a:pt x="3766537" y="2402871"/>
                  <a:pt x="3766251" y="2401062"/>
                </a:cubicBezTo>
                <a:cubicBezTo>
                  <a:pt x="3766251" y="2399157"/>
                  <a:pt x="3775776" y="2395251"/>
                  <a:pt x="3789492" y="2391537"/>
                </a:cubicBezTo>
                <a:cubicBezTo>
                  <a:pt x="3803208" y="2387822"/>
                  <a:pt x="3811304" y="2387060"/>
                  <a:pt x="3811399" y="2388965"/>
                </a:cubicBezTo>
                <a:close/>
                <a:moveTo>
                  <a:pt x="3160701" y="2388488"/>
                </a:moveTo>
                <a:cubicBezTo>
                  <a:pt x="3168540" y="2387026"/>
                  <a:pt x="3176616" y="2387517"/>
                  <a:pt x="3184227" y="2389917"/>
                </a:cubicBezTo>
                <a:cubicBezTo>
                  <a:pt x="3191182" y="2393918"/>
                  <a:pt x="3174702" y="2402109"/>
                  <a:pt x="3145459" y="2408967"/>
                </a:cubicBezTo>
                <a:cubicBezTo>
                  <a:pt x="3116217" y="2415825"/>
                  <a:pt x="3088309" y="2418492"/>
                  <a:pt x="3080881" y="2414968"/>
                </a:cubicBezTo>
                <a:cubicBezTo>
                  <a:pt x="3073454" y="2411444"/>
                  <a:pt x="3088978" y="2403252"/>
                  <a:pt x="3119456" y="2395823"/>
                </a:cubicBezTo>
                <a:cubicBezTo>
                  <a:pt x="3133012" y="2392404"/>
                  <a:pt x="3146794" y="2389953"/>
                  <a:pt x="3160701" y="2388488"/>
                </a:cubicBezTo>
                <a:close/>
                <a:moveTo>
                  <a:pt x="3948463" y="2387727"/>
                </a:moveTo>
                <a:cubicBezTo>
                  <a:pt x="3948368" y="2388775"/>
                  <a:pt x="3943510" y="2390775"/>
                  <a:pt x="3935986" y="2392775"/>
                </a:cubicBezTo>
                <a:cubicBezTo>
                  <a:pt x="3928461" y="2394776"/>
                  <a:pt x="3924651" y="2395347"/>
                  <a:pt x="3924365" y="2394490"/>
                </a:cubicBezTo>
                <a:cubicBezTo>
                  <a:pt x="3924079" y="2393633"/>
                  <a:pt x="3928747" y="2391632"/>
                  <a:pt x="3936176" y="2389537"/>
                </a:cubicBezTo>
                <a:cubicBezTo>
                  <a:pt x="3943796" y="2387441"/>
                  <a:pt x="3948559" y="2386679"/>
                  <a:pt x="3948463" y="2387727"/>
                </a:cubicBezTo>
                <a:close/>
                <a:moveTo>
                  <a:pt x="2822405" y="2384976"/>
                </a:moveTo>
                <a:cubicBezTo>
                  <a:pt x="2836754" y="2384083"/>
                  <a:pt x="2848277" y="2384679"/>
                  <a:pt x="2853040" y="2387060"/>
                </a:cubicBezTo>
                <a:cubicBezTo>
                  <a:pt x="2862566" y="2391822"/>
                  <a:pt x="2844373" y="2400966"/>
                  <a:pt x="2814276" y="2407824"/>
                </a:cubicBezTo>
                <a:cubicBezTo>
                  <a:pt x="2798938" y="2411254"/>
                  <a:pt x="2783375" y="2413514"/>
                  <a:pt x="2767699" y="2414587"/>
                </a:cubicBezTo>
                <a:cubicBezTo>
                  <a:pt x="2757286" y="2415847"/>
                  <a:pt x="2746743" y="2415235"/>
                  <a:pt x="2736549" y="2412777"/>
                </a:cubicBezTo>
                <a:cubicBezTo>
                  <a:pt x="2726168" y="2408396"/>
                  <a:pt x="2743599" y="2398871"/>
                  <a:pt x="2774841" y="2391822"/>
                </a:cubicBezTo>
                <a:cubicBezTo>
                  <a:pt x="2790891" y="2388250"/>
                  <a:pt x="2808059" y="2385869"/>
                  <a:pt x="2822405" y="2384976"/>
                </a:cubicBezTo>
                <a:close/>
                <a:moveTo>
                  <a:pt x="1629259" y="2384583"/>
                </a:moveTo>
                <a:cubicBezTo>
                  <a:pt x="1637736" y="2384583"/>
                  <a:pt x="1646404" y="2384583"/>
                  <a:pt x="1654595" y="2385155"/>
                </a:cubicBezTo>
                <a:cubicBezTo>
                  <a:pt x="1662786" y="2385726"/>
                  <a:pt x="1670693" y="2386393"/>
                  <a:pt x="1677359" y="2387345"/>
                </a:cubicBezTo>
                <a:cubicBezTo>
                  <a:pt x="1682790" y="2387971"/>
                  <a:pt x="1688151" y="2389120"/>
                  <a:pt x="1693361" y="2390774"/>
                </a:cubicBezTo>
                <a:cubicBezTo>
                  <a:pt x="1708316" y="2395727"/>
                  <a:pt x="1697648" y="2402871"/>
                  <a:pt x="1671074" y="2405538"/>
                </a:cubicBezTo>
                <a:cubicBezTo>
                  <a:pt x="1641718" y="2408398"/>
                  <a:pt x="1612095" y="2406695"/>
                  <a:pt x="1583253" y="2400490"/>
                </a:cubicBezTo>
                <a:cubicBezTo>
                  <a:pt x="1575157" y="2397728"/>
                  <a:pt x="1573728" y="2394680"/>
                  <a:pt x="1577824" y="2391917"/>
                </a:cubicBezTo>
                <a:cubicBezTo>
                  <a:pt x="1586406" y="2387947"/>
                  <a:pt x="1595712" y="2385807"/>
                  <a:pt x="1605161" y="2385631"/>
                </a:cubicBezTo>
                <a:cubicBezTo>
                  <a:pt x="1612495" y="2384964"/>
                  <a:pt x="1620782" y="2384583"/>
                  <a:pt x="1629259" y="2384583"/>
                </a:cubicBezTo>
                <a:close/>
                <a:moveTo>
                  <a:pt x="4012377" y="2381440"/>
                </a:moveTo>
                <a:cubicBezTo>
                  <a:pt x="4009973" y="2383081"/>
                  <a:pt x="4007244" y="2384185"/>
                  <a:pt x="4004376" y="2384679"/>
                </a:cubicBezTo>
                <a:cubicBezTo>
                  <a:pt x="3999423" y="2386107"/>
                  <a:pt x="3995803" y="2386679"/>
                  <a:pt x="3995899" y="2386012"/>
                </a:cubicBezTo>
                <a:cubicBezTo>
                  <a:pt x="3995899" y="2385345"/>
                  <a:pt x="3999518" y="2383821"/>
                  <a:pt x="4004566" y="2382488"/>
                </a:cubicBezTo>
                <a:cubicBezTo>
                  <a:pt x="4009615" y="2381154"/>
                  <a:pt x="4012948" y="2380583"/>
                  <a:pt x="4012377" y="2381440"/>
                </a:cubicBezTo>
                <a:close/>
                <a:moveTo>
                  <a:pt x="3886170" y="2381440"/>
                </a:moveTo>
                <a:cubicBezTo>
                  <a:pt x="3880430" y="2385353"/>
                  <a:pt x="3873945" y="2388045"/>
                  <a:pt x="3867120" y="2389346"/>
                </a:cubicBezTo>
                <a:cubicBezTo>
                  <a:pt x="3856548" y="2392299"/>
                  <a:pt x="3847213" y="2393537"/>
                  <a:pt x="3847118" y="2392108"/>
                </a:cubicBezTo>
                <a:cubicBezTo>
                  <a:pt x="3853086" y="2387893"/>
                  <a:pt x="3859919" y="2385063"/>
                  <a:pt x="3867120" y="2383821"/>
                </a:cubicBezTo>
                <a:cubicBezTo>
                  <a:pt x="3877884" y="2380869"/>
                  <a:pt x="3886837" y="2379821"/>
                  <a:pt x="3886170" y="2381440"/>
                </a:cubicBezTo>
                <a:close/>
                <a:moveTo>
                  <a:pt x="3736437" y="2381250"/>
                </a:moveTo>
                <a:cubicBezTo>
                  <a:pt x="3737295" y="2383441"/>
                  <a:pt x="3724341" y="2389156"/>
                  <a:pt x="3707862" y="2393442"/>
                </a:cubicBezTo>
                <a:cubicBezTo>
                  <a:pt x="3691384" y="2397728"/>
                  <a:pt x="3678525" y="2399348"/>
                  <a:pt x="3677382" y="2397157"/>
                </a:cubicBezTo>
                <a:cubicBezTo>
                  <a:pt x="3676239" y="2394966"/>
                  <a:pt x="3689098" y="2389346"/>
                  <a:pt x="3705957" y="2384965"/>
                </a:cubicBezTo>
                <a:cubicBezTo>
                  <a:pt x="3722817" y="2380583"/>
                  <a:pt x="3735580" y="2379059"/>
                  <a:pt x="3736437" y="2381250"/>
                </a:cubicBezTo>
                <a:close/>
                <a:moveTo>
                  <a:pt x="590180" y="2381238"/>
                </a:moveTo>
                <a:cubicBezTo>
                  <a:pt x="590740" y="2380464"/>
                  <a:pt x="595192" y="2381012"/>
                  <a:pt x="603478" y="2382964"/>
                </a:cubicBezTo>
                <a:cubicBezTo>
                  <a:pt x="608051" y="2384012"/>
                  <a:pt x="613004" y="2385346"/>
                  <a:pt x="618053" y="2386679"/>
                </a:cubicBezTo>
                <a:lnTo>
                  <a:pt x="633198" y="2391156"/>
                </a:lnTo>
                <a:cubicBezTo>
                  <a:pt x="638246" y="2392775"/>
                  <a:pt x="643200" y="2394490"/>
                  <a:pt x="647866" y="2396204"/>
                </a:cubicBezTo>
                <a:lnTo>
                  <a:pt x="654533" y="2398681"/>
                </a:lnTo>
                <a:lnTo>
                  <a:pt x="660534" y="2401157"/>
                </a:lnTo>
                <a:cubicBezTo>
                  <a:pt x="674155" y="2406872"/>
                  <a:pt x="672918" y="2408682"/>
                  <a:pt x="657296" y="2405634"/>
                </a:cubicBezTo>
                <a:lnTo>
                  <a:pt x="650439" y="2404205"/>
                </a:lnTo>
                <a:lnTo>
                  <a:pt x="643104" y="2402395"/>
                </a:lnTo>
                <a:cubicBezTo>
                  <a:pt x="638150" y="2401062"/>
                  <a:pt x="633103" y="2399538"/>
                  <a:pt x="628055" y="2398014"/>
                </a:cubicBezTo>
                <a:cubicBezTo>
                  <a:pt x="623006" y="2396490"/>
                  <a:pt x="618053" y="2394680"/>
                  <a:pt x="613385" y="2392966"/>
                </a:cubicBezTo>
                <a:cubicBezTo>
                  <a:pt x="608718" y="2391251"/>
                  <a:pt x="603859" y="2389251"/>
                  <a:pt x="600241" y="2387441"/>
                </a:cubicBezTo>
                <a:cubicBezTo>
                  <a:pt x="592954" y="2384107"/>
                  <a:pt x="589621" y="2382012"/>
                  <a:pt x="590180" y="2381238"/>
                </a:cubicBezTo>
                <a:close/>
                <a:moveTo>
                  <a:pt x="3535273" y="2380285"/>
                </a:moveTo>
                <a:cubicBezTo>
                  <a:pt x="3543320" y="2379416"/>
                  <a:pt x="3548845" y="2379678"/>
                  <a:pt x="3550035" y="2381250"/>
                </a:cubicBezTo>
                <a:cubicBezTo>
                  <a:pt x="3552417" y="2384393"/>
                  <a:pt x="3536701" y="2391346"/>
                  <a:pt x="3514605" y="2397156"/>
                </a:cubicBezTo>
                <a:cubicBezTo>
                  <a:pt x="3492508" y="2402967"/>
                  <a:pt x="3472891" y="2405157"/>
                  <a:pt x="3469939" y="2402109"/>
                </a:cubicBezTo>
                <a:cubicBezTo>
                  <a:pt x="3466986" y="2399061"/>
                  <a:pt x="3482697" y="2392108"/>
                  <a:pt x="3505366" y="2386107"/>
                </a:cubicBezTo>
                <a:cubicBezTo>
                  <a:pt x="3516650" y="2383155"/>
                  <a:pt x="3527225" y="2381154"/>
                  <a:pt x="3535273" y="2380285"/>
                </a:cubicBezTo>
                <a:close/>
                <a:moveTo>
                  <a:pt x="3296834" y="2379893"/>
                </a:moveTo>
                <a:cubicBezTo>
                  <a:pt x="3307452" y="2378869"/>
                  <a:pt x="3315098" y="2379203"/>
                  <a:pt x="3317763" y="2381060"/>
                </a:cubicBezTo>
                <a:cubicBezTo>
                  <a:pt x="3323097" y="2384774"/>
                  <a:pt x="3306524" y="2393061"/>
                  <a:pt x="3278334" y="2400110"/>
                </a:cubicBezTo>
                <a:cubicBezTo>
                  <a:pt x="3250139" y="2407158"/>
                  <a:pt x="3224900" y="2409825"/>
                  <a:pt x="3218710" y="2405920"/>
                </a:cubicBezTo>
                <a:cubicBezTo>
                  <a:pt x="3212423" y="2402110"/>
                  <a:pt x="3228900" y="2394013"/>
                  <a:pt x="3258046" y="2386870"/>
                </a:cubicBezTo>
                <a:cubicBezTo>
                  <a:pt x="3272618" y="2383298"/>
                  <a:pt x="3286215" y="2380917"/>
                  <a:pt x="3296834" y="2379893"/>
                </a:cubicBezTo>
                <a:close/>
                <a:moveTo>
                  <a:pt x="2994682" y="2376583"/>
                </a:moveTo>
                <a:cubicBezTo>
                  <a:pt x="3003510" y="2375202"/>
                  <a:pt x="3012539" y="2376020"/>
                  <a:pt x="3020969" y="2378964"/>
                </a:cubicBezTo>
                <a:cubicBezTo>
                  <a:pt x="3028685" y="2383822"/>
                  <a:pt x="3010302" y="2392775"/>
                  <a:pt x="2977631" y="2400300"/>
                </a:cubicBezTo>
                <a:cubicBezTo>
                  <a:pt x="2963095" y="2403730"/>
                  <a:pt x="2948321" y="2406023"/>
                  <a:pt x="2933434" y="2407158"/>
                </a:cubicBezTo>
                <a:cubicBezTo>
                  <a:pt x="2924395" y="2408465"/>
                  <a:pt x="2915183" y="2407716"/>
                  <a:pt x="2906476" y="2404967"/>
                </a:cubicBezTo>
                <a:cubicBezTo>
                  <a:pt x="2902001" y="2402681"/>
                  <a:pt x="2904287" y="2399252"/>
                  <a:pt x="2911908" y="2395442"/>
                </a:cubicBezTo>
                <a:cubicBezTo>
                  <a:pt x="2924004" y="2390177"/>
                  <a:pt x="2936606" y="2386186"/>
                  <a:pt x="2949529" y="2383536"/>
                </a:cubicBezTo>
                <a:cubicBezTo>
                  <a:pt x="2957818" y="2381631"/>
                  <a:pt x="2965913" y="2380107"/>
                  <a:pt x="2973536" y="2378964"/>
                </a:cubicBezTo>
                <a:cubicBezTo>
                  <a:pt x="2980534" y="2377815"/>
                  <a:pt x="2987594" y="2377021"/>
                  <a:pt x="2994682" y="2376583"/>
                </a:cubicBezTo>
                <a:close/>
                <a:moveTo>
                  <a:pt x="3817400" y="2374296"/>
                </a:moveTo>
                <a:cubicBezTo>
                  <a:pt x="3817400" y="2376868"/>
                  <a:pt x="3806923" y="2380964"/>
                  <a:pt x="3792159" y="2384964"/>
                </a:cubicBezTo>
                <a:cubicBezTo>
                  <a:pt x="3777395" y="2388965"/>
                  <a:pt x="3767013" y="2390203"/>
                  <a:pt x="3766060" y="2388393"/>
                </a:cubicBezTo>
                <a:cubicBezTo>
                  <a:pt x="3765108" y="2386583"/>
                  <a:pt x="3775871" y="2381821"/>
                  <a:pt x="3790825" y="2377725"/>
                </a:cubicBezTo>
                <a:cubicBezTo>
                  <a:pt x="3805780" y="2373629"/>
                  <a:pt x="3817400" y="2371725"/>
                  <a:pt x="3817400" y="2374296"/>
                </a:cubicBezTo>
                <a:close/>
                <a:moveTo>
                  <a:pt x="3958369" y="2374011"/>
                </a:moveTo>
                <a:cubicBezTo>
                  <a:pt x="3958465" y="2375249"/>
                  <a:pt x="3952464" y="2377821"/>
                  <a:pt x="3943510" y="2380297"/>
                </a:cubicBezTo>
                <a:cubicBezTo>
                  <a:pt x="3934557" y="2382774"/>
                  <a:pt x="3927985" y="2383821"/>
                  <a:pt x="3927794" y="2382678"/>
                </a:cubicBezTo>
                <a:cubicBezTo>
                  <a:pt x="3927604" y="2381535"/>
                  <a:pt x="3933604" y="2378868"/>
                  <a:pt x="3942653" y="2376297"/>
                </a:cubicBezTo>
                <a:cubicBezTo>
                  <a:pt x="3952178" y="2373725"/>
                  <a:pt x="3958274" y="2372772"/>
                  <a:pt x="3958369" y="2374011"/>
                </a:cubicBezTo>
                <a:close/>
                <a:moveTo>
                  <a:pt x="3634889" y="2372951"/>
                </a:moveTo>
                <a:cubicBezTo>
                  <a:pt x="3641878" y="2372154"/>
                  <a:pt x="3646331" y="2372392"/>
                  <a:pt x="3646807" y="2373916"/>
                </a:cubicBezTo>
                <a:cubicBezTo>
                  <a:pt x="3647760" y="2376964"/>
                  <a:pt x="3634329" y="2383441"/>
                  <a:pt x="3614327" y="2388299"/>
                </a:cubicBezTo>
                <a:cubicBezTo>
                  <a:pt x="3594324" y="2393156"/>
                  <a:pt x="3576704" y="2395823"/>
                  <a:pt x="3574609" y="2392966"/>
                </a:cubicBezTo>
                <a:cubicBezTo>
                  <a:pt x="3572418" y="2390108"/>
                  <a:pt x="3586514" y="2383441"/>
                  <a:pt x="3607755" y="2378202"/>
                </a:cubicBezTo>
                <a:cubicBezTo>
                  <a:pt x="3618375" y="2375583"/>
                  <a:pt x="3627900" y="2373749"/>
                  <a:pt x="3634889" y="2372951"/>
                </a:cubicBezTo>
                <a:close/>
                <a:moveTo>
                  <a:pt x="3419233" y="2371606"/>
                </a:moveTo>
                <a:cubicBezTo>
                  <a:pt x="3428561" y="2370773"/>
                  <a:pt x="3434847" y="2371297"/>
                  <a:pt x="3436514" y="2373249"/>
                </a:cubicBezTo>
                <a:cubicBezTo>
                  <a:pt x="3439848" y="2377154"/>
                  <a:pt x="3422042" y="2385060"/>
                  <a:pt x="3396137" y="2391727"/>
                </a:cubicBezTo>
                <a:cubicBezTo>
                  <a:pt x="3370240" y="2398300"/>
                  <a:pt x="3346906" y="2400681"/>
                  <a:pt x="3342523" y="2397157"/>
                </a:cubicBezTo>
                <a:cubicBezTo>
                  <a:pt x="3338146" y="2393632"/>
                  <a:pt x="3355953" y="2385060"/>
                  <a:pt x="3383662" y="2378107"/>
                </a:cubicBezTo>
                <a:cubicBezTo>
                  <a:pt x="3397519" y="2374630"/>
                  <a:pt x="3409899" y="2372439"/>
                  <a:pt x="3419233" y="2371606"/>
                </a:cubicBezTo>
                <a:close/>
                <a:moveTo>
                  <a:pt x="2125992" y="2371439"/>
                </a:moveTo>
                <a:cubicBezTo>
                  <a:pt x="2132926" y="2371373"/>
                  <a:pt x="2139860" y="2371723"/>
                  <a:pt x="2146756" y="2372487"/>
                </a:cubicBezTo>
                <a:cubicBezTo>
                  <a:pt x="2152052" y="2372952"/>
                  <a:pt x="2157281" y="2373940"/>
                  <a:pt x="2162377" y="2375440"/>
                </a:cubicBezTo>
                <a:cubicBezTo>
                  <a:pt x="2170759" y="2378107"/>
                  <a:pt x="2171902" y="2381440"/>
                  <a:pt x="2166663" y="2384965"/>
                </a:cubicBezTo>
                <a:cubicBezTo>
                  <a:pt x="2156062" y="2390066"/>
                  <a:pt x="2144651" y="2393289"/>
                  <a:pt x="2132945" y="2394490"/>
                </a:cubicBezTo>
                <a:cubicBezTo>
                  <a:pt x="2124944" y="2395728"/>
                  <a:pt x="2116753" y="2396776"/>
                  <a:pt x="2108656" y="2397442"/>
                </a:cubicBezTo>
                <a:cubicBezTo>
                  <a:pt x="2100561" y="2398109"/>
                  <a:pt x="2092559" y="2398395"/>
                  <a:pt x="2085034" y="2398395"/>
                </a:cubicBezTo>
                <a:cubicBezTo>
                  <a:pt x="2077510" y="2398395"/>
                  <a:pt x="2070557" y="2398395"/>
                  <a:pt x="2064271" y="2397347"/>
                </a:cubicBezTo>
                <a:cubicBezTo>
                  <a:pt x="2058832" y="2396773"/>
                  <a:pt x="2053450" y="2395754"/>
                  <a:pt x="2048173" y="2394299"/>
                </a:cubicBezTo>
                <a:cubicBezTo>
                  <a:pt x="2038648" y="2391537"/>
                  <a:pt x="2037505" y="2388108"/>
                  <a:pt x="2042554" y="2384774"/>
                </a:cubicBezTo>
                <a:cubicBezTo>
                  <a:pt x="2053422" y="2379660"/>
                  <a:pt x="2065080" y="2376439"/>
                  <a:pt x="2077034" y="2375249"/>
                </a:cubicBezTo>
                <a:cubicBezTo>
                  <a:pt x="2085321" y="2373916"/>
                  <a:pt x="2093798" y="2372963"/>
                  <a:pt x="2102084" y="2372392"/>
                </a:cubicBezTo>
                <a:cubicBezTo>
                  <a:pt x="2110371" y="2371820"/>
                  <a:pt x="2118467" y="2371344"/>
                  <a:pt x="2125992" y="2371439"/>
                </a:cubicBezTo>
                <a:close/>
                <a:moveTo>
                  <a:pt x="2370790" y="2370772"/>
                </a:moveTo>
                <a:cubicBezTo>
                  <a:pt x="2382809" y="2369946"/>
                  <a:pt x="2394879" y="2371138"/>
                  <a:pt x="2406509" y="2374296"/>
                </a:cubicBezTo>
                <a:cubicBezTo>
                  <a:pt x="2420415" y="2379440"/>
                  <a:pt x="2406699" y="2387726"/>
                  <a:pt x="2374028" y="2394013"/>
                </a:cubicBezTo>
                <a:cubicBezTo>
                  <a:pt x="2357693" y="2397192"/>
                  <a:pt x="2341129" y="2399008"/>
                  <a:pt x="2324498" y="2399442"/>
                </a:cubicBezTo>
                <a:cubicBezTo>
                  <a:pt x="2312362" y="2400206"/>
                  <a:pt x="2300181" y="2399049"/>
                  <a:pt x="2288398" y="2396013"/>
                </a:cubicBezTo>
                <a:cubicBezTo>
                  <a:pt x="2272968" y="2390870"/>
                  <a:pt x="2286303" y="2382488"/>
                  <a:pt x="2320118" y="2376201"/>
                </a:cubicBezTo>
                <a:cubicBezTo>
                  <a:pt x="2336834" y="2372997"/>
                  <a:pt x="2353778" y="2371182"/>
                  <a:pt x="2370790" y="2370772"/>
                </a:cubicBezTo>
                <a:close/>
                <a:moveTo>
                  <a:pt x="3142795" y="2368582"/>
                </a:moveTo>
                <a:cubicBezTo>
                  <a:pt x="3151385" y="2367110"/>
                  <a:pt x="3160197" y="2367698"/>
                  <a:pt x="3168510" y="2370296"/>
                </a:cubicBezTo>
                <a:cubicBezTo>
                  <a:pt x="3171656" y="2372487"/>
                  <a:pt x="3168510" y="2376107"/>
                  <a:pt x="3160034" y="2379821"/>
                </a:cubicBezTo>
                <a:cubicBezTo>
                  <a:pt x="3148767" y="2384988"/>
                  <a:pt x="3136983" y="2388946"/>
                  <a:pt x="3124887" y="2391632"/>
                </a:cubicBezTo>
                <a:cubicBezTo>
                  <a:pt x="3095548" y="2399062"/>
                  <a:pt x="3062972" y="2401729"/>
                  <a:pt x="3055449" y="2397538"/>
                </a:cubicBezTo>
                <a:cubicBezTo>
                  <a:pt x="3048019" y="2393347"/>
                  <a:pt x="3068402" y="2383060"/>
                  <a:pt x="3098785" y="2375821"/>
                </a:cubicBezTo>
                <a:cubicBezTo>
                  <a:pt x="3113257" y="2372309"/>
                  <a:pt x="3127965" y="2369889"/>
                  <a:pt x="3142795" y="2368582"/>
                </a:cubicBezTo>
                <a:close/>
                <a:moveTo>
                  <a:pt x="4026569" y="2367153"/>
                </a:moveTo>
                <a:cubicBezTo>
                  <a:pt x="4022858" y="2369546"/>
                  <a:pt x="4018717" y="2371196"/>
                  <a:pt x="4014377" y="2372010"/>
                </a:cubicBezTo>
                <a:cubicBezTo>
                  <a:pt x="4007900" y="2373820"/>
                  <a:pt x="4003233" y="2374487"/>
                  <a:pt x="4003614" y="2373439"/>
                </a:cubicBezTo>
                <a:cubicBezTo>
                  <a:pt x="4007275" y="2371017"/>
                  <a:pt x="4011391" y="2369364"/>
                  <a:pt x="4015710" y="2368581"/>
                </a:cubicBezTo>
                <a:cubicBezTo>
                  <a:pt x="4022378" y="2366676"/>
                  <a:pt x="4026950" y="2366105"/>
                  <a:pt x="4026569" y="2367153"/>
                </a:cubicBezTo>
                <a:close/>
                <a:moveTo>
                  <a:pt x="2590809" y="2366879"/>
                </a:moveTo>
                <a:cubicBezTo>
                  <a:pt x="2606226" y="2366129"/>
                  <a:pt x="2618919" y="2367010"/>
                  <a:pt x="2625491" y="2369820"/>
                </a:cubicBezTo>
                <a:cubicBezTo>
                  <a:pt x="2638635" y="2375440"/>
                  <a:pt x="2622729" y="2383917"/>
                  <a:pt x="2590059" y="2390870"/>
                </a:cubicBezTo>
                <a:cubicBezTo>
                  <a:pt x="2557387" y="2397824"/>
                  <a:pt x="2521383" y="2399538"/>
                  <a:pt x="2507001" y="2394776"/>
                </a:cubicBezTo>
                <a:cubicBezTo>
                  <a:pt x="2492237" y="2389918"/>
                  <a:pt x="2507001" y="2380774"/>
                  <a:pt x="2539766" y="2373725"/>
                </a:cubicBezTo>
                <a:cubicBezTo>
                  <a:pt x="2557244" y="2370011"/>
                  <a:pt x="2575388" y="2367629"/>
                  <a:pt x="2590809" y="2366879"/>
                </a:cubicBezTo>
                <a:close/>
                <a:moveTo>
                  <a:pt x="3897029" y="2366010"/>
                </a:moveTo>
                <a:cubicBezTo>
                  <a:pt x="3896933" y="2367915"/>
                  <a:pt x="3887504" y="2371725"/>
                  <a:pt x="3874931" y="2375535"/>
                </a:cubicBezTo>
                <a:cubicBezTo>
                  <a:pt x="3862358" y="2379345"/>
                  <a:pt x="3853023" y="2380202"/>
                  <a:pt x="3852928" y="2378297"/>
                </a:cubicBezTo>
                <a:cubicBezTo>
                  <a:pt x="3852928" y="2376487"/>
                  <a:pt x="3862453" y="2372677"/>
                  <a:pt x="3875026" y="2368772"/>
                </a:cubicBezTo>
                <a:cubicBezTo>
                  <a:pt x="3887599" y="2364867"/>
                  <a:pt x="3897124" y="2364105"/>
                  <a:pt x="3897029" y="2366010"/>
                </a:cubicBezTo>
                <a:close/>
                <a:moveTo>
                  <a:pt x="3729531" y="2364927"/>
                </a:moveTo>
                <a:cubicBezTo>
                  <a:pt x="3736056" y="2364129"/>
                  <a:pt x="3740437" y="2364248"/>
                  <a:pt x="3740818" y="2365534"/>
                </a:cubicBezTo>
                <a:cubicBezTo>
                  <a:pt x="3741580" y="2368106"/>
                  <a:pt x="3727674" y="2374202"/>
                  <a:pt x="3710719" y="2378869"/>
                </a:cubicBezTo>
                <a:cubicBezTo>
                  <a:pt x="3693765" y="2383536"/>
                  <a:pt x="3676429" y="2385822"/>
                  <a:pt x="3674524" y="2383536"/>
                </a:cubicBezTo>
                <a:cubicBezTo>
                  <a:pt x="3672810" y="2381155"/>
                  <a:pt x="3687478" y="2374583"/>
                  <a:pt x="3705385" y="2369820"/>
                </a:cubicBezTo>
                <a:cubicBezTo>
                  <a:pt x="3714339" y="2367439"/>
                  <a:pt x="3723006" y="2365725"/>
                  <a:pt x="3729531" y="2364927"/>
                </a:cubicBezTo>
                <a:close/>
                <a:moveTo>
                  <a:pt x="1852444" y="2363426"/>
                </a:moveTo>
                <a:cubicBezTo>
                  <a:pt x="1868338" y="2363962"/>
                  <a:pt x="1882340" y="2365772"/>
                  <a:pt x="1891293" y="2368772"/>
                </a:cubicBezTo>
                <a:cubicBezTo>
                  <a:pt x="1899580" y="2371439"/>
                  <a:pt x="1900818" y="2374582"/>
                  <a:pt x="1896723" y="2377630"/>
                </a:cubicBezTo>
                <a:cubicBezTo>
                  <a:pt x="1893303" y="2379593"/>
                  <a:pt x="1889608" y="2381037"/>
                  <a:pt x="1885770" y="2381917"/>
                </a:cubicBezTo>
                <a:cubicBezTo>
                  <a:pt x="1879501" y="2383503"/>
                  <a:pt x="1873139" y="2384711"/>
                  <a:pt x="1866719" y="2385536"/>
                </a:cubicBezTo>
                <a:cubicBezTo>
                  <a:pt x="1858719" y="2386584"/>
                  <a:pt x="1850432" y="2387346"/>
                  <a:pt x="1842145" y="2387727"/>
                </a:cubicBezTo>
                <a:cubicBezTo>
                  <a:pt x="1833859" y="2388108"/>
                  <a:pt x="1825476" y="2387727"/>
                  <a:pt x="1817571" y="2387727"/>
                </a:cubicBezTo>
                <a:cubicBezTo>
                  <a:pt x="1804312" y="2387594"/>
                  <a:pt x="1791120" y="2385770"/>
                  <a:pt x="1778328" y="2382298"/>
                </a:cubicBezTo>
                <a:cubicBezTo>
                  <a:pt x="1760040" y="2376773"/>
                  <a:pt x="1770136" y="2369629"/>
                  <a:pt x="1802235" y="2365724"/>
                </a:cubicBezTo>
                <a:cubicBezTo>
                  <a:pt x="1818761" y="2363629"/>
                  <a:pt x="1836549" y="2362890"/>
                  <a:pt x="1852444" y="2363426"/>
                </a:cubicBezTo>
                <a:close/>
                <a:moveTo>
                  <a:pt x="3531723" y="2362915"/>
                </a:moveTo>
                <a:cubicBezTo>
                  <a:pt x="3540987" y="2361915"/>
                  <a:pt x="3547606" y="2362105"/>
                  <a:pt x="3548892" y="2363724"/>
                </a:cubicBezTo>
                <a:cubicBezTo>
                  <a:pt x="3551464" y="2366963"/>
                  <a:pt x="3533843" y="2375345"/>
                  <a:pt x="3510794" y="2381441"/>
                </a:cubicBezTo>
                <a:cubicBezTo>
                  <a:pt x="3487746" y="2387537"/>
                  <a:pt x="3464223" y="2390204"/>
                  <a:pt x="3460605" y="2387060"/>
                </a:cubicBezTo>
                <a:cubicBezTo>
                  <a:pt x="3456987" y="2383917"/>
                  <a:pt x="3474986" y="2375535"/>
                  <a:pt x="3498698" y="2369249"/>
                </a:cubicBezTo>
                <a:cubicBezTo>
                  <a:pt x="3510555" y="2366106"/>
                  <a:pt x="3522461" y="2363915"/>
                  <a:pt x="3531723" y="2362915"/>
                </a:cubicBezTo>
                <a:close/>
                <a:moveTo>
                  <a:pt x="2788083" y="2362009"/>
                </a:moveTo>
                <a:cubicBezTo>
                  <a:pt x="2798263" y="2360754"/>
                  <a:pt x="2808588" y="2361696"/>
                  <a:pt x="2818370" y="2364772"/>
                </a:cubicBezTo>
                <a:cubicBezTo>
                  <a:pt x="2827896" y="2369915"/>
                  <a:pt x="2807321" y="2380488"/>
                  <a:pt x="2774556" y="2387346"/>
                </a:cubicBezTo>
                <a:cubicBezTo>
                  <a:pt x="2741790" y="2394204"/>
                  <a:pt x="2706266" y="2395728"/>
                  <a:pt x="2696074" y="2390965"/>
                </a:cubicBezTo>
                <a:cubicBezTo>
                  <a:pt x="2685883" y="2386203"/>
                  <a:pt x="2705599" y="2375249"/>
                  <a:pt x="2739506" y="2368201"/>
                </a:cubicBezTo>
                <a:cubicBezTo>
                  <a:pt x="2755506" y="2364823"/>
                  <a:pt x="2771745" y="2362752"/>
                  <a:pt x="2788083" y="2362009"/>
                </a:cubicBezTo>
                <a:close/>
                <a:moveTo>
                  <a:pt x="3284263" y="2360092"/>
                </a:moveTo>
                <a:cubicBezTo>
                  <a:pt x="3296073" y="2359033"/>
                  <a:pt x="3304954" y="2359390"/>
                  <a:pt x="3307856" y="2361438"/>
                </a:cubicBezTo>
                <a:cubicBezTo>
                  <a:pt x="3313669" y="2365629"/>
                  <a:pt x="3293095" y="2375631"/>
                  <a:pt x="3264050" y="2382869"/>
                </a:cubicBezTo>
                <a:cubicBezTo>
                  <a:pt x="3234997" y="2390108"/>
                  <a:pt x="3206231" y="2392394"/>
                  <a:pt x="3199564" y="2388870"/>
                </a:cubicBezTo>
                <a:cubicBezTo>
                  <a:pt x="3196136" y="2386870"/>
                  <a:pt x="3199564" y="2383346"/>
                  <a:pt x="3207468" y="2379345"/>
                </a:cubicBezTo>
                <a:cubicBezTo>
                  <a:pt x="3218918" y="2374144"/>
                  <a:pt x="3230844" y="2370092"/>
                  <a:pt x="3243092" y="2367248"/>
                </a:cubicBezTo>
                <a:cubicBezTo>
                  <a:pt x="3257713" y="2363629"/>
                  <a:pt x="3272455" y="2361152"/>
                  <a:pt x="3284263" y="2360092"/>
                </a:cubicBezTo>
                <a:close/>
                <a:moveTo>
                  <a:pt x="3971229" y="2359152"/>
                </a:moveTo>
                <a:cubicBezTo>
                  <a:pt x="3965712" y="2362950"/>
                  <a:pt x="3959443" y="2365516"/>
                  <a:pt x="3952846" y="2366677"/>
                </a:cubicBezTo>
                <a:cubicBezTo>
                  <a:pt x="3942273" y="2369725"/>
                  <a:pt x="3934558" y="2370772"/>
                  <a:pt x="3934748" y="2369153"/>
                </a:cubicBezTo>
                <a:cubicBezTo>
                  <a:pt x="3940429" y="2365130"/>
                  <a:pt x="3946938" y="2362429"/>
                  <a:pt x="3953798" y="2361247"/>
                </a:cubicBezTo>
                <a:cubicBezTo>
                  <a:pt x="3964466" y="2358294"/>
                  <a:pt x="3971896" y="2357437"/>
                  <a:pt x="3971229" y="2359152"/>
                </a:cubicBezTo>
                <a:close/>
                <a:moveTo>
                  <a:pt x="3818007" y="2356783"/>
                </a:moveTo>
                <a:cubicBezTo>
                  <a:pt x="3823591" y="2356056"/>
                  <a:pt x="3827306" y="2356152"/>
                  <a:pt x="3827782" y="2357247"/>
                </a:cubicBezTo>
                <a:cubicBezTo>
                  <a:pt x="3828735" y="2359437"/>
                  <a:pt x="3815495" y="2365247"/>
                  <a:pt x="3799207" y="2369629"/>
                </a:cubicBezTo>
                <a:cubicBezTo>
                  <a:pt x="3782919" y="2374010"/>
                  <a:pt x="3770061" y="2375630"/>
                  <a:pt x="3769299" y="2373344"/>
                </a:cubicBezTo>
                <a:cubicBezTo>
                  <a:pt x="3768537" y="2371058"/>
                  <a:pt x="3781110" y="2365628"/>
                  <a:pt x="3797016" y="2361247"/>
                </a:cubicBezTo>
                <a:cubicBezTo>
                  <a:pt x="3804970" y="2359057"/>
                  <a:pt x="3812423" y="2357509"/>
                  <a:pt x="3818007" y="2356783"/>
                </a:cubicBezTo>
                <a:close/>
                <a:moveTo>
                  <a:pt x="672833" y="2354830"/>
                </a:moveTo>
                <a:cubicBezTo>
                  <a:pt x="674143" y="2353747"/>
                  <a:pt x="681215" y="2354437"/>
                  <a:pt x="693883" y="2357056"/>
                </a:cubicBezTo>
                <a:cubicBezTo>
                  <a:pt x="699693" y="2358295"/>
                  <a:pt x="705504" y="2359438"/>
                  <a:pt x="711409" y="2360866"/>
                </a:cubicBezTo>
                <a:cubicBezTo>
                  <a:pt x="717314" y="2362295"/>
                  <a:pt x="723220" y="2363914"/>
                  <a:pt x="729030" y="2365534"/>
                </a:cubicBezTo>
                <a:lnTo>
                  <a:pt x="737603" y="2368105"/>
                </a:lnTo>
                <a:lnTo>
                  <a:pt x="745699" y="2370677"/>
                </a:lnTo>
                <a:cubicBezTo>
                  <a:pt x="751033" y="2372392"/>
                  <a:pt x="755986" y="2374201"/>
                  <a:pt x="760558" y="2376011"/>
                </a:cubicBezTo>
                <a:cubicBezTo>
                  <a:pt x="770083" y="2379916"/>
                  <a:pt x="774655" y="2382583"/>
                  <a:pt x="773322" y="2383631"/>
                </a:cubicBezTo>
                <a:cubicBezTo>
                  <a:pt x="766549" y="2384684"/>
                  <a:pt x="759624" y="2384261"/>
                  <a:pt x="753033" y="2382393"/>
                </a:cubicBezTo>
                <a:cubicBezTo>
                  <a:pt x="747509" y="2381536"/>
                  <a:pt x="741794" y="2380393"/>
                  <a:pt x="736079" y="2379059"/>
                </a:cubicBezTo>
                <a:cubicBezTo>
                  <a:pt x="730364" y="2377726"/>
                  <a:pt x="724268" y="2376202"/>
                  <a:pt x="718553" y="2374582"/>
                </a:cubicBezTo>
                <a:cubicBezTo>
                  <a:pt x="712838" y="2372963"/>
                  <a:pt x="707123" y="2371058"/>
                  <a:pt x="701694" y="2369248"/>
                </a:cubicBezTo>
                <a:lnTo>
                  <a:pt x="697788" y="2367820"/>
                </a:lnTo>
                <a:lnTo>
                  <a:pt x="693788" y="2366296"/>
                </a:lnTo>
                <a:cubicBezTo>
                  <a:pt x="691216" y="2365343"/>
                  <a:pt x="688739" y="2364295"/>
                  <a:pt x="686358" y="2363248"/>
                </a:cubicBezTo>
                <a:cubicBezTo>
                  <a:pt x="675976" y="2358771"/>
                  <a:pt x="671523" y="2355914"/>
                  <a:pt x="672833" y="2354830"/>
                </a:cubicBezTo>
                <a:close/>
                <a:moveTo>
                  <a:pt x="3638770" y="2354699"/>
                </a:moveTo>
                <a:cubicBezTo>
                  <a:pt x="3646616" y="2353889"/>
                  <a:pt x="3651760" y="2354294"/>
                  <a:pt x="3652331" y="2356104"/>
                </a:cubicBezTo>
                <a:cubicBezTo>
                  <a:pt x="3653474" y="2359723"/>
                  <a:pt x="3636996" y="2366677"/>
                  <a:pt x="3614803" y="2372487"/>
                </a:cubicBezTo>
                <a:cubicBezTo>
                  <a:pt x="3592610" y="2378297"/>
                  <a:pt x="3574322" y="2380297"/>
                  <a:pt x="3572322" y="2377059"/>
                </a:cubicBezTo>
                <a:cubicBezTo>
                  <a:pt x="3570322" y="2373820"/>
                  <a:pt x="3586228" y="2366677"/>
                  <a:pt x="3608993" y="2360581"/>
                </a:cubicBezTo>
                <a:cubicBezTo>
                  <a:pt x="3620375" y="2357533"/>
                  <a:pt x="3630924" y="2355509"/>
                  <a:pt x="3638770" y="2354699"/>
                </a:cubicBezTo>
                <a:close/>
                <a:moveTo>
                  <a:pt x="2964007" y="2353913"/>
                </a:moveTo>
                <a:cubicBezTo>
                  <a:pt x="2973808" y="2352521"/>
                  <a:pt x="2983793" y="2353301"/>
                  <a:pt x="2993251" y="2356199"/>
                </a:cubicBezTo>
                <a:cubicBezTo>
                  <a:pt x="3002108" y="2361152"/>
                  <a:pt x="2981630" y="2371915"/>
                  <a:pt x="2948863" y="2379345"/>
                </a:cubicBezTo>
                <a:cubicBezTo>
                  <a:pt x="2933519" y="2382900"/>
                  <a:pt x="2917908" y="2385225"/>
                  <a:pt x="2902191" y="2386298"/>
                </a:cubicBezTo>
                <a:cubicBezTo>
                  <a:pt x="2892370" y="2387542"/>
                  <a:pt x="2882407" y="2386863"/>
                  <a:pt x="2872853" y="2384298"/>
                </a:cubicBezTo>
                <a:cubicBezTo>
                  <a:pt x="2867709" y="2381917"/>
                  <a:pt x="2870185" y="2377916"/>
                  <a:pt x="2878282" y="2373725"/>
                </a:cubicBezTo>
                <a:cubicBezTo>
                  <a:pt x="2890416" y="2367937"/>
                  <a:pt x="2903210" y="2363651"/>
                  <a:pt x="2916383" y="2360962"/>
                </a:cubicBezTo>
                <a:cubicBezTo>
                  <a:pt x="2932062" y="2357417"/>
                  <a:pt x="2947978" y="2355060"/>
                  <a:pt x="2964007" y="2353913"/>
                </a:cubicBezTo>
                <a:close/>
                <a:moveTo>
                  <a:pt x="4038284" y="2352961"/>
                </a:moveTo>
                <a:cubicBezTo>
                  <a:pt x="4033930" y="2356033"/>
                  <a:pt x="4028955" y="2358114"/>
                  <a:pt x="4023711" y="2359057"/>
                </a:cubicBezTo>
                <a:cubicBezTo>
                  <a:pt x="4014757" y="2361629"/>
                  <a:pt x="4008566" y="2362486"/>
                  <a:pt x="4009042" y="2361057"/>
                </a:cubicBezTo>
                <a:cubicBezTo>
                  <a:pt x="4013637" y="2357958"/>
                  <a:pt x="4018828" y="2355849"/>
                  <a:pt x="4024282" y="2354866"/>
                </a:cubicBezTo>
                <a:cubicBezTo>
                  <a:pt x="4032760" y="2352485"/>
                  <a:pt x="4038475" y="2351722"/>
                  <a:pt x="4038284" y="2352961"/>
                </a:cubicBezTo>
                <a:close/>
                <a:moveTo>
                  <a:pt x="1262543" y="2351722"/>
                </a:moveTo>
                <a:cubicBezTo>
                  <a:pt x="1269495" y="2351722"/>
                  <a:pt x="1277306" y="2351722"/>
                  <a:pt x="1285402" y="2352293"/>
                </a:cubicBezTo>
                <a:cubicBezTo>
                  <a:pt x="1293498" y="2352865"/>
                  <a:pt x="1301880" y="2353532"/>
                  <a:pt x="1309976" y="2354484"/>
                </a:cubicBezTo>
                <a:cubicBezTo>
                  <a:pt x="1323673" y="2355823"/>
                  <a:pt x="1337227" y="2358406"/>
                  <a:pt x="1350458" y="2362199"/>
                </a:cubicBezTo>
                <a:cubicBezTo>
                  <a:pt x="1359983" y="2365152"/>
                  <a:pt x="1362459" y="2368105"/>
                  <a:pt x="1359983" y="2370581"/>
                </a:cubicBezTo>
                <a:cubicBezTo>
                  <a:pt x="1357621" y="2372297"/>
                  <a:pt x="1354877" y="2373409"/>
                  <a:pt x="1351982" y="2373820"/>
                </a:cubicBezTo>
                <a:cubicBezTo>
                  <a:pt x="1346791" y="2374691"/>
                  <a:pt x="1341533" y="2375136"/>
                  <a:pt x="1336266" y="2375154"/>
                </a:cubicBezTo>
                <a:cubicBezTo>
                  <a:pt x="1329788" y="2375154"/>
                  <a:pt x="1322454" y="2375154"/>
                  <a:pt x="1314644" y="2375154"/>
                </a:cubicBezTo>
                <a:cubicBezTo>
                  <a:pt x="1306833" y="2375154"/>
                  <a:pt x="1298546" y="2374106"/>
                  <a:pt x="1290450" y="2373249"/>
                </a:cubicBezTo>
                <a:cubicBezTo>
                  <a:pt x="1282354" y="2372391"/>
                  <a:pt x="1274448" y="2371248"/>
                  <a:pt x="1267209" y="2370010"/>
                </a:cubicBezTo>
                <a:cubicBezTo>
                  <a:pt x="1260789" y="2368874"/>
                  <a:pt x="1254427" y="2367411"/>
                  <a:pt x="1248159" y="2365629"/>
                </a:cubicBezTo>
                <a:cubicBezTo>
                  <a:pt x="1226633" y="2359056"/>
                  <a:pt x="1233681" y="2352103"/>
                  <a:pt x="1262543" y="2351722"/>
                </a:cubicBezTo>
                <a:close/>
                <a:moveTo>
                  <a:pt x="3414078" y="2351115"/>
                </a:moveTo>
                <a:cubicBezTo>
                  <a:pt x="3425039" y="2350127"/>
                  <a:pt x="3432991" y="2350532"/>
                  <a:pt x="3434797" y="2352580"/>
                </a:cubicBezTo>
                <a:cubicBezTo>
                  <a:pt x="3438421" y="2356675"/>
                  <a:pt x="3417375" y="2366486"/>
                  <a:pt x="3390709" y="2373249"/>
                </a:cubicBezTo>
                <a:cubicBezTo>
                  <a:pt x="3378200" y="2376472"/>
                  <a:pt x="3365469" y="2378795"/>
                  <a:pt x="3352621" y="2380202"/>
                </a:cubicBezTo>
                <a:cubicBezTo>
                  <a:pt x="3345554" y="2381683"/>
                  <a:pt x="3338212" y="2381223"/>
                  <a:pt x="3331383" y="2378869"/>
                </a:cubicBezTo>
                <a:cubicBezTo>
                  <a:pt x="3326908" y="2374868"/>
                  <a:pt x="3347573" y="2365057"/>
                  <a:pt x="3375287" y="2358009"/>
                </a:cubicBezTo>
                <a:cubicBezTo>
                  <a:pt x="3389140" y="2354485"/>
                  <a:pt x="3403112" y="2352103"/>
                  <a:pt x="3414078" y="2351115"/>
                </a:cubicBezTo>
                <a:close/>
                <a:moveTo>
                  <a:pt x="3905792" y="2350865"/>
                </a:moveTo>
                <a:cubicBezTo>
                  <a:pt x="3905887" y="2352865"/>
                  <a:pt x="3894743" y="2357818"/>
                  <a:pt x="3880169" y="2361818"/>
                </a:cubicBezTo>
                <a:cubicBezTo>
                  <a:pt x="3865596" y="2365819"/>
                  <a:pt x="3854738" y="2367057"/>
                  <a:pt x="3855214" y="2364771"/>
                </a:cubicBezTo>
                <a:cubicBezTo>
                  <a:pt x="3855690" y="2362485"/>
                  <a:pt x="3866739" y="2357913"/>
                  <a:pt x="3880836" y="2354008"/>
                </a:cubicBezTo>
                <a:cubicBezTo>
                  <a:pt x="3894933" y="2350198"/>
                  <a:pt x="3905696" y="2348864"/>
                  <a:pt x="3905792" y="2350865"/>
                </a:cubicBezTo>
                <a:close/>
                <a:moveTo>
                  <a:pt x="3733151" y="2348019"/>
                </a:moveTo>
                <a:cubicBezTo>
                  <a:pt x="3739938" y="2347245"/>
                  <a:pt x="3744201" y="2347579"/>
                  <a:pt x="3744629" y="2349150"/>
                </a:cubicBezTo>
                <a:cubicBezTo>
                  <a:pt x="3745486" y="2352294"/>
                  <a:pt x="3730913" y="2358675"/>
                  <a:pt x="3710339" y="2364200"/>
                </a:cubicBezTo>
                <a:cubicBezTo>
                  <a:pt x="3689765" y="2369724"/>
                  <a:pt x="3674715" y="2371344"/>
                  <a:pt x="3673001" y="2368581"/>
                </a:cubicBezTo>
                <a:cubicBezTo>
                  <a:pt x="3671286" y="2365819"/>
                  <a:pt x="3685479" y="2359247"/>
                  <a:pt x="3706529" y="2353532"/>
                </a:cubicBezTo>
                <a:cubicBezTo>
                  <a:pt x="3717054" y="2350675"/>
                  <a:pt x="3726365" y="2348793"/>
                  <a:pt x="3733151" y="2348019"/>
                </a:cubicBezTo>
                <a:close/>
                <a:moveTo>
                  <a:pt x="1035650" y="2348008"/>
                </a:moveTo>
                <a:cubicBezTo>
                  <a:pt x="1042317" y="2348008"/>
                  <a:pt x="1049651" y="2349151"/>
                  <a:pt x="1057271" y="2350199"/>
                </a:cubicBezTo>
                <a:cubicBezTo>
                  <a:pt x="1064891" y="2351246"/>
                  <a:pt x="1072606" y="2352294"/>
                  <a:pt x="1080131" y="2353628"/>
                </a:cubicBezTo>
                <a:cubicBezTo>
                  <a:pt x="1092657" y="2355577"/>
                  <a:pt x="1105020" y="2358507"/>
                  <a:pt x="1117088" y="2362391"/>
                </a:cubicBezTo>
                <a:cubicBezTo>
                  <a:pt x="1125946" y="2365534"/>
                  <a:pt x="1128328" y="2368391"/>
                  <a:pt x="1125280" y="2370296"/>
                </a:cubicBezTo>
                <a:cubicBezTo>
                  <a:pt x="1122622" y="2371663"/>
                  <a:pt x="1119689" y="2372413"/>
                  <a:pt x="1116707" y="2372487"/>
                </a:cubicBezTo>
                <a:cubicBezTo>
                  <a:pt x="1111316" y="2372893"/>
                  <a:pt x="1105906" y="2372893"/>
                  <a:pt x="1100515" y="2372487"/>
                </a:cubicBezTo>
                <a:cubicBezTo>
                  <a:pt x="1094133" y="2372487"/>
                  <a:pt x="1086894" y="2371630"/>
                  <a:pt x="1079560" y="2370773"/>
                </a:cubicBezTo>
                <a:cubicBezTo>
                  <a:pt x="1072226" y="2369915"/>
                  <a:pt x="1064225" y="2368677"/>
                  <a:pt x="1056795" y="2367344"/>
                </a:cubicBezTo>
                <a:cubicBezTo>
                  <a:pt x="1044023" y="2365382"/>
                  <a:pt x="1031439" y="2362355"/>
                  <a:pt x="1019171" y="2358295"/>
                </a:cubicBezTo>
                <a:cubicBezTo>
                  <a:pt x="1000121" y="2351246"/>
                  <a:pt x="1008313" y="2346103"/>
                  <a:pt x="1035650" y="2348008"/>
                </a:cubicBezTo>
                <a:close/>
                <a:moveTo>
                  <a:pt x="3127079" y="2346376"/>
                </a:moveTo>
                <a:cubicBezTo>
                  <a:pt x="3140509" y="2345388"/>
                  <a:pt x="3150699" y="2346055"/>
                  <a:pt x="3154510" y="2348579"/>
                </a:cubicBezTo>
                <a:cubicBezTo>
                  <a:pt x="3162130" y="2353627"/>
                  <a:pt x="3141650" y="2363438"/>
                  <a:pt x="3109361" y="2371725"/>
                </a:cubicBezTo>
                <a:cubicBezTo>
                  <a:pt x="3094312" y="2375457"/>
                  <a:pt x="3078995" y="2377973"/>
                  <a:pt x="3063545" y="2379249"/>
                </a:cubicBezTo>
                <a:cubicBezTo>
                  <a:pt x="3054162" y="2380765"/>
                  <a:pt x="3044563" y="2380147"/>
                  <a:pt x="3035444" y="2377440"/>
                </a:cubicBezTo>
                <a:cubicBezTo>
                  <a:pt x="3026683" y="2372677"/>
                  <a:pt x="3046686" y="2362295"/>
                  <a:pt x="3080215" y="2354103"/>
                </a:cubicBezTo>
                <a:cubicBezTo>
                  <a:pt x="3096980" y="2350008"/>
                  <a:pt x="3113646" y="2347365"/>
                  <a:pt x="3127079" y="2346376"/>
                </a:cubicBezTo>
                <a:close/>
                <a:moveTo>
                  <a:pt x="4104293" y="2346007"/>
                </a:moveTo>
                <a:cubicBezTo>
                  <a:pt x="4100779" y="2348207"/>
                  <a:pt x="4096913" y="2349787"/>
                  <a:pt x="4092863" y="2350674"/>
                </a:cubicBezTo>
                <a:cubicBezTo>
                  <a:pt x="4086672" y="2352675"/>
                  <a:pt x="4081623" y="2353151"/>
                  <a:pt x="4082290" y="2352103"/>
                </a:cubicBezTo>
                <a:cubicBezTo>
                  <a:pt x="4085755" y="2349875"/>
                  <a:pt x="4089596" y="2348294"/>
                  <a:pt x="4093625" y="2347436"/>
                </a:cubicBezTo>
                <a:cubicBezTo>
                  <a:pt x="4099816" y="2345721"/>
                  <a:pt x="4104864" y="2344959"/>
                  <a:pt x="4104293" y="2346007"/>
                </a:cubicBezTo>
                <a:close/>
                <a:moveTo>
                  <a:pt x="3981896" y="2343817"/>
                </a:moveTo>
                <a:cubicBezTo>
                  <a:pt x="3975223" y="2348719"/>
                  <a:pt x="3967490" y="2351982"/>
                  <a:pt x="3959322" y="2353342"/>
                </a:cubicBezTo>
                <a:cubicBezTo>
                  <a:pt x="3947511" y="2356580"/>
                  <a:pt x="3938843" y="2357723"/>
                  <a:pt x="3939034" y="2355913"/>
                </a:cubicBezTo>
                <a:cubicBezTo>
                  <a:pt x="3945668" y="2350943"/>
                  <a:pt x="3953419" y="2347672"/>
                  <a:pt x="3961608" y="2346388"/>
                </a:cubicBezTo>
                <a:cubicBezTo>
                  <a:pt x="3973610" y="2343055"/>
                  <a:pt x="3982182" y="2342007"/>
                  <a:pt x="3981896" y="2343817"/>
                </a:cubicBezTo>
                <a:close/>
                <a:moveTo>
                  <a:pt x="3533009" y="2343496"/>
                </a:moveTo>
                <a:cubicBezTo>
                  <a:pt x="3542367" y="2342507"/>
                  <a:pt x="3548606" y="2342912"/>
                  <a:pt x="3550035" y="2345055"/>
                </a:cubicBezTo>
                <a:cubicBezTo>
                  <a:pt x="3552893" y="2349341"/>
                  <a:pt x="3535176" y="2357342"/>
                  <a:pt x="3508126" y="2364105"/>
                </a:cubicBezTo>
                <a:cubicBezTo>
                  <a:pt x="3481080" y="2370868"/>
                  <a:pt x="3459272" y="2373249"/>
                  <a:pt x="3455462" y="2369344"/>
                </a:cubicBezTo>
                <a:cubicBezTo>
                  <a:pt x="3451845" y="2365343"/>
                  <a:pt x="3469462" y="2357152"/>
                  <a:pt x="3497269" y="2350294"/>
                </a:cubicBezTo>
                <a:cubicBezTo>
                  <a:pt x="3511174" y="2346865"/>
                  <a:pt x="3523652" y="2344484"/>
                  <a:pt x="3533009" y="2343496"/>
                </a:cubicBezTo>
                <a:close/>
                <a:moveTo>
                  <a:pt x="1506385" y="2342102"/>
                </a:moveTo>
                <a:cubicBezTo>
                  <a:pt x="1514862" y="2342102"/>
                  <a:pt x="1523149" y="2342102"/>
                  <a:pt x="1531150" y="2343150"/>
                </a:cubicBezTo>
                <a:cubicBezTo>
                  <a:pt x="1544895" y="2343971"/>
                  <a:pt x="1558506" y="2346335"/>
                  <a:pt x="1571727" y="2350198"/>
                </a:cubicBezTo>
                <a:cubicBezTo>
                  <a:pt x="1590300" y="2356390"/>
                  <a:pt x="1581252" y="2362486"/>
                  <a:pt x="1550581" y="2365057"/>
                </a:cubicBezTo>
                <a:cubicBezTo>
                  <a:pt x="1542961" y="2365724"/>
                  <a:pt x="1534960" y="2366010"/>
                  <a:pt x="1527054" y="2366010"/>
                </a:cubicBezTo>
                <a:cubicBezTo>
                  <a:pt x="1519148" y="2366010"/>
                  <a:pt x="1511147" y="2366010"/>
                  <a:pt x="1503528" y="2365057"/>
                </a:cubicBezTo>
                <a:cubicBezTo>
                  <a:pt x="1490059" y="2364231"/>
                  <a:pt x="1476716" y="2361996"/>
                  <a:pt x="1463713" y="2358390"/>
                </a:cubicBezTo>
                <a:cubicBezTo>
                  <a:pt x="1453141" y="2355056"/>
                  <a:pt x="1449616" y="2351818"/>
                  <a:pt x="1452664" y="2348865"/>
                </a:cubicBezTo>
                <a:cubicBezTo>
                  <a:pt x="1461627" y="2344774"/>
                  <a:pt x="1471390" y="2342755"/>
                  <a:pt x="1481239" y="2342959"/>
                </a:cubicBezTo>
                <a:cubicBezTo>
                  <a:pt x="1489430" y="2342293"/>
                  <a:pt x="1497908" y="2342102"/>
                  <a:pt x="1506385" y="2342102"/>
                </a:cubicBezTo>
                <a:close/>
                <a:moveTo>
                  <a:pt x="2311686" y="2340805"/>
                </a:moveTo>
                <a:cubicBezTo>
                  <a:pt x="2327808" y="2340698"/>
                  <a:pt x="2341404" y="2342103"/>
                  <a:pt x="2348786" y="2345055"/>
                </a:cubicBezTo>
                <a:cubicBezTo>
                  <a:pt x="2363549" y="2350961"/>
                  <a:pt x="2347262" y="2360200"/>
                  <a:pt x="2313163" y="2366201"/>
                </a:cubicBezTo>
                <a:cubicBezTo>
                  <a:pt x="2280682" y="2372011"/>
                  <a:pt x="2242677" y="2372297"/>
                  <a:pt x="2226770" y="2366963"/>
                </a:cubicBezTo>
                <a:cubicBezTo>
                  <a:pt x="2210864" y="2361629"/>
                  <a:pt x="2224484" y="2351913"/>
                  <a:pt x="2259441" y="2345627"/>
                </a:cubicBezTo>
                <a:cubicBezTo>
                  <a:pt x="2276920" y="2342531"/>
                  <a:pt x="2295565" y="2340912"/>
                  <a:pt x="2311686" y="2340805"/>
                </a:cubicBezTo>
                <a:close/>
                <a:moveTo>
                  <a:pt x="2542434" y="2340388"/>
                </a:moveTo>
                <a:cubicBezTo>
                  <a:pt x="2554102" y="2339380"/>
                  <a:pt x="2565847" y="2340674"/>
                  <a:pt x="2577009" y="2344198"/>
                </a:cubicBezTo>
                <a:cubicBezTo>
                  <a:pt x="2588820" y="2349913"/>
                  <a:pt x="2570055" y="2360200"/>
                  <a:pt x="2535671" y="2366772"/>
                </a:cubicBezTo>
                <a:cubicBezTo>
                  <a:pt x="2527289" y="2368391"/>
                  <a:pt x="2518715" y="2369629"/>
                  <a:pt x="2510239" y="2370582"/>
                </a:cubicBezTo>
                <a:cubicBezTo>
                  <a:pt x="2501763" y="2371534"/>
                  <a:pt x="2493570" y="2372011"/>
                  <a:pt x="2485950" y="2372201"/>
                </a:cubicBezTo>
                <a:cubicBezTo>
                  <a:pt x="2474282" y="2373045"/>
                  <a:pt x="2462558" y="2371886"/>
                  <a:pt x="2451278" y="2368772"/>
                </a:cubicBezTo>
                <a:cubicBezTo>
                  <a:pt x="2437086" y="2363152"/>
                  <a:pt x="2454708" y="2352675"/>
                  <a:pt x="2490141" y="2346007"/>
                </a:cubicBezTo>
                <a:cubicBezTo>
                  <a:pt x="2507391" y="2342736"/>
                  <a:pt x="2524879" y="2340856"/>
                  <a:pt x="2542434" y="2340388"/>
                </a:cubicBezTo>
                <a:close/>
                <a:moveTo>
                  <a:pt x="3825853" y="2340055"/>
                </a:moveTo>
                <a:cubicBezTo>
                  <a:pt x="3831973" y="2339388"/>
                  <a:pt x="3835831" y="2339674"/>
                  <a:pt x="3835593" y="2341150"/>
                </a:cubicBezTo>
                <a:cubicBezTo>
                  <a:pt x="3835116" y="2344103"/>
                  <a:pt x="3820353" y="2350675"/>
                  <a:pt x="3803684" y="2354771"/>
                </a:cubicBezTo>
                <a:cubicBezTo>
                  <a:pt x="3787015" y="2358866"/>
                  <a:pt x="3769775" y="2361438"/>
                  <a:pt x="3769775" y="2358866"/>
                </a:cubicBezTo>
                <a:cubicBezTo>
                  <a:pt x="3769775" y="2356104"/>
                  <a:pt x="3784919" y="2349341"/>
                  <a:pt x="3802541" y="2344674"/>
                </a:cubicBezTo>
                <a:cubicBezTo>
                  <a:pt x="3811352" y="2342341"/>
                  <a:pt x="3819734" y="2340721"/>
                  <a:pt x="3825853" y="2340055"/>
                </a:cubicBezTo>
                <a:close/>
                <a:moveTo>
                  <a:pt x="2048648" y="2338102"/>
                </a:moveTo>
                <a:cubicBezTo>
                  <a:pt x="2061677" y="2337868"/>
                  <a:pt x="2074689" y="2339373"/>
                  <a:pt x="2087319" y="2342578"/>
                </a:cubicBezTo>
                <a:cubicBezTo>
                  <a:pt x="2105130" y="2348674"/>
                  <a:pt x="2093415" y="2357247"/>
                  <a:pt x="2060458" y="2362200"/>
                </a:cubicBezTo>
                <a:cubicBezTo>
                  <a:pt x="2043666" y="2364826"/>
                  <a:pt x="2026683" y="2366036"/>
                  <a:pt x="2009691" y="2365819"/>
                </a:cubicBezTo>
                <a:cubicBezTo>
                  <a:pt x="1996232" y="2366063"/>
                  <a:pt x="1982802" y="2364461"/>
                  <a:pt x="1969781" y="2361057"/>
                </a:cubicBezTo>
                <a:cubicBezTo>
                  <a:pt x="1951399" y="2355056"/>
                  <a:pt x="1964066" y="2346388"/>
                  <a:pt x="1998356" y="2341340"/>
                </a:cubicBezTo>
                <a:cubicBezTo>
                  <a:pt x="2006548" y="2340197"/>
                  <a:pt x="2015120" y="2339340"/>
                  <a:pt x="2023597" y="2338768"/>
                </a:cubicBezTo>
                <a:cubicBezTo>
                  <a:pt x="2032075" y="2338197"/>
                  <a:pt x="2040647" y="2338006"/>
                  <a:pt x="2048648" y="2338102"/>
                </a:cubicBezTo>
                <a:close/>
                <a:moveTo>
                  <a:pt x="3276618" y="2338042"/>
                </a:moveTo>
                <a:cubicBezTo>
                  <a:pt x="3288547" y="2337220"/>
                  <a:pt x="3297143" y="2337959"/>
                  <a:pt x="3299952" y="2340292"/>
                </a:cubicBezTo>
                <a:cubicBezTo>
                  <a:pt x="3305573" y="2344959"/>
                  <a:pt x="3285001" y="2355246"/>
                  <a:pt x="3252428" y="2363247"/>
                </a:cubicBezTo>
                <a:cubicBezTo>
                  <a:pt x="3238111" y="2366911"/>
                  <a:pt x="3223520" y="2369427"/>
                  <a:pt x="3208802" y="2370772"/>
                </a:cubicBezTo>
                <a:cubicBezTo>
                  <a:pt x="3200679" y="2372250"/>
                  <a:pt x="3192306" y="2371460"/>
                  <a:pt x="3184609" y="2368486"/>
                </a:cubicBezTo>
                <a:cubicBezTo>
                  <a:pt x="3178226" y="2363533"/>
                  <a:pt x="3199278" y="2353437"/>
                  <a:pt x="3233282" y="2345150"/>
                </a:cubicBezTo>
                <a:cubicBezTo>
                  <a:pt x="3249427" y="2341245"/>
                  <a:pt x="3264691" y="2338863"/>
                  <a:pt x="3276618" y="2338042"/>
                </a:cubicBezTo>
                <a:close/>
                <a:moveTo>
                  <a:pt x="4053239" y="2336863"/>
                </a:moveTo>
                <a:cubicBezTo>
                  <a:pt x="4047726" y="2340643"/>
                  <a:pt x="4041505" y="2343267"/>
                  <a:pt x="4034951" y="2344579"/>
                </a:cubicBezTo>
                <a:cubicBezTo>
                  <a:pt x="4025426" y="2347246"/>
                  <a:pt x="4017806" y="2348293"/>
                  <a:pt x="4017996" y="2346865"/>
                </a:cubicBezTo>
                <a:cubicBezTo>
                  <a:pt x="4023685" y="2342836"/>
                  <a:pt x="4030187" y="2340105"/>
                  <a:pt x="4037046" y="2338864"/>
                </a:cubicBezTo>
                <a:cubicBezTo>
                  <a:pt x="4046571" y="2336197"/>
                  <a:pt x="4053906" y="2335339"/>
                  <a:pt x="4053239" y="2336863"/>
                </a:cubicBezTo>
                <a:close/>
                <a:moveTo>
                  <a:pt x="2749658" y="2336267"/>
                </a:moveTo>
                <a:cubicBezTo>
                  <a:pt x="2765342" y="2335482"/>
                  <a:pt x="2778271" y="2336291"/>
                  <a:pt x="2784270" y="2338958"/>
                </a:cubicBezTo>
                <a:cubicBezTo>
                  <a:pt x="2790271" y="2341530"/>
                  <a:pt x="2788366" y="2345626"/>
                  <a:pt x="2780747" y="2350103"/>
                </a:cubicBezTo>
                <a:cubicBezTo>
                  <a:pt x="2768699" y="2356099"/>
                  <a:pt x="2755877" y="2360394"/>
                  <a:pt x="2742646" y="2362866"/>
                </a:cubicBezTo>
                <a:cubicBezTo>
                  <a:pt x="2726179" y="2366385"/>
                  <a:pt x="2709465" y="2368582"/>
                  <a:pt x="2692645" y="2369438"/>
                </a:cubicBezTo>
                <a:cubicBezTo>
                  <a:pt x="2681118" y="2370555"/>
                  <a:pt x="2669479" y="2369653"/>
                  <a:pt x="2658260" y="2366771"/>
                </a:cubicBezTo>
                <a:cubicBezTo>
                  <a:pt x="2645876" y="2361152"/>
                  <a:pt x="2664927" y="2350198"/>
                  <a:pt x="2698549" y="2343149"/>
                </a:cubicBezTo>
                <a:cubicBezTo>
                  <a:pt x="2715552" y="2339435"/>
                  <a:pt x="2733979" y="2337053"/>
                  <a:pt x="2749658" y="2336267"/>
                </a:cubicBezTo>
                <a:close/>
                <a:moveTo>
                  <a:pt x="3639807" y="2335970"/>
                </a:moveTo>
                <a:cubicBezTo>
                  <a:pt x="3648308" y="2335196"/>
                  <a:pt x="3653904" y="2335720"/>
                  <a:pt x="3654427" y="2337625"/>
                </a:cubicBezTo>
                <a:cubicBezTo>
                  <a:pt x="3655475" y="2341435"/>
                  <a:pt x="3636425" y="2350103"/>
                  <a:pt x="3613660" y="2356199"/>
                </a:cubicBezTo>
                <a:cubicBezTo>
                  <a:pt x="3590515" y="2362295"/>
                  <a:pt x="3568513" y="2364676"/>
                  <a:pt x="3566036" y="2361152"/>
                </a:cubicBezTo>
                <a:cubicBezTo>
                  <a:pt x="3563560" y="2357627"/>
                  <a:pt x="3583466" y="2348674"/>
                  <a:pt x="3607755" y="2342102"/>
                </a:cubicBezTo>
                <a:cubicBezTo>
                  <a:pt x="3619900" y="2338816"/>
                  <a:pt x="3631306" y="2336744"/>
                  <a:pt x="3639807" y="2335970"/>
                </a:cubicBezTo>
                <a:close/>
                <a:moveTo>
                  <a:pt x="3910067" y="2333041"/>
                </a:moveTo>
                <a:cubicBezTo>
                  <a:pt x="3915246" y="2332434"/>
                  <a:pt x="3918461" y="2332672"/>
                  <a:pt x="3918461" y="2333910"/>
                </a:cubicBezTo>
                <a:cubicBezTo>
                  <a:pt x="3918461" y="2336387"/>
                  <a:pt x="3904649" y="2342197"/>
                  <a:pt x="3889219" y="2346388"/>
                </a:cubicBezTo>
                <a:cubicBezTo>
                  <a:pt x="3873788" y="2350579"/>
                  <a:pt x="3860644" y="2352103"/>
                  <a:pt x="3860644" y="2349722"/>
                </a:cubicBezTo>
                <a:cubicBezTo>
                  <a:pt x="3860644" y="2347341"/>
                  <a:pt x="3874550" y="2341530"/>
                  <a:pt x="3889886" y="2337244"/>
                </a:cubicBezTo>
                <a:cubicBezTo>
                  <a:pt x="3897744" y="2335101"/>
                  <a:pt x="3904888" y="2333649"/>
                  <a:pt x="3910067" y="2333041"/>
                </a:cubicBezTo>
                <a:close/>
                <a:moveTo>
                  <a:pt x="4120676" y="2330576"/>
                </a:moveTo>
                <a:cubicBezTo>
                  <a:pt x="4116226" y="2333297"/>
                  <a:pt x="4111371" y="2335290"/>
                  <a:pt x="4106294" y="2336482"/>
                </a:cubicBezTo>
                <a:cubicBezTo>
                  <a:pt x="4098864" y="2338673"/>
                  <a:pt x="4092101" y="2339625"/>
                  <a:pt x="4092578" y="2338387"/>
                </a:cubicBezTo>
                <a:cubicBezTo>
                  <a:pt x="4097014" y="2335620"/>
                  <a:pt x="4101872" y="2333593"/>
                  <a:pt x="4106960" y="2332386"/>
                </a:cubicBezTo>
                <a:cubicBezTo>
                  <a:pt x="4114485" y="2330291"/>
                  <a:pt x="4121248" y="2329338"/>
                  <a:pt x="4120676" y="2330576"/>
                </a:cubicBezTo>
                <a:close/>
                <a:moveTo>
                  <a:pt x="3406804" y="2330339"/>
                </a:moveTo>
                <a:cubicBezTo>
                  <a:pt x="3417925" y="2329505"/>
                  <a:pt x="3425514" y="2330339"/>
                  <a:pt x="3427372" y="2332958"/>
                </a:cubicBezTo>
                <a:cubicBezTo>
                  <a:pt x="3431083" y="2338197"/>
                  <a:pt x="3410327" y="2347341"/>
                  <a:pt x="3379759" y="2355056"/>
                </a:cubicBezTo>
                <a:cubicBezTo>
                  <a:pt x="3349193" y="2362771"/>
                  <a:pt x="3322144" y="2365248"/>
                  <a:pt x="3317478" y="2360485"/>
                </a:cubicBezTo>
                <a:cubicBezTo>
                  <a:pt x="3312430" y="2355628"/>
                  <a:pt x="3333195" y="2345817"/>
                  <a:pt x="3365097" y="2337721"/>
                </a:cubicBezTo>
                <a:cubicBezTo>
                  <a:pt x="3381044" y="2333673"/>
                  <a:pt x="3395686" y="2331172"/>
                  <a:pt x="3406804" y="2330339"/>
                </a:cubicBezTo>
                <a:close/>
                <a:moveTo>
                  <a:pt x="2939338" y="2328767"/>
                </a:moveTo>
                <a:cubicBezTo>
                  <a:pt x="2949873" y="2327237"/>
                  <a:pt x="2960618" y="2328249"/>
                  <a:pt x="2970676" y="2331720"/>
                </a:cubicBezTo>
                <a:cubicBezTo>
                  <a:pt x="2974868" y="2334482"/>
                  <a:pt x="2971818" y="2338578"/>
                  <a:pt x="2963626" y="2342960"/>
                </a:cubicBezTo>
                <a:cubicBezTo>
                  <a:pt x="2951494" y="2348774"/>
                  <a:pt x="2938701" y="2353091"/>
                  <a:pt x="2925527" y="2355818"/>
                </a:cubicBezTo>
                <a:cubicBezTo>
                  <a:pt x="2908994" y="2359646"/>
                  <a:pt x="2892171" y="2362131"/>
                  <a:pt x="2875236" y="2363248"/>
                </a:cubicBezTo>
                <a:cubicBezTo>
                  <a:pt x="2864461" y="2364610"/>
                  <a:pt x="2853528" y="2363701"/>
                  <a:pt x="2843137" y="2360581"/>
                </a:cubicBezTo>
                <a:cubicBezTo>
                  <a:pt x="2833229" y="2355056"/>
                  <a:pt x="2853518" y="2344007"/>
                  <a:pt x="2887807" y="2336197"/>
                </a:cubicBezTo>
                <a:cubicBezTo>
                  <a:pt x="2896666" y="2334101"/>
                  <a:pt x="2905715" y="2332482"/>
                  <a:pt x="2914479" y="2331244"/>
                </a:cubicBezTo>
                <a:cubicBezTo>
                  <a:pt x="2923242" y="2330006"/>
                  <a:pt x="2931718" y="2329148"/>
                  <a:pt x="2939338" y="2328767"/>
                </a:cubicBezTo>
                <a:close/>
                <a:moveTo>
                  <a:pt x="3741164" y="2328528"/>
                </a:moveTo>
                <a:cubicBezTo>
                  <a:pt x="3748701" y="2327743"/>
                  <a:pt x="3753392" y="2328195"/>
                  <a:pt x="3753582" y="2330100"/>
                </a:cubicBezTo>
                <a:cubicBezTo>
                  <a:pt x="3753963" y="2333910"/>
                  <a:pt x="3737199" y="2340959"/>
                  <a:pt x="3715006" y="2346959"/>
                </a:cubicBezTo>
                <a:cubicBezTo>
                  <a:pt x="3692813" y="2352960"/>
                  <a:pt x="3674525" y="2354675"/>
                  <a:pt x="3673572" y="2351246"/>
                </a:cubicBezTo>
                <a:cubicBezTo>
                  <a:pt x="3672239" y="2347817"/>
                  <a:pt x="3688526" y="2340482"/>
                  <a:pt x="3711672" y="2334386"/>
                </a:cubicBezTo>
                <a:cubicBezTo>
                  <a:pt x="3723245" y="2331338"/>
                  <a:pt x="3733627" y="2329314"/>
                  <a:pt x="3741164" y="2328528"/>
                </a:cubicBezTo>
                <a:close/>
                <a:moveTo>
                  <a:pt x="3996279" y="2327148"/>
                </a:moveTo>
                <a:cubicBezTo>
                  <a:pt x="3988886" y="2332566"/>
                  <a:pt x="3980348" y="2336216"/>
                  <a:pt x="3971323" y="2337816"/>
                </a:cubicBezTo>
                <a:cubicBezTo>
                  <a:pt x="3957893" y="2341626"/>
                  <a:pt x="3946654" y="2343150"/>
                  <a:pt x="3946558" y="2341150"/>
                </a:cubicBezTo>
                <a:cubicBezTo>
                  <a:pt x="3946463" y="2339149"/>
                  <a:pt x="3957893" y="2334196"/>
                  <a:pt x="3971514" y="2330291"/>
                </a:cubicBezTo>
                <a:cubicBezTo>
                  <a:pt x="3985230" y="2326481"/>
                  <a:pt x="3996469" y="2325052"/>
                  <a:pt x="3996279" y="2327148"/>
                </a:cubicBezTo>
                <a:close/>
                <a:moveTo>
                  <a:pt x="4180588" y="2325434"/>
                </a:moveTo>
                <a:cubicBezTo>
                  <a:pt x="4176857" y="2327630"/>
                  <a:pt x="4172809" y="2329237"/>
                  <a:pt x="4168586" y="2330196"/>
                </a:cubicBezTo>
                <a:cubicBezTo>
                  <a:pt x="4163824" y="2331434"/>
                  <a:pt x="4159918" y="2331815"/>
                  <a:pt x="4160871" y="2330863"/>
                </a:cubicBezTo>
                <a:cubicBezTo>
                  <a:pt x="4164447" y="2328925"/>
                  <a:pt x="4168256" y="2327452"/>
                  <a:pt x="4172206" y="2326481"/>
                </a:cubicBezTo>
                <a:cubicBezTo>
                  <a:pt x="4176968" y="2325148"/>
                  <a:pt x="4181254" y="2324672"/>
                  <a:pt x="4180588" y="2325434"/>
                </a:cubicBezTo>
                <a:close/>
                <a:moveTo>
                  <a:pt x="1721366" y="2325338"/>
                </a:moveTo>
                <a:cubicBezTo>
                  <a:pt x="1729843" y="2325338"/>
                  <a:pt x="1738416" y="2325338"/>
                  <a:pt x="1746512" y="2325338"/>
                </a:cubicBezTo>
                <a:cubicBezTo>
                  <a:pt x="1760256" y="2325628"/>
                  <a:pt x="1773906" y="2327578"/>
                  <a:pt x="1787184" y="2331148"/>
                </a:cubicBezTo>
                <a:cubicBezTo>
                  <a:pt x="1807186" y="2337340"/>
                  <a:pt x="1797470" y="2345245"/>
                  <a:pt x="1764990" y="2349151"/>
                </a:cubicBezTo>
                <a:cubicBezTo>
                  <a:pt x="1757275" y="2350103"/>
                  <a:pt x="1749084" y="2350675"/>
                  <a:pt x="1740702" y="2350865"/>
                </a:cubicBezTo>
                <a:cubicBezTo>
                  <a:pt x="1732320" y="2351056"/>
                  <a:pt x="1724033" y="2350865"/>
                  <a:pt x="1716032" y="2350865"/>
                </a:cubicBezTo>
                <a:cubicBezTo>
                  <a:pt x="1702173" y="2350526"/>
                  <a:pt x="1688400" y="2348609"/>
                  <a:pt x="1674980" y="2345150"/>
                </a:cubicBezTo>
                <a:cubicBezTo>
                  <a:pt x="1653358" y="2338578"/>
                  <a:pt x="1662788" y="2330672"/>
                  <a:pt x="1696410" y="2326957"/>
                </a:cubicBezTo>
                <a:lnTo>
                  <a:pt x="1708698" y="2325910"/>
                </a:lnTo>
                <a:cubicBezTo>
                  <a:pt x="1712888" y="2325910"/>
                  <a:pt x="1717175" y="2325910"/>
                  <a:pt x="1721366" y="2325338"/>
                </a:cubicBezTo>
                <a:close/>
                <a:moveTo>
                  <a:pt x="3529283" y="2322993"/>
                </a:moveTo>
                <a:cubicBezTo>
                  <a:pt x="3539938" y="2321957"/>
                  <a:pt x="3547368" y="2322433"/>
                  <a:pt x="3549082" y="2324671"/>
                </a:cubicBezTo>
                <a:cubicBezTo>
                  <a:pt x="3552511" y="2329148"/>
                  <a:pt x="3532223" y="2338768"/>
                  <a:pt x="3504031" y="2346198"/>
                </a:cubicBezTo>
                <a:cubicBezTo>
                  <a:pt x="3475842" y="2353627"/>
                  <a:pt x="3449461" y="2356199"/>
                  <a:pt x="3445272" y="2352008"/>
                </a:cubicBezTo>
                <a:cubicBezTo>
                  <a:pt x="3441084" y="2347817"/>
                  <a:pt x="3461082" y="2338102"/>
                  <a:pt x="3490126" y="2330386"/>
                </a:cubicBezTo>
                <a:cubicBezTo>
                  <a:pt x="3504745" y="2326576"/>
                  <a:pt x="3518627" y="2324028"/>
                  <a:pt x="3529283" y="2322993"/>
                </a:cubicBezTo>
                <a:close/>
                <a:moveTo>
                  <a:pt x="3105646" y="2322862"/>
                </a:moveTo>
                <a:cubicBezTo>
                  <a:pt x="3115239" y="2321275"/>
                  <a:pt x="3125069" y="2322161"/>
                  <a:pt x="3134221" y="2325433"/>
                </a:cubicBezTo>
                <a:cubicBezTo>
                  <a:pt x="3142509" y="2330958"/>
                  <a:pt x="3121647" y="2341912"/>
                  <a:pt x="3086596" y="2350294"/>
                </a:cubicBezTo>
                <a:cubicBezTo>
                  <a:pt x="3078119" y="2352294"/>
                  <a:pt x="3069737" y="2354008"/>
                  <a:pt x="3061638" y="2355247"/>
                </a:cubicBezTo>
                <a:cubicBezTo>
                  <a:pt x="3053544" y="2356485"/>
                  <a:pt x="3045924" y="2357437"/>
                  <a:pt x="3038969" y="2357914"/>
                </a:cubicBezTo>
                <a:cubicBezTo>
                  <a:pt x="3029056" y="2359440"/>
                  <a:pt x="3018910" y="2358658"/>
                  <a:pt x="3009347" y="2355628"/>
                </a:cubicBezTo>
                <a:cubicBezTo>
                  <a:pt x="2999824" y="2350294"/>
                  <a:pt x="3020111" y="2339245"/>
                  <a:pt x="3056972" y="2330577"/>
                </a:cubicBezTo>
                <a:cubicBezTo>
                  <a:pt x="3072956" y="2326658"/>
                  <a:pt x="3089236" y="2324078"/>
                  <a:pt x="3105646" y="2322862"/>
                </a:cubicBezTo>
                <a:close/>
                <a:moveTo>
                  <a:pt x="4066288" y="2321433"/>
                </a:moveTo>
                <a:cubicBezTo>
                  <a:pt x="4059975" y="2325793"/>
                  <a:pt x="4052849" y="2328838"/>
                  <a:pt x="4045333" y="2330386"/>
                </a:cubicBezTo>
                <a:cubicBezTo>
                  <a:pt x="4034284" y="2333625"/>
                  <a:pt x="4024283" y="2334768"/>
                  <a:pt x="4024378" y="2333053"/>
                </a:cubicBezTo>
                <a:cubicBezTo>
                  <a:pt x="4030862" y="2328556"/>
                  <a:pt x="4038235" y="2325503"/>
                  <a:pt x="4046000" y="2324100"/>
                </a:cubicBezTo>
                <a:cubicBezTo>
                  <a:pt x="4057335" y="2320861"/>
                  <a:pt x="4066955" y="2319623"/>
                  <a:pt x="4066288" y="2321433"/>
                </a:cubicBezTo>
                <a:close/>
                <a:moveTo>
                  <a:pt x="3834414" y="2321409"/>
                </a:moveTo>
                <a:cubicBezTo>
                  <a:pt x="3840736" y="2320719"/>
                  <a:pt x="3844546" y="2321147"/>
                  <a:pt x="3844927" y="2322671"/>
                </a:cubicBezTo>
                <a:cubicBezTo>
                  <a:pt x="3845689" y="2325719"/>
                  <a:pt x="3831402" y="2332292"/>
                  <a:pt x="3811018" y="2337911"/>
                </a:cubicBezTo>
                <a:cubicBezTo>
                  <a:pt x="3790540" y="2343531"/>
                  <a:pt x="3774919" y="2345436"/>
                  <a:pt x="3774061" y="2342293"/>
                </a:cubicBezTo>
                <a:cubicBezTo>
                  <a:pt x="3773204" y="2339150"/>
                  <a:pt x="3787968" y="2332768"/>
                  <a:pt x="3808828" y="2326862"/>
                </a:cubicBezTo>
                <a:cubicBezTo>
                  <a:pt x="3819258" y="2323910"/>
                  <a:pt x="3828092" y="2322100"/>
                  <a:pt x="3834414" y="2321409"/>
                </a:cubicBezTo>
                <a:close/>
                <a:moveTo>
                  <a:pt x="744978" y="2317206"/>
                </a:moveTo>
                <a:cubicBezTo>
                  <a:pt x="747038" y="2315742"/>
                  <a:pt x="754801" y="2315909"/>
                  <a:pt x="767707" y="2318099"/>
                </a:cubicBezTo>
                <a:cubicBezTo>
                  <a:pt x="780757" y="2320385"/>
                  <a:pt x="796282" y="2323909"/>
                  <a:pt x="811617" y="2327624"/>
                </a:cubicBezTo>
                <a:cubicBezTo>
                  <a:pt x="819142" y="2329624"/>
                  <a:pt x="826190" y="2331625"/>
                  <a:pt x="832572" y="2333625"/>
                </a:cubicBezTo>
                <a:cubicBezTo>
                  <a:pt x="838134" y="2335314"/>
                  <a:pt x="843602" y="2337284"/>
                  <a:pt x="848955" y="2339530"/>
                </a:cubicBezTo>
                <a:cubicBezTo>
                  <a:pt x="850679" y="2340233"/>
                  <a:pt x="852365" y="2341028"/>
                  <a:pt x="854003" y="2341912"/>
                </a:cubicBezTo>
                <a:cubicBezTo>
                  <a:pt x="855079" y="2342489"/>
                  <a:pt x="856099" y="2343158"/>
                  <a:pt x="857051" y="2343912"/>
                </a:cubicBezTo>
                <a:cubicBezTo>
                  <a:pt x="858575" y="2345150"/>
                  <a:pt x="858766" y="2346198"/>
                  <a:pt x="857813" y="2346865"/>
                </a:cubicBezTo>
                <a:cubicBezTo>
                  <a:pt x="851317" y="2348576"/>
                  <a:pt x="844497" y="2348576"/>
                  <a:pt x="838001" y="2346865"/>
                </a:cubicBezTo>
                <a:cubicBezTo>
                  <a:pt x="832000" y="2346103"/>
                  <a:pt x="825237" y="2344960"/>
                  <a:pt x="818094" y="2343531"/>
                </a:cubicBezTo>
                <a:cubicBezTo>
                  <a:pt x="810950" y="2342102"/>
                  <a:pt x="803140" y="2340292"/>
                  <a:pt x="795710" y="2338292"/>
                </a:cubicBezTo>
                <a:lnTo>
                  <a:pt x="784756" y="2335244"/>
                </a:lnTo>
                <a:lnTo>
                  <a:pt x="779422" y="2333720"/>
                </a:lnTo>
                <a:lnTo>
                  <a:pt x="774184" y="2332006"/>
                </a:lnTo>
                <a:cubicBezTo>
                  <a:pt x="767421" y="2330482"/>
                  <a:pt x="761420" y="2328196"/>
                  <a:pt x="756467" y="2326100"/>
                </a:cubicBezTo>
                <a:cubicBezTo>
                  <a:pt x="746561" y="2321766"/>
                  <a:pt x="742918" y="2318671"/>
                  <a:pt x="744978" y="2317206"/>
                </a:cubicBezTo>
                <a:close/>
                <a:moveTo>
                  <a:pt x="3643116" y="2316277"/>
                </a:moveTo>
                <a:cubicBezTo>
                  <a:pt x="3652522" y="2315360"/>
                  <a:pt x="3658714" y="2315908"/>
                  <a:pt x="3659571" y="2318099"/>
                </a:cubicBezTo>
                <a:cubicBezTo>
                  <a:pt x="3661285" y="2322480"/>
                  <a:pt x="3642616" y="2330862"/>
                  <a:pt x="3615946" y="2338006"/>
                </a:cubicBezTo>
                <a:cubicBezTo>
                  <a:pt x="3589276" y="2345150"/>
                  <a:pt x="3567655" y="2346960"/>
                  <a:pt x="3564798" y="2343150"/>
                </a:cubicBezTo>
                <a:cubicBezTo>
                  <a:pt x="3561941" y="2339054"/>
                  <a:pt x="3579942" y="2330577"/>
                  <a:pt x="3607374" y="2323242"/>
                </a:cubicBezTo>
                <a:cubicBezTo>
                  <a:pt x="3621090" y="2319575"/>
                  <a:pt x="3633711" y="2317194"/>
                  <a:pt x="3643116" y="2316277"/>
                </a:cubicBezTo>
                <a:close/>
                <a:moveTo>
                  <a:pt x="3918496" y="2316075"/>
                </a:moveTo>
                <a:cubicBezTo>
                  <a:pt x="3924532" y="2315337"/>
                  <a:pt x="3928319" y="2315527"/>
                  <a:pt x="3927890" y="2317051"/>
                </a:cubicBezTo>
                <a:cubicBezTo>
                  <a:pt x="3927033" y="2320099"/>
                  <a:pt x="3911888" y="2326576"/>
                  <a:pt x="3895314" y="2330957"/>
                </a:cubicBezTo>
                <a:cubicBezTo>
                  <a:pt x="3878741" y="2335339"/>
                  <a:pt x="3863882" y="2337149"/>
                  <a:pt x="3863882" y="2334577"/>
                </a:cubicBezTo>
                <a:cubicBezTo>
                  <a:pt x="3863882" y="2331815"/>
                  <a:pt x="3878455" y="2325052"/>
                  <a:pt x="3895600" y="2320670"/>
                </a:cubicBezTo>
                <a:cubicBezTo>
                  <a:pt x="3904173" y="2318480"/>
                  <a:pt x="3912459" y="2316813"/>
                  <a:pt x="3918496" y="2316075"/>
                </a:cubicBezTo>
                <a:close/>
                <a:moveTo>
                  <a:pt x="4135058" y="2314575"/>
                </a:moveTo>
                <a:cubicBezTo>
                  <a:pt x="4129267" y="2318374"/>
                  <a:pt x="4122800" y="2321025"/>
                  <a:pt x="4116008" y="2322386"/>
                </a:cubicBezTo>
                <a:cubicBezTo>
                  <a:pt x="4107341" y="2324862"/>
                  <a:pt x="4099911" y="2325815"/>
                  <a:pt x="4100197" y="2324481"/>
                </a:cubicBezTo>
                <a:cubicBezTo>
                  <a:pt x="4106012" y="2320726"/>
                  <a:pt x="4112470" y="2318078"/>
                  <a:pt x="4119247" y="2316671"/>
                </a:cubicBezTo>
                <a:cubicBezTo>
                  <a:pt x="4128010" y="2314575"/>
                  <a:pt x="4135439" y="2313623"/>
                  <a:pt x="4135058" y="2314575"/>
                </a:cubicBezTo>
                <a:close/>
                <a:moveTo>
                  <a:pt x="2487246" y="2309872"/>
                </a:moveTo>
                <a:cubicBezTo>
                  <a:pt x="2504309" y="2309432"/>
                  <a:pt x="2518953" y="2310575"/>
                  <a:pt x="2526335" y="2313432"/>
                </a:cubicBezTo>
                <a:cubicBezTo>
                  <a:pt x="2541099" y="2319147"/>
                  <a:pt x="2523859" y="2330100"/>
                  <a:pt x="2490808" y="2337054"/>
                </a:cubicBezTo>
                <a:cubicBezTo>
                  <a:pt x="2457756" y="2344007"/>
                  <a:pt x="2414608" y="2345055"/>
                  <a:pt x="2398892" y="2339530"/>
                </a:cubicBezTo>
                <a:cubicBezTo>
                  <a:pt x="2383175" y="2334006"/>
                  <a:pt x="2399273" y="2322861"/>
                  <a:pt x="2433657" y="2315813"/>
                </a:cubicBezTo>
                <a:cubicBezTo>
                  <a:pt x="2450708" y="2312337"/>
                  <a:pt x="2470185" y="2310313"/>
                  <a:pt x="2487246" y="2309872"/>
                </a:cubicBezTo>
                <a:close/>
                <a:moveTo>
                  <a:pt x="3744664" y="2309587"/>
                </a:moveTo>
                <a:cubicBezTo>
                  <a:pt x="3752868" y="2308741"/>
                  <a:pt x="3758154" y="2309146"/>
                  <a:pt x="3758630" y="2311051"/>
                </a:cubicBezTo>
                <a:cubicBezTo>
                  <a:pt x="3759583" y="2314861"/>
                  <a:pt x="3739580" y="2323910"/>
                  <a:pt x="3716149" y="2330101"/>
                </a:cubicBezTo>
                <a:cubicBezTo>
                  <a:pt x="3692717" y="2336292"/>
                  <a:pt x="3672238" y="2338292"/>
                  <a:pt x="3670619" y="2334673"/>
                </a:cubicBezTo>
                <a:cubicBezTo>
                  <a:pt x="3669000" y="2330863"/>
                  <a:pt x="3688907" y="2321814"/>
                  <a:pt x="3713196" y="2315623"/>
                </a:cubicBezTo>
                <a:cubicBezTo>
                  <a:pt x="3725341" y="2312528"/>
                  <a:pt x="3736461" y="2310432"/>
                  <a:pt x="3744664" y="2309587"/>
                </a:cubicBezTo>
                <a:close/>
                <a:moveTo>
                  <a:pt x="4199161" y="2309146"/>
                </a:moveTo>
                <a:cubicBezTo>
                  <a:pt x="4194542" y="2311775"/>
                  <a:pt x="4189571" y="2313732"/>
                  <a:pt x="4184398" y="2314956"/>
                </a:cubicBezTo>
                <a:cubicBezTo>
                  <a:pt x="4177825" y="2316766"/>
                  <a:pt x="4172491" y="2317432"/>
                  <a:pt x="4173253" y="2316289"/>
                </a:cubicBezTo>
                <a:cubicBezTo>
                  <a:pt x="4177603" y="2313616"/>
                  <a:pt x="4182367" y="2311684"/>
                  <a:pt x="4187350" y="2310574"/>
                </a:cubicBezTo>
                <a:cubicBezTo>
                  <a:pt x="4194399" y="2308479"/>
                  <a:pt x="4200400" y="2307812"/>
                  <a:pt x="4199161" y="2309146"/>
                </a:cubicBezTo>
                <a:close/>
                <a:moveTo>
                  <a:pt x="4000136" y="2309122"/>
                </a:moveTo>
                <a:cubicBezTo>
                  <a:pt x="4005328" y="2308455"/>
                  <a:pt x="4008566" y="2308622"/>
                  <a:pt x="4008566" y="2309812"/>
                </a:cubicBezTo>
                <a:cubicBezTo>
                  <a:pt x="4000032" y="2315909"/>
                  <a:pt x="3990287" y="2320099"/>
                  <a:pt x="3979991" y="2322099"/>
                </a:cubicBezTo>
                <a:cubicBezTo>
                  <a:pt x="3965894" y="2326100"/>
                  <a:pt x="3952464" y="2327910"/>
                  <a:pt x="3951416" y="2325909"/>
                </a:cubicBezTo>
                <a:cubicBezTo>
                  <a:pt x="3950368" y="2323909"/>
                  <a:pt x="3964370" y="2317718"/>
                  <a:pt x="3979991" y="2313432"/>
                </a:cubicBezTo>
                <a:cubicBezTo>
                  <a:pt x="3987802" y="2311289"/>
                  <a:pt x="3994945" y="2309788"/>
                  <a:pt x="4000136" y="2309122"/>
                </a:cubicBezTo>
                <a:close/>
                <a:moveTo>
                  <a:pt x="2237890" y="2308598"/>
                </a:moveTo>
                <a:cubicBezTo>
                  <a:pt x="2255202" y="2308598"/>
                  <a:pt x="2270204" y="2310051"/>
                  <a:pt x="2278014" y="2312956"/>
                </a:cubicBezTo>
                <a:cubicBezTo>
                  <a:pt x="2293636" y="2318766"/>
                  <a:pt x="2278014" y="2329339"/>
                  <a:pt x="2245060" y="2335149"/>
                </a:cubicBezTo>
                <a:cubicBezTo>
                  <a:pt x="2227628" y="2338105"/>
                  <a:pt x="2209969" y="2339570"/>
                  <a:pt x="2192286" y="2339530"/>
                </a:cubicBezTo>
                <a:cubicBezTo>
                  <a:pt x="2178628" y="2340097"/>
                  <a:pt x="2164950" y="2338653"/>
                  <a:pt x="2151711" y="2335244"/>
                </a:cubicBezTo>
                <a:cubicBezTo>
                  <a:pt x="2134756" y="2329243"/>
                  <a:pt x="2149806" y="2318766"/>
                  <a:pt x="2183904" y="2312956"/>
                </a:cubicBezTo>
                <a:cubicBezTo>
                  <a:pt x="2200958" y="2310051"/>
                  <a:pt x="2220579" y="2308598"/>
                  <a:pt x="2237890" y="2308598"/>
                </a:cubicBezTo>
                <a:close/>
                <a:moveTo>
                  <a:pt x="2704170" y="2307526"/>
                </a:moveTo>
                <a:cubicBezTo>
                  <a:pt x="2716343" y="2306306"/>
                  <a:pt x="2728636" y="2307470"/>
                  <a:pt x="2740361" y="2310955"/>
                </a:cubicBezTo>
                <a:cubicBezTo>
                  <a:pt x="2751793" y="2316670"/>
                  <a:pt x="2733407" y="2327815"/>
                  <a:pt x="2700454" y="2335339"/>
                </a:cubicBezTo>
                <a:cubicBezTo>
                  <a:pt x="2667500" y="2342864"/>
                  <a:pt x="2624540" y="2344769"/>
                  <a:pt x="2610349" y="2339340"/>
                </a:cubicBezTo>
                <a:cubicBezTo>
                  <a:pt x="2596061" y="2333815"/>
                  <a:pt x="2615110" y="2321909"/>
                  <a:pt x="2650353" y="2314289"/>
                </a:cubicBezTo>
                <a:cubicBezTo>
                  <a:pt x="2659211" y="2312384"/>
                  <a:pt x="2668546" y="2310860"/>
                  <a:pt x="2677689" y="2309717"/>
                </a:cubicBezTo>
                <a:cubicBezTo>
                  <a:pt x="2686835" y="2308574"/>
                  <a:pt x="2695883" y="2307907"/>
                  <a:pt x="2704170" y="2307526"/>
                </a:cubicBezTo>
                <a:close/>
                <a:moveTo>
                  <a:pt x="4255931" y="2304478"/>
                </a:moveTo>
                <a:cubicBezTo>
                  <a:pt x="4253082" y="2306448"/>
                  <a:pt x="4249827" y="2307750"/>
                  <a:pt x="4246406" y="2308288"/>
                </a:cubicBezTo>
                <a:cubicBezTo>
                  <a:pt x="4242025" y="2309717"/>
                  <a:pt x="4238881" y="2310193"/>
                  <a:pt x="4239548" y="2309336"/>
                </a:cubicBezTo>
                <a:cubicBezTo>
                  <a:pt x="4242444" y="2307437"/>
                  <a:pt x="4245677" y="2306111"/>
                  <a:pt x="4249073" y="2305431"/>
                </a:cubicBezTo>
                <a:cubicBezTo>
                  <a:pt x="4253836" y="2304097"/>
                  <a:pt x="4256217" y="2303811"/>
                  <a:pt x="4255931" y="2304478"/>
                </a:cubicBezTo>
                <a:close/>
                <a:moveTo>
                  <a:pt x="4082671" y="2303907"/>
                </a:moveTo>
                <a:cubicBezTo>
                  <a:pt x="4074756" y="2308946"/>
                  <a:pt x="4066020" y="2312556"/>
                  <a:pt x="4056858" y="2314575"/>
                </a:cubicBezTo>
                <a:cubicBezTo>
                  <a:pt x="4044571" y="2318004"/>
                  <a:pt x="4033807" y="2319242"/>
                  <a:pt x="4034474" y="2317242"/>
                </a:cubicBezTo>
                <a:cubicBezTo>
                  <a:pt x="4042579" y="2311894"/>
                  <a:pt x="4051632" y="2308143"/>
                  <a:pt x="4061144" y="2306193"/>
                </a:cubicBezTo>
                <a:cubicBezTo>
                  <a:pt x="4073622" y="2302764"/>
                  <a:pt x="4084004" y="2301716"/>
                  <a:pt x="4082671" y="2303907"/>
                </a:cubicBezTo>
                <a:close/>
                <a:moveTo>
                  <a:pt x="3841176" y="2302847"/>
                </a:moveTo>
                <a:cubicBezTo>
                  <a:pt x="3848475" y="2302049"/>
                  <a:pt x="3853023" y="2302478"/>
                  <a:pt x="3853309" y="2304288"/>
                </a:cubicBezTo>
                <a:cubicBezTo>
                  <a:pt x="3853880" y="2307907"/>
                  <a:pt x="3837021" y="2315241"/>
                  <a:pt x="3815209" y="2321242"/>
                </a:cubicBezTo>
                <a:cubicBezTo>
                  <a:pt x="3793397" y="2327338"/>
                  <a:pt x="3775490" y="2329338"/>
                  <a:pt x="3774442" y="2325909"/>
                </a:cubicBezTo>
                <a:cubicBezTo>
                  <a:pt x="3773394" y="2322480"/>
                  <a:pt x="3789968" y="2314956"/>
                  <a:pt x="3812542" y="2308764"/>
                </a:cubicBezTo>
                <a:cubicBezTo>
                  <a:pt x="3823829" y="2305669"/>
                  <a:pt x="3833878" y="2303645"/>
                  <a:pt x="3841176" y="2302847"/>
                </a:cubicBezTo>
                <a:close/>
                <a:moveTo>
                  <a:pt x="2903858" y="2302668"/>
                </a:moveTo>
                <a:cubicBezTo>
                  <a:pt x="2919146" y="2301835"/>
                  <a:pt x="2931148" y="2302859"/>
                  <a:pt x="2936863" y="2305907"/>
                </a:cubicBezTo>
                <a:cubicBezTo>
                  <a:pt x="2942482" y="2308955"/>
                  <a:pt x="2940671" y="2313146"/>
                  <a:pt x="2932957" y="2317623"/>
                </a:cubicBezTo>
                <a:cubicBezTo>
                  <a:pt x="2920460" y="2323843"/>
                  <a:pt x="2907203" y="2328390"/>
                  <a:pt x="2893523" y="2331148"/>
                </a:cubicBezTo>
                <a:cubicBezTo>
                  <a:pt x="2876622" y="2335165"/>
                  <a:pt x="2859421" y="2337746"/>
                  <a:pt x="2842089" y="2338864"/>
                </a:cubicBezTo>
                <a:cubicBezTo>
                  <a:pt x="2830799" y="2340269"/>
                  <a:pt x="2819350" y="2339296"/>
                  <a:pt x="2808466" y="2336006"/>
                </a:cubicBezTo>
                <a:cubicBezTo>
                  <a:pt x="2795412" y="2330005"/>
                  <a:pt x="2813419" y="2319337"/>
                  <a:pt x="2851133" y="2310574"/>
                </a:cubicBezTo>
                <a:cubicBezTo>
                  <a:pt x="2869996" y="2306193"/>
                  <a:pt x="2888569" y="2303502"/>
                  <a:pt x="2903858" y="2302668"/>
                </a:cubicBezTo>
                <a:close/>
                <a:moveTo>
                  <a:pt x="1954064" y="2300669"/>
                </a:moveTo>
                <a:cubicBezTo>
                  <a:pt x="1968018" y="2300562"/>
                  <a:pt x="1981906" y="2302487"/>
                  <a:pt x="1995308" y="2306384"/>
                </a:cubicBezTo>
                <a:cubicBezTo>
                  <a:pt x="2011881" y="2312765"/>
                  <a:pt x="1997498" y="2322481"/>
                  <a:pt x="1965019" y="2326863"/>
                </a:cubicBezTo>
                <a:cubicBezTo>
                  <a:pt x="1947969" y="2329051"/>
                  <a:pt x="1930766" y="2329848"/>
                  <a:pt x="1913584" y="2329244"/>
                </a:cubicBezTo>
                <a:cubicBezTo>
                  <a:pt x="1899820" y="2329123"/>
                  <a:pt x="1886124" y="2327266"/>
                  <a:pt x="1872817" y="2323719"/>
                </a:cubicBezTo>
                <a:cubicBezTo>
                  <a:pt x="1863292" y="2320481"/>
                  <a:pt x="1861482" y="2316480"/>
                  <a:pt x="1866436" y="2312670"/>
                </a:cubicBezTo>
                <a:cubicBezTo>
                  <a:pt x="1876694" y="2307102"/>
                  <a:pt x="1888029" y="2303821"/>
                  <a:pt x="1899678" y="2303050"/>
                </a:cubicBezTo>
                <a:cubicBezTo>
                  <a:pt x="1917709" y="2300767"/>
                  <a:pt x="1935901" y="2299971"/>
                  <a:pt x="1954064" y="2300669"/>
                </a:cubicBezTo>
                <a:close/>
                <a:moveTo>
                  <a:pt x="4149631" y="2298858"/>
                </a:moveTo>
                <a:cubicBezTo>
                  <a:pt x="4143239" y="2303202"/>
                  <a:pt x="4136053" y="2306244"/>
                  <a:pt x="4128486" y="2307812"/>
                </a:cubicBezTo>
                <a:cubicBezTo>
                  <a:pt x="4117913" y="2310860"/>
                  <a:pt x="4109436" y="2312098"/>
                  <a:pt x="4109436" y="2310384"/>
                </a:cubicBezTo>
                <a:cubicBezTo>
                  <a:pt x="4115789" y="2305949"/>
                  <a:pt x="4122987" y="2302868"/>
                  <a:pt x="4130581" y="2301335"/>
                </a:cubicBezTo>
                <a:cubicBezTo>
                  <a:pt x="4141249" y="2298287"/>
                  <a:pt x="4150203" y="2297144"/>
                  <a:pt x="4149631" y="2298858"/>
                </a:cubicBezTo>
                <a:close/>
                <a:moveTo>
                  <a:pt x="3930449" y="2296763"/>
                </a:moveTo>
                <a:cubicBezTo>
                  <a:pt x="3937081" y="2295977"/>
                  <a:pt x="3941224" y="2296335"/>
                  <a:pt x="3941224" y="2298097"/>
                </a:cubicBezTo>
                <a:cubicBezTo>
                  <a:pt x="3941224" y="2301621"/>
                  <a:pt x="3926365" y="2307622"/>
                  <a:pt x="3906744" y="2313241"/>
                </a:cubicBezTo>
                <a:cubicBezTo>
                  <a:pt x="3887122" y="2318861"/>
                  <a:pt x="3871597" y="2320480"/>
                  <a:pt x="3871120" y="2317432"/>
                </a:cubicBezTo>
                <a:cubicBezTo>
                  <a:pt x="3870549" y="2314289"/>
                  <a:pt x="3884836" y="2307907"/>
                  <a:pt x="3904744" y="2302288"/>
                </a:cubicBezTo>
                <a:cubicBezTo>
                  <a:pt x="3914698" y="2299478"/>
                  <a:pt x="3923818" y="2297549"/>
                  <a:pt x="3930449" y="2296763"/>
                </a:cubicBezTo>
                <a:close/>
                <a:moveTo>
                  <a:pt x="3085299" y="2296549"/>
                </a:moveTo>
                <a:cubicBezTo>
                  <a:pt x="3100265" y="2295668"/>
                  <a:pt x="3111601" y="2296763"/>
                  <a:pt x="3116123" y="2299906"/>
                </a:cubicBezTo>
                <a:cubicBezTo>
                  <a:pt x="3125172" y="2306193"/>
                  <a:pt x="3103930" y="2317147"/>
                  <a:pt x="3068498" y="2325719"/>
                </a:cubicBezTo>
                <a:cubicBezTo>
                  <a:pt x="3033066" y="2334292"/>
                  <a:pt x="2995917" y="2336959"/>
                  <a:pt x="2985725" y="2331148"/>
                </a:cubicBezTo>
                <a:cubicBezTo>
                  <a:pt x="2975535" y="2325338"/>
                  <a:pt x="2996200" y="2313813"/>
                  <a:pt x="3032681" y="2305050"/>
                </a:cubicBezTo>
                <a:cubicBezTo>
                  <a:pt x="3051734" y="2300288"/>
                  <a:pt x="3070332" y="2297430"/>
                  <a:pt x="3085299" y="2296549"/>
                </a:cubicBezTo>
                <a:close/>
                <a:moveTo>
                  <a:pt x="3331480" y="2294953"/>
                </a:moveTo>
                <a:cubicBezTo>
                  <a:pt x="3320716" y="2296001"/>
                  <a:pt x="3308906" y="2297811"/>
                  <a:pt x="3300049" y="2297811"/>
                </a:cubicBezTo>
                <a:cubicBezTo>
                  <a:pt x="3292722" y="2297716"/>
                  <a:pt x="3285410" y="2297207"/>
                  <a:pt x="3278144" y="2296287"/>
                </a:cubicBezTo>
                <a:cubicBezTo>
                  <a:pt x="3271572" y="2303907"/>
                  <a:pt x="3252428" y="2311813"/>
                  <a:pt x="3224804" y="2319147"/>
                </a:cubicBezTo>
                <a:cubicBezTo>
                  <a:pt x="3238044" y="2317528"/>
                  <a:pt x="3252238" y="2315242"/>
                  <a:pt x="3262904" y="2314575"/>
                </a:cubicBezTo>
                <a:cubicBezTo>
                  <a:pt x="3271733" y="2314336"/>
                  <a:pt x="3280581" y="2314590"/>
                  <a:pt x="3289381" y="2315337"/>
                </a:cubicBezTo>
                <a:cubicBezTo>
                  <a:pt x="3293572" y="2308860"/>
                  <a:pt x="3310145" y="2301907"/>
                  <a:pt x="3331480" y="2294953"/>
                </a:cubicBezTo>
                <a:close/>
                <a:moveTo>
                  <a:pt x="1114808" y="2294763"/>
                </a:moveTo>
                <a:cubicBezTo>
                  <a:pt x="1122141" y="2294763"/>
                  <a:pt x="1129762" y="2295430"/>
                  <a:pt x="1137572" y="2296192"/>
                </a:cubicBezTo>
                <a:lnTo>
                  <a:pt x="1149288" y="2297525"/>
                </a:lnTo>
                <a:lnTo>
                  <a:pt x="1160909" y="2299145"/>
                </a:lnTo>
                <a:cubicBezTo>
                  <a:pt x="1168529" y="2300383"/>
                  <a:pt x="1175863" y="2301716"/>
                  <a:pt x="1182721" y="2303336"/>
                </a:cubicBezTo>
                <a:cubicBezTo>
                  <a:pt x="1186149" y="2304098"/>
                  <a:pt x="1189387" y="2304955"/>
                  <a:pt x="1192245" y="2305812"/>
                </a:cubicBezTo>
                <a:cubicBezTo>
                  <a:pt x="1195103" y="2306669"/>
                  <a:pt x="1198150" y="2307431"/>
                  <a:pt x="1200817" y="2308384"/>
                </a:cubicBezTo>
                <a:cubicBezTo>
                  <a:pt x="1223107" y="2315909"/>
                  <a:pt x="1218058" y="2321719"/>
                  <a:pt x="1188531" y="2321909"/>
                </a:cubicBezTo>
                <a:cubicBezTo>
                  <a:pt x="1181197" y="2321909"/>
                  <a:pt x="1173386" y="2321909"/>
                  <a:pt x="1165384" y="2320957"/>
                </a:cubicBezTo>
                <a:cubicBezTo>
                  <a:pt x="1161385" y="2320957"/>
                  <a:pt x="1157384" y="2320290"/>
                  <a:pt x="1153288" y="2319719"/>
                </a:cubicBezTo>
                <a:cubicBezTo>
                  <a:pt x="1149192" y="2319147"/>
                  <a:pt x="1145287" y="2318671"/>
                  <a:pt x="1141287" y="2318004"/>
                </a:cubicBezTo>
                <a:cubicBezTo>
                  <a:pt x="1133286" y="2316766"/>
                  <a:pt x="1125571" y="2315242"/>
                  <a:pt x="1118521" y="2313527"/>
                </a:cubicBezTo>
                <a:cubicBezTo>
                  <a:pt x="1112063" y="2311976"/>
                  <a:pt x="1105702" y="2310035"/>
                  <a:pt x="1099471" y="2307717"/>
                </a:cubicBezTo>
                <a:cubicBezTo>
                  <a:pt x="1077088" y="2299430"/>
                  <a:pt x="1083566" y="2293811"/>
                  <a:pt x="1114808" y="2294763"/>
                </a:cubicBezTo>
                <a:close/>
                <a:moveTo>
                  <a:pt x="3643366" y="2294132"/>
                </a:moveTo>
                <a:cubicBezTo>
                  <a:pt x="3653522" y="2293168"/>
                  <a:pt x="3660333" y="2293763"/>
                  <a:pt x="3661571" y="2296097"/>
                </a:cubicBezTo>
                <a:cubicBezTo>
                  <a:pt x="3664047" y="2300764"/>
                  <a:pt x="3643283" y="2310765"/>
                  <a:pt x="3613946" y="2318576"/>
                </a:cubicBezTo>
                <a:cubicBezTo>
                  <a:pt x="3584609" y="2326386"/>
                  <a:pt x="3559942" y="2328101"/>
                  <a:pt x="3557370" y="2323814"/>
                </a:cubicBezTo>
                <a:cubicBezTo>
                  <a:pt x="3554799" y="2319528"/>
                  <a:pt x="3575847" y="2309336"/>
                  <a:pt x="3605088" y="2301526"/>
                </a:cubicBezTo>
                <a:cubicBezTo>
                  <a:pt x="3619709" y="2297621"/>
                  <a:pt x="3633210" y="2295096"/>
                  <a:pt x="3643366" y="2294132"/>
                </a:cubicBezTo>
                <a:close/>
                <a:moveTo>
                  <a:pt x="4215259" y="2293143"/>
                </a:moveTo>
                <a:cubicBezTo>
                  <a:pt x="4210158" y="2296578"/>
                  <a:pt x="4204429" y="2298974"/>
                  <a:pt x="4198400" y="2300192"/>
                </a:cubicBezTo>
                <a:cubicBezTo>
                  <a:pt x="4188875" y="2302764"/>
                  <a:pt x="4183541" y="2303526"/>
                  <a:pt x="4184398" y="2302002"/>
                </a:cubicBezTo>
                <a:cubicBezTo>
                  <a:pt x="4189488" y="2298544"/>
                  <a:pt x="4195222" y="2296147"/>
                  <a:pt x="4201258" y="2294953"/>
                </a:cubicBezTo>
                <a:cubicBezTo>
                  <a:pt x="4210783" y="2292286"/>
                  <a:pt x="4216212" y="2291619"/>
                  <a:pt x="4215259" y="2293143"/>
                </a:cubicBezTo>
                <a:close/>
                <a:moveTo>
                  <a:pt x="1348461" y="2292953"/>
                </a:moveTo>
                <a:cubicBezTo>
                  <a:pt x="1379559" y="2291505"/>
                  <a:pt x="1410706" y="2294716"/>
                  <a:pt x="1440852" y="2302478"/>
                </a:cubicBezTo>
                <a:cubicBezTo>
                  <a:pt x="1461045" y="2310003"/>
                  <a:pt x="1453997" y="2317146"/>
                  <a:pt x="1425327" y="2319242"/>
                </a:cubicBezTo>
                <a:cubicBezTo>
                  <a:pt x="1418088" y="2319718"/>
                  <a:pt x="1410087" y="2319813"/>
                  <a:pt x="1401800" y="2319242"/>
                </a:cubicBezTo>
                <a:cubicBezTo>
                  <a:pt x="1393513" y="2318670"/>
                  <a:pt x="1385036" y="2318480"/>
                  <a:pt x="1376654" y="2317623"/>
                </a:cubicBezTo>
                <a:cubicBezTo>
                  <a:pt x="1368272" y="2316765"/>
                  <a:pt x="1360081" y="2315622"/>
                  <a:pt x="1352651" y="2314194"/>
                </a:cubicBezTo>
                <a:cubicBezTo>
                  <a:pt x="1345983" y="2313053"/>
                  <a:pt x="1339392" y="2311461"/>
                  <a:pt x="1332934" y="2309431"/>
                </a:cubicBezTo>
                <a:cubicBezTo>
                  <a:pt x="1309123" y="2301716"/>
                  <a:pt x="1316171" y="2294191"/>
                  <a:pt x="1348461" y="2292953"/>
                </a:cubicBezTo>
                <a:close/>
                <a:moveTo>
                  <a:pt x="4022569" y="2291619"/>
                </a:moveTo>
                <a:cubicBezTo>
                  <a:pt x="4022092" y="2294762"/>
                  <a:pt x="4007710" y="2300573"/>
                  <a:pt x="3989612" y="2305526"/>
                </a:cubicBezTo>
                <a:cubicBezTo>
                  <a:pt x="3971515" y="2310479"/>
                  <a:pt x="3960847" y="2311431"/>
                  <a:pt x="3961513" y="2308478"/>
                </a:cubicBezTo>
                <a:cubicBezTo>
                  <a:pt x="3962180" y="2305335"/>
                  <a:pt x="3976087" y="2299525"/>
                  <a:pt x="3994470" y="2294477"/>
                </a:cubicBezTo>
                <a:cubicBezTo>
                  <a:pt x="4012853" y="2289428"/>
                  <a:pt x="4023045" y="2288476"/>
                  <a:pt x="4022569" y="2291619"/>
                </a:cubicBezTo>
                <a:close/>
                <a:moveTo>
                  <a:pt x="4276124" y="2288096"/>
                </a:moveTo>
                <a:cubicBezTo>
                  <a:pt x="4272093" y="2290571"/>
                  <a:pt x="4267685" y="2292372"/>
                  <a:pt x="4263074" y="2293429"/>
                </a:cubicBezTo>
                <a:cubicBezTo>
                  <a:pt x="4256597" y="2295239"/>
                  <a:pt x="4252406" y="2295620"/>
                  <a:pt x="4253549" y="2294382"/>
                </a:cubicBezTo>
                <a:cubicBezTo>
                  <a:pt x="4257433" y="2292086"/>
                  <a:pt x="4261639" y="2290383"/>
                  <a:pt x="4266027" y="2289334"/>
                </a:cubicBezTo>
                <a:cubicBezTo>
                  <a:pt x="4272504" y="2287524"/>
                  <a:pt x="4277076" y="2286952"/>
                  <a:pt x="4276124" y="2288096"/>
                </a:cubicBezTo>
                <a:close/>
                <a:moveTo>
                  <a:pt x="3752213" y="2287893"/>
                </a:moveTo>
                <a:cubicBezTo>
                  <a:pt x="3761464" y="2286976"/>
                  <a:pt x="3767441" y="2287524"/>
                  <a:pt x="3767584" y="2289905"/>
                </a:cubicBezTo>
                <a:cubicBezTo>
                  <a:pt x="3767870" y="2294667"/>
                  <a:pt x="3747486" y="2303811"/>
                  <a:pt x="3722149" y="2310574"/>
                </a:cubicBezTo>
                <a:cubicBezTo>
                  <a:pt x="3696146" y="2317623"/>
                  <a:pt x="3672715" y="2320099"/>
                  <a:pt x="3671667" y="2315432"/>
                </a:cubicBezTo>
                <a:cubicBezTo>
                  <a:pt x="3670619" y="2310765"/>
                  <a:pt x="3690717" y="2301621"/>
                  <a:pt x="3717197" y="2294667"/>
                </a:cubicBezTo>
                <a:cubicBezTo>
                  <a:pt x="3730437" y="2291191"/>
                  <a:pt x="3742962" y="2288809"/>
                  <a:pt x="3752213" y="2287893"/>
                </a:cubicBezTo>
                <a:close/>
                <a:moveTo>
                  <a:pt x="4095720" y="2286952"/>
                </a:moveTo>
                <a:cubicBezTo>
                  <a:pt x="4087095" y="2292806"/>
                  <a:pt x="4077375" y="2296856"/>
                  <a:pt x="4067145" y="2298859"/>
                </a:cubicBezTo>
                <a:cubicBezTo>
                  <a:pt x="4051714" y="2303145"/>
                  <a:pt x="4041523" y="2304097"/>
                  <a:pt x="4043332" y="2301145"/>
                </a:cubicBezTo>
                <a:cubicBezTo>
                  <a:pt x="4052227" y="2295188"/>
                  <a:pt x="4062241" y="2291104"/>
                  <a:pt x="4072765" y="2289143"/>
                </a:cubicBezTo>
                <a:cubicBezTo>
                  <a:pt x="4087528" y="2285047"/>
                  <a:pt x="4097244" y="2284095"/>
                  <a:pt x="4095720" y="2286952"/>
                </a:cubicBezTo>
                <a:close/>
                <a:moveTo>
                  <a:pt x="3474700" y="2286667"/>
                </a:moveTo>
                <a:cubicBezTo>
                  <a:pt x="3456282" y="2291460"/>
                  <a:pt x="3437162" y="2292911"/>
                  <a:pt x="3418233" y="2290953"/>
                </a:cubicBezTo>
                <a:cubicBezTo>
                  <a:pt x="3404165" y="2300262"/>
                  <a:pt x="3388605" y="2307091"/>
                  <a:pt x="3372240" y="2311146"/>
                </a:cubicBezTo>
                <a:cubicBezTo>
                  <a:pt x="3382997" y="2309812"/>
                  <a:pt x="3394900" y="2307812"/>
                  <a:pt x="3404422" y="2307241"/>
                </a:cubicBezTo>
                <a:cubicBezTo>
                  <a:pt x="3412175" y="2306984"/>
                  <a:pt x="3419937" y="2307175"/>
                  <a:pt x="3427656" y="2307812"/>
                </a:cubicBezTo>
                <a:cubicBezTo>
                  <a:pt x="3437180" y="2300002"/>
                  <a:pt x="3443462" y="2297144"/>
                  <a:pt x="3474700" y="2286667"/>
                </a:cubicBezTo>
                <a:close/>
                <a:moveTo>
                  <a:pt x="3852738" y="2282297"/>
                </a:moveTo>
                <a:cubicBezTo>
                  <a:pt x="3860881" y="2281523"/>
                  <a:pt x="3865977" y="2282047"/>
                  <a:pt x="3865310" y="2284285"/>
                </a:cubicBezTo>
                <a:cubicBezTo>
                  <a:pt x="3863977" y="2288762"/>
                  <a:pt x="3843308" y="2297620"/>
                  <a:pt x="3821019" y="2303335"/>
                </a:cubicBezTo>
                <a:cubicBezTo>
                  <a:pt x="3798731" y="2309050"/>
                  <a:pt x="3778252" y="2311146"/>
                  <a:pt x="3778347" y="2307145"/>
                </a:cubicBezTo>
                <a:cubicBezTo>
                  <a:pt x="3778347" y="2303049"/>
                  <a:pt x="3798826" y="2294001"/>
                  <a:pt x="3821876" y="2288095"/>
                </a:cubicBezTo>
                <a:cubicBezTo>
                  <a:pt x="3833402" y="2285143"/>
                  <a:pt x="3844594" y="2283071"/>
                  <a:pt x="3852738" y="2282297"/>
                </a:cubicBezTo>
                <a:close/>
                <a:moveTo>
                  <a:pt x="1585921" y="2280761"/>
                </a:moveTo>
                <a:cubicBezTo>
                  <a:pt x="1603361" y="2279429"/>
                  <a:pt x="1620868" y="2279429"/>
                  <a:pt x="1638308" y="2280761"/>
                </a:cubicBezTo>
                <a:cubicBezTo>
                  <a:pt x="1647071" y="2281428"/>
                  <a:pt x="1655453" y="2282381"/>
                  <a:pt x="1662882" y="2283524"/>
                </a:cubicBezTo>
                <a:cubicBezTo>
                  <a:pt x="1669178" y="2284402"/>
                  <a:pt x="1675389" y="2285804"/>
                  <a:pt x="1681456" y="2287715"/>
                </a:cubicBezTo>
                <a:cubicBezTo>
                  <a:pt x="1701268" y="2294382"/>
                  <a:pt x="1690314" y="2303621"/>
                  <a:pt x="1659072" y="2306765"/>
                </a:cubicBezTo>
                <a:cubicBezTo>
                  <a:pt x="1641984" y="2308150"/>
                  <a:pt x="1624820" y="2308150"/>
                  <a:pt x="1607734" y="2306765"/>
                </a:cubicBezTo>
                <a:cubicBezTo>
                  <a:pt x="1598970" y="2306193"/>
                  <a:pt x="1590684" y="2305241"/>
                  <a:pt x="1583158" y="2304002"/>
                </a:cubicBezTo>
                <a:cubicBezTo>
                  <a:pt x="1576711" y="2303092"/>
                  <a:pt x="1570348" y="2301691"/>
                  <a:pt x="1564109" y="2299811"/>
                </a:cubicBezTo>
                <a:cubicBezTo>
                  <a:pt x="1542773" y="2292668"/>
                  <a:pt x="1553250" y="2283428"/>
                  <a:pt x="1585921" y="2280761"/>
                </a:cubicBezTo>
                <a:close/>
                <a:moveTo>
                  <a:pt x="4167634" y="2280666"/>
                </a:moveTo>
                <a:cubicBezTo>
                  <a:pt x="4160462" y="2285691"/>
                  <a:pt x="4152319" y="2289163"/>
                  <a:pt x="4143726" y="2290858"/>
                </a:cubicBezTo>
                <a:cubicBezTo>
                  <a:pt x="4130582" y="2294573"/>
                  <a:pt x="4122009" y="2295620"/>
                  <a:pt x="4122676" y="2293525"/>
                </a:cubicBezTo>
                <a:cubicBezTo>
                  <a:pt x="4130000" y="2288147"/>
                  <a:pt x="4138481" y="2284559"/>
                  <a:pt x="4147441" y="2283047"/>
                </a:cubicBezTo>
                <a:cubicBezTo>
                  <a:pt x="4160586" y="2279333"/>
                  <a:pt x="4168777" y="2278380"/>
                  <a:pt x="4167634" y="2280666"/>
                </a:cubicBezTo>
                <a:close/>
                <a:moveTo>
                  <a:pt x="2426988" y="2277142"/>
                </a:moveTo>
                <a:cubicBezTo>
                  <a:pt x="2439904" y="2276385"/>
                  <a:pt x="2452838" y="2278132"/>
                  <a:pt x="2465088" y="2282285"/>
                </a:cubicBezTo>
                <a:cubicBezTo>
                  <a:pt x="2472233" y="2285619"/>
                  <a:pt x="2472041" y="2289715"/>
                  <a:pt x="2465565" y="2293906"/>
                </a:cubicBezTo>
                <a:cubicBezTo>
                  <a:pt x="2454097" y="2299925"/>
                  <a:pt x="2441705" y="2303982"/>
                  <a:pt x="2428893" y="2305907"/>
                </a:cubicBezTo>
                <a:cubicBezTo>
                  <a:pt x="2419368" y="2307717"/>
                  <a:pt x="2410509" y="2309146"/>
                  <a:pt x="2401365" y="2310098"/>
                </a:cubicBezTo>
                <a:cubicBezTo>
                  <a:pt x="2392221" y="2311051"/>
                  <a:pt x="2383458" y="2311527"/>
                  <a:pt x="2375172" y="2311717"/>
                </a:cubicBezTo>
                <a:cubicBezTo>
                  <a:pt x="2361789" y="2312440"/>
                  <a:pt x="2348378" y="2310829"/>
                  <a:pt x="2335547" y="2306955"/>
                </a:cubicBezTo>
                <a:cubicBezTo>
                  <a:pt x="2326880" y="2303621"/>
                  <a:pt x="2326023" y="2299335"/>
                  <a:pt x="2332690" y="2294953"/>
                </a:cubicBezTo>
                <a:cubicBezTo>
                  <a:pt x="2344939" y="2288655"/>
                  <a:pt x="2358179" y="2284499"/>
                  <a:pt x="2371838" y="2282666"/>
                </a:cubicBezTo>
                <a:cubicBezTo>
                  <a:pt x="2381287" y="2280802"/>
                  <a:pt x="2390821" y="2279435"/>
                  <a:pt x="2400413" y="2278570"/>
                </a:cubicBezTo>
                <a:cubicBezTo>
                  <a:pt x="2409243" y="2277647"/>
                  <a:pt x="2418110" y="2277170"/>
                  <a:pt x="2426988" y="2277142"/>
                </a:cubicBezTo>
                <a:close/>
                <a:moveTo>
                  <a:pt x="3940725" y="2276486"/>
                </a:moveTo>
                <a:cubicBezTo>
                  <a:pt x="3947893" y="2275713"/>
                  <a:pt x="3952370" y="2276141"/>
                  <a:pt x="3952179" y="2277998"/>
                </a:cubicBezTo>
                <a:cubicBezTo>
                  <a:pt x="3951798" y="2281713"/>
                  <a:pt x="3933795" y="2289714"/>
                  <a:pt x="3912650" y="2295524"/>
                </a:cubicBezTo>
                <a:cubicBezTo>
                  <a:pt x="3891314" y="2301335"/>
                  <a:pt x="3874550" y="2303144"/>
                  <a:pt x="3874550" y="2299430"/>
                </a:cubicBezTo>
                <a:cubicBezTo>
                  <a:pt x="3874550" y="2295715"/>
                  <a:pt x="3891981" y="2288095"/>
                  <a:pt x="3913126" y="2282189"/>
                </a:cubicBezTo>
                <a:cubicBezTo>
                  <a:pt x="3923699" y="2279237"/>
                  <a:pt x="3933558" y="2277260"/>
                  <a:pt x="3940725" y="2276486"/>
                </a:cubicBezTo>
                <a:close/>
                <a:moveTo>
                  <a:pt x="2664151" y="2275831"/>
                </a:moveTo>
                <a:cubicBezTo>
                  <a:pt x="2679951" y="2275641"/>
                  <a:pt x="2692499" y="2277332"/>
                  <a:pt x="2698834" y="2280951"/>
                </a:cubicBezTo>
                <a:cubicBezTo>
                  <a:pt x="2704455" y="2284380"/>
                  <a:pt x="2702645" y="2288666"/>
                  <a:pt x="2694835" y="2293143"/>
                </a:cubicBezTo>
                <a:cubicBezTo>
                  <a:pt x="2682174" y="2299309"/>
                  <a:pt x="2668706" y="2303639"/>
                  <a:pt x="2654829" y="2306002"/>
                </a:cubicBezTo>
                <a:cubicBezTo>
                  <a:pt x="2637284" y="2309788"/>
                  <a:pt x="2619435" y="2311957"/>
                  <a:pt x="2601489" y="2312479"/>
                </a:cubicBezTo>
                <a:cubicBezTo>
                  <a:pt x="2589305" y="2313376"/>
                  <a:pt x="2577057" y="2311822"/>
                  <a:pt x="2565484" y="2307907"/>
                </a:cubicBezTo>
                <a:cubicBezTo>
                  <a:pt x="2558341" y="2304478"/>
                  <a:pt x="2559579" y="2300001"/>
                  <a:pt x="2567485" y="2295429"/>
                </a:cubicBezTo>
                <a:cubicBezTo>
                  <a:pt x="2580923" y="2288918"/>
                  <a:pt x="2595231" y="2284394"/>
                  <a:pt x="2609965" y="2281999"/>
                </a:cubicBezTo>
                <a:cubicBezTo>
                  <a:pt x="2629302" y="2278094"/>
                  <a:pt x="2648350" y="2276022"/>
                  <a:pt x="2664151" y="2275831"/>
                </a:cubicBezTo>
                <a:close/>
                <a:moveTo>
                  <a:pt x="4234594" y="2275237"/>
                </a:moveTo>
                <a:cubicBezTo>
                  <a:pt x="4228478" y="2279496"/>
                  <a:pt x="4221533" y="2282418"/>
                  <a:pt x="4214211" y="2283809"/>
                </a:cubicBezTo>
                <a:cubicBezTo>
                  <a:pt x="4204114" y="2286953"/>
                  <a:pt x="4197161" y="2287810"/>
                  <a:pt x="4197828" y="2286000"/>
                </a:cubicBezTo>
                <a:cubicBezTo>
                  <a:pt x="4203927" y="2281691"/>
                  <a:pt x="4210877" y="2278735"/>
                  <a:pt x="4218211" y="2277332"/>
                </a:cubicBezTo>
                <a:cubicBezTo>
                  <a:pt x="4228403" y="2274475"/>
                  <a:pt x="4235356" y="2273522"/>
                  <a:pt x="4234594" y="2275237"/>
                </a:cubicBezTo>
                <a:close/>
                <a:moveTo>
                  <a:pt x="854196" y="2273427"/>
                </a:moveTo>
                <a:cubicBezTo>
                  <a:pt x="861435" y="2274284"/>
                  <a:pt x="868865" y="2275332"/>
                  <a:pt x="876485" y="2276761"/>
                </a:cubicBezTo>
                <a:cubicBezTo>
                  <a:pt x="884105" y="2278189"/>
                  <a:pt x="891820" y="2279713"/>
                  <a:pt x="899345" y="2281523"/>
                </a:cubicBezTo>
                <a:cubicBezTo>
                  <a:pt x="906869" y="2283333"/>
                  <a:pt x="914013" y="2285143"/>
                  <a:pt x="920776" y="2287238"/>
                </a:cubicBezTo>
                <a:cubicBezTo>
                  <a:pt x="927539" y="2289334"/>
                  <a:pt x="933920" y="2291429"/>
                  <a:pt x="939350" y="2293620"/>
                </a:cubicBezTo>
                <a:cubicBezTo>
                  <a:pt x="950113" y="2297811"/>
                  <a:pt x="954590" y="2301049"/>
                  <a:pt x="952875" y="2303145"/>
                </a:cubicBezTo>
                <a:cubicBezTo>
                  <a:pt x="951160" y="2305240"/>
                  <a:pt x="943350" y="2305717"/>
                  <a:pt x="929825" y="2304573"/>
                </a:cubicBezTo>
                <a:cubicBezTo>
                  <a:pt x="922967" y="2304002"/>
                  <a:pt x="915632" y="2303050"/>
                  <a:pt x="908203" y="2301811"/>
                </a:cubicBezTo>
                <a:lnTo>
                  <a:pt x="896963" y="2299811"/>
                </a:lnTo>
                <a:cubicBezTo>
                  <a:pt x="893153" y="2299049"/>
                  <a:pt x="889439" y="2298192"/>
                  <a:pt x="885629" y="2297239"/>
                </a:cubicBezTo>
                <a:cubicBezTo>
                  <a:pt x="878104" y="2295430"/>
                  <a:pt x="870865" y="2293429"/>
                  <a:pt x="864007" y="2291334"/>
                </a:cubicBezTo>
                <a:cubicBezTo>
                  <a:pt x="860578" y="2290286"/>
                  <a:pt x="857149" y="2289048"/>
                  <a:pt x="854006" y="2287905"/>
                </a:cubicBezTo>
                <a:cubicBezTo>
                  <a:pt x="850862" y="2286762"/>
                  <a:pt x="847530" y="2285333"/>
                  <a:pt x="844671" y="2284095"/>
                </a:cubicBezTo>
                <a:cubicBezTo>
                  <a:pt x="821525" y="2274570"/>
                  <a:pt x="825621" y="2269903"/>
                  <a:pt x="854196" y="2273427"/>
                </a:cubicBezTo>
                <a:close/>
                <a:moveTo>
                  <a:pt x="2874019" y="2272974"/>
                </a:moveTo>
                <a:cubicBezTo>
                  <a:pt x="2889617" y="2272426"/>
                  <a:pt x="2901905" y="2273712"/>
                  <a:pt x="2907715" y="2276760"/>
                </a:cubicBezTo>
                <a:cubicBezTo>
                  <a:pt x="2913526" y="2280094"/>
                  <a:pt x="2911431" y="2284666"/>
                  <a:pt x="2903144" y="2289524"/>
                </a:cubicBezTo>
                <a:cubicBezTo>
                  <a:pt x="2889896" y="2296081"/>
                  <a:pt x="2875834" y="2300853"/>
                  <a:pt x="2861327" y="2303716"/>
                </a:cubicBezTo>
                <a:cubicBezTo>
                  <a:pt x="2844135" y="2307615"/>
                  <a:pt x="2826636" y="2310038"/>
                  <a:pt x="2809037" y="2310955"/>
                </a:cubicBezTo>
                <a:cubicBezTo>
                  <a:pt x="2797482" y="2312204"/>
                  <a:pt x="2785784" y="2310970"/>
                  <a:pt x="2774747" y="2307335"/>
                </a:cubicBezTo>
                <a:cubicBezTo>
                  <a:pt x="2761220" y="2300763"/>
                  <a:pt x="2780842" y="2289047"/>
                  <a:pt x="2820465" y="2280189"/>
                </a:cubicBezTo>
                <a:cubicBezTo>
                  <a:pt x="2839514" y="2275903"/>
                  <a:pt x="2858424" y="2273522"/>
                  <a:pt x="2874019" y="2272974"/>
                </a:cubicBezTo>
                <a:close/>
                <a:moveTo>
                  <a:pt x="4294317" y="2271713"/>
                </a:moveTo>
                <a:cubicBezTo>
                  <a:pt x="4289342" y="2274669"/>
                  <a:pt x="4283946" y="2276853"/>
                  <a:pt x="4278315" y="2278190"/>
                </a:cubicBezTo>
                <a:cubicBezTo>
                  <a:pt x="4270409" y="2280476"/>
                  <a:pt x="4265075" y="2281238"/>
                  <a:pt x="4265647" y="2279714"/>
                </a:cubicBezTo>
                <a:cubicBezTo>
                  <a:pt x="4270876" y="2276587"/>
                  <a:pt x="4276565" y="2274305"/>
                  <a:pt x="4282506" y="2272951"/>
                </a:cubicBezTo>
                <a:cubicBezTo>
                  <a:pt x="4290412" y="2270760"/>
                  <a:pt x="4295936" y="2270189"/>
                  <a:pt x="4294317" y="2271713"/>
                </a:cubicBezTo>
                <a:close/>
                <a:moveTo>
                  <a:pt x="4027605" y="2271021"/>
                </a:moveTo>
                <a:cubicBezTo>
                  <a:pt x="4033332" y="2270474"/>
                  <a:pt x="4036428" y="2271045"/>
                  <a:pt x="4035618" y="2272855"/>
                </a:cubicBezTo>
                <a:cubicBezTo>
                  <a:pt x="4033998" y="2276474"/>
                  <a:pt x="4018473" y="2283047"/>
                  <a:pt x="4000089" y="2288095"/>
                </a:cubicBezTo>
                <a:cubicBezTo>
                  <a:pt x="3981706" y="2293143"/>
                  <a:pt x="3966561" y="2294953"/>
                  <a:pt x="3967323" y="2291619"/>
                </a:cubicBezTo>
                <a:cubicBezTo>
                  <a:pt x="3968181" y="2288190"/>
                  <a:pt x="3984373" y="2281237"/>
                  <a:pt x="4003804" y="2275903"/>
                </a:cubicBezTo>
                <a:cubicBezTo>
                  <a:pt x="4013520" y="2273236"/>
                  <a:pt x="4021878" y="2271569"/>
                  <a:pt x="4027605" y="2271021"/>
                </a:cubicBezTo>
                <a:close/>
                <a:moveTo>
                  <a:pt x="2164222" y="2270962"/>
                </a:moveTo>
                <a:cubicBezTo>
                  <a:pt x="2181117" y="2271260"/>
                  <a:pt x="2195523" y="2273237"/>
                  <a:pt x="2204384" y="2276856"/>
                </a:cubicBezTo>
                <a:cubicBezTo>
                  <a:pt x="2222101" y="2284095"/>
                  <a:pt x="2208480" y="2292858"/>
                  <a:pt x="2173902" y="2299049"/>
                </a:cubicBezTo>
                <a:cubicBezTo>
                  <a:pt x="2137993" y="2305050"/>
                  <a:pt x="2098273" y="2305050"/>
                  <a:pt x="2078652" y="2298002"/>
                </a:cubicBezTo>
                <a:cubicBezTo>
                  <a:pt x="2069127" y="2294477"/>
                  <a:pt x="2066842" y="2290286"/>
                  <a:pt x="2072271" y="2286191"/>
                </a:cubicBezTo>
                <a:cubicBezTo>
                  <a:pt x="2076357" y="2283523"/>
                  <a:pt x="2080871" y="2281559"/>
                  <a:pt x="2085606" y="2280380"/>
                </a:cubicBezTo>
                <a:cubicBezTo>
                  <a:pt x="2093321" y="2278106"/>
                  <a:pt x="2101179" y="2276356"/>
                  <a:pt x="2109132" y="2275142"/>
                </a:cubicBezTo>
                <a:cubicBezTo>
                  <a:pt x="2127944" y="2272046"/>
                  <a:pt x="2147328" y="2270665"/>
                  <a:pt x="2164222" y="2270962"/>
                </a:cubicBezTo>
                <a:close/>
                <a:moveTo>
                  <a:pt x="3317953" y="2269426"/>
                </a:moveTo>
                <a:cubicBezTo>
                  <a:pt x="3290431" y="2273903"/>
                  <a:pt x="3273286" y="2273998"/>
                  <a:pt x="3261859" y="2270093"/>
                </a:cubicBezTo>
                <a:cubicBezTo>
                  <a:pt x="3255476" y="2278285"/>
                  <a:pt x="3237950" y="2285905"/>
                  <a:pt x="3212707" y="2293715"/>
                </a:cubicBezTo>
                <a:cubicBezTo>
                  <a:pt x="3233616" y="2288851"/>
                  <a:pt x="3255198" y="2287627"/>
                  <a:pt x="3276522" y="2290096"/>
                </a:cubicBezTo>
                <a:cubicBezTo>
                  <a:pt x="3287953" y="2281237"/>
                  <a:pt x="3287953" y="2281237"/>
                  <a:pt x="3317953" y="2269426"/>
                </a:cubicBezTo>
                <a:close/>
                <a:moveTo>
                  <a:pt x="3058367" y="2268319"/>
                </a:moveTo>
                <a:cubicBezTo>
                  <a:pt x="3073760" y="2267640"/>
                  <a:pt x="3085502" y="2268998"/>
                  <a:pt x="3089931" y="2272379"/>
                </a:cubicBezTo>
                <a:cubicBezTo>
                  <a:pt x="3098788" y="2279141"/>
                  <a:pt x="3075833" y="2291429"/>
                  <a:pt x="3037636" y="2300954"/>
                </a:cubicBezTo>
                <a:cubicBezTo>
                  <a:pt x="3000965" y="2309526"/>
                  <a:pt x="2963914" y="2311241"/>
                  <a:pt x="2953911" y="2304764"/>
                </a:cubicBezTo>
                <a:cubicBezTo>
                  <a:pt x="2943911" y="2298287"/>
                  <a:pt x="2966294" y="2285333"/>
                  <a:pt x="3004871" y="2276475"/>
                </a:cubicBezTo>
                <a:cubicBezTo>
                  <a:pt x="3023921" y="2271713"/>
                  <a:pt x="3042970" y="2268998"/>
                  <a:pt x="3058367" y="2268319"/>
                </a:cubicBezTo>
                <a:close/>
                <a:moveTo>
                  <a:pt x="4353467" y="2266474"/>
                </a:moveTo>
                <a:cubicBezTo>
                  <a:pt x="4350092" y="2268545"/>
                  <a:pt x="4346434" y="2270117"/>
                  <a:pt x="4342609" y="2271141"/>
                </a:cubicBezTo>
                <a:cubicBezTo>
                  <a:pt x="4337846" y="2272570"/>
                  <a:pt x="4333084" y="2273236"/>
                  <a:pt x="4333084" y="2272570"/>
                </a:cubicBezTo>
                <a:cubicBezTo>
                  <a:pt x="4336221" y="2270397"/>
                  <a:pt x="4339746" y="2268845"/>
                  <a:pt x="4343466" y="2267998"/>
                </a:cubicBezTo>
                <a:cubicBezTo>
                  <a:pt x="4348895" y="2266378"/>
                  <a:pt x="4354039" y="2265521"/>
                  <a:pt x="4353467" y="2266474"/>
                </a:cubicBezTo>
                <a:close/>
                <a:moveTo>
                  <a:pt x="3448511" y="2266378"/>
                </a:moveTo>
                <a:lnTo>
                  <a:pt x="3410425" y="2267998"/>
                </a:lnTo>
                <a:cubicBezTo>
                  <a:pt x="3397814" y="2275618"/>
                  <a:pt x="3384235" y="2281482"/>
                  <a:pt x="3370047" y="2285428"/>
                </a:cubicBezTo>
                <a:lnTo>
                  <a:pt x="3414422" y="2282761"/>
                </a:lnTo>
                <a:close/>
                <a:moveTo>
                  <a:pt x="4107044" y="2266009"/>
                </a:moveTo>
                <a:cubicBezTo>
                  <a:pt x="4111890" y="2265474"/>
                  <a:pt x="4114438" y="2265855"/>
                  <a:pt x="4113723" y="2267331"/>
                </a:cubicBezTo>
                <a:cubicBezTo>
                  <a:pt x="4112294" y="2270284"/>
                  <a:pt x="4098197" y="2276856"/>
                  <a:pt x="4081528" y="2281142"/>
                </a:cubicBezTo>
                <a:cubicBezTo>
                  <a:pt x="4064860" y="2285429"/>
                  <a:pt x="4053525" y="2286857"/>
                  <a:pt x="4054287" y="2284095"/>
                </a:cubicBezTo>
                <a:cubicBezTo>
                  <a:pt x="4055144" y="2281238"/>
                  <a:pt x="4069622" y="2274570"/>
                  <a:pt x="4086577" y="2270189"/>
                </a:cubicBezTo>
                <a:cubicBezTo>
                  <a:pt x="4095054" y="2267998"/>
                  <a:pt x="4102198" y="2266545"/>
                  <a:pt x="4107044" y="2266009"/>
                </a:cubicBezTo>
                <a:close/>
                <a:moveTo>
                  <a:pt x="3757023" y="2265842"/>
                </a:moveTo>
                <a:cubicBezTo>
                  <a:pt x="3766489" y="2265069"/>
                  <a:pt x="3772347" y="2265902"/>
                  <a:pt x="3772918" y="2268283"/>
                </a:cubicBezTo>
                <a:cubicBezTo>
                  <a:pt x="3774061" y="2273046"/>
                  <a:pt x="3752439" y="2283523"/>
                  <a:pt x="3723388" y="2291334"/>
                </a:cubicBezTo>
                <a:cubicBezTo>
                  <a:pt x="3694337" y="2299144"/>
                  <a:pt x="3671953" y="2300954"/>
                  <a:pt x="3669857" y="2296287"/>
                </a:cubicBezTo>
                <a:cubicBezTo>
                  <a:pt x="3667667" y="2291334"/>
                  <a:pt x="3689479" y="2281142"/>
                  <a:pt x="3719483" y="2273046"/>
                </a:cubicBezTo>
                <a:cubicBezTo>
                  <a:pt x="3734485" y="2268998"/>
                  <a:pt x="3747558" y="2266616"/>
                  <a:pt x="3757023" y="2265842"/>
                </a:cubicBezTo>
                <a:close/>
                <a:moveTo>
                  <a:pt x="4183922" y="2262473"/>
                </a:moveTo>
                <a:cubicBezTo>
                  <a:pt x="4175665" y="2268440"/>
                  <a:pt x="4166205" y="2272535"/>
                  <a:pt x="4156204" y="2274474"/>
                </a:cubicBezTo>
                <a:cubicBezTo>
                  <a:pt x="4142107" y="2278475"/>
                  <a:pt x="4131725" y="2279713"/>
                  <a:pt x="4132677" y="2277332"/>
                </a:cubicBezTo>
                <a:cubicBezTo>
                  <a:pt x="4133344" y="2274760"/>
                  <a:pt x="4145631" y="2269521"/>
                  <a:pt x="4160490" y="2265330"/>
                </a:cubicBezTo>
                <a:cubicBezTo>
                  <a:pt x="4175349" y="2261139"/>
                  <a:pt x="4184874" y="2259996"/>
                  <a:pt x="4183922" y="2262473"/>
                </a:cubicBezTo>
                <a:close/>
                <a:moveTo>
                  <a:pt x="3859798" y="2259853"/>
                </a:moveTo>
                <a:cubicBezTo>
                  <a:pt x="3868192" y="2259091"/>
                  <a:pt x="3873216" y="2259949"/>
                  <a:pt x="3873502" y="2262473"/>
                </a:cubicBezTo>
                <a:cubicBezTo>
                  <a:pt x="3874073" y="2267521"/>
                  <a:pt x="3854166" y="2276474"/>
                  <a:pt x="3827687" y="2283618"/>
                </a:cubicBezTo>
                <a:cubicBezTo>
                  <a:pt x="3801207" y="2290857"/>
                  <a:pt x="3781300" y="2293143"/>
                  <a:pt x="3780062" y="2288285"/>
                </a:cubicBezTo>
                <a:cubicBezTo>
                  <a:pt x="3778823" y="2283428"/>
                  <a:pt x="3798349" y="2274855"/>
                  <a:pt x="3825877" y="2266949"/>
                </a:cubicBezTo>
                <a:cubicBezTo>
                  <a:pt x="3839641" y="2262997"/>
                  <a:pt x="3851404" y="2260615"/>
                  <a:pt x="3859798" y="2259853"/>
                </a:cubicBezTo>
                <a:close/>
                <a:moveTo>
                  <a:pt x="377928" y="2259425"/>
                </a:moveTo>
                <a:cubicBezTo>
                  <a:pt x="384558" y="2260895"/>
                  <a:pt x="390958" y="2263232"/>
                  <a:pt x="396978" y="2266378"/>
                </a:cubicBezTo>
                <a:cubicBezTo>
                  <a:pt x="407551" y="2270760"/>
                  <a:pt x="419076" y="2275903"/>
                  <a:pt x="430030" y="2281428"/>
                </a:cubicBezTo>
                <a:lnTo>
                  <a:pt x="438031" y="2285333"/>
                </a:lnTo>
                <a:lnTo>
                  <a:pt x="445460" y="2289143"/>
                </a:lnTo>
                <a:cubicBezTo>
                  <a:pt x="450318" y="2291715"/>
                  <a:pt x="454985" y="2294191"/>
                  <a:pt x="458795" y="2296477"/>
                </a:cubicBezTo>
                <a:cubicBezTo>
                  <a:pt x="466606" y="2301049"/>
                  <a:pt x="469558" y="2303526"/>
                  <a:pt x="468320" y="2303907"/>
                </a:cubicBezTo>
                <a:cubicBezTo>
                  <a:pt x="461919" y="2303111"/>
                  <a:pt x="455681" y="2301311"/>
                  <a:pt x="449842" y="2298573"/>
                </a:cubicBezTo>
                <a:cubicBezTo>
                  <a:pt x="444698" y="2296668"/>
                  <a:pt x="439364" y="2294477"/>
                  <a:pt x="433935" y="2292191"/>
                </a:cubicBezTo>
                <a:lnTo>
                  <a:pt x="431840" y="2291334"/>
                </a:lnTo>
                <a:lnTo>
                  <a:pt x="429744" y="2290381"/>
                </a:lnTo>
                <a:lnTo>
                  <a:pt x="425553" y="2288381"/>
                </a:lnTo>
                <a:cubicBezTo>
                  <a:pt x="422762" y="2287174"/>
                  <a:pt x="420000" y="2285841"/>
                  <a:pt x="417266" y="2284381"/>
                </a:cubicBezTo>
                <a:cubicBezTo>
                  <a:pt x="411837" y="2281714"/>
                  <a:pt x="406503" y="2278951"/>
                  <a:pt x="401550" y="2276189"/>
                </a:cubicBezTo>
                <a:lnTo>
                  <a:pt x="394406" y="2272093"/>
                </a:lnTo>
                <a:lnTo>
                  <a:pt x="387453" y="2267902"/>
                </a:lnTo>
                <a:cubicBezTo>
                  <a:pt x="379166" y="2262568"/>
                  <a:pt x="376118" y="2259711"/>
                  <a:pt x="377928" y="2259425"/>
                </a:cubicBezTo>
                <a:close/>
                <a:moveTo>
                  <a:pt x="3587943" y="2258282"/>
                </a:moveTo>
                <a:cubicBezTo>
                  <a:pt x="3573640" y="2261386"/>
                  <a:pt x="3558894" y="2261870"/>
                  <a:pt x="3544417" y="2259711"/>
                </a:cubicBezTo>
                <a:cubicBezTo>
                  <a:pt x="3529537" y="2269421"/>
                  <a:pt x="3513204" y="2276688"/>
                  <a:pt x="3496033" y="2281237"/>
                </a:cubicBezTo>
                <a:cubicBezTo>
                  <a:pt x="3513389" y="2277078"/>
                  <a:pt x="3531290" y="2275664"/>
                  <a:pt x="3549084" y="2277046"/>
                </a:cubicBezTo>
                <a:lnTo>
                  <a:pt x="3549084" y="2277523"/>
                </a:lnTo>
                <a:cubicBezTo>
                  <a:pt x="3560776" y="2268826"/>
                  <a:pt x="3573939" y="2262308"/>
                  <a:pt x="3587943" y="2258282"/>
                </a:cubicBezTo>
                <a:close/>
                <a:moveTo>
                  <a:pt x="4252311" y="2257901"/>
                </a:moveTo>
                <a:cubicBezTo>
                  <a:pt x="4244910" y="2262676"/>
                  <a:pt x="4236718" y="2266094"/>
                  <a:pt x="4228117" y="2267997"/>
                </a:cubicBezTo>
                <a:cubicBezTo>
                  <a:pt x="4216592" y="2271236"/>
                  <a:pt x="4208020" y="2272188"/>
                  <a:pt x="4209067" y="2270093"/>
                </a:cubicBezTo>
                <a:cubicBezTo>
                  <a:pt x="4216446" y="2265275"/>
                  <a:pt x="4224647" y="2261853"/>
                  <a:pt x="4233261" y="2259996"/>
                </a:cubicBezTo>
                <a:cubicBezTo>
                  <a:pt x="4244881" y="2256662"/>
                  <a:pt x="4253454" y="2255710"/>
                  <a:pt x="4252311" y="2257901"/>
                </a:cubicBezTo>
                <a:close/>
                <a:moveTo>
                  <a:pt x="1828713" y="2257139"/>
                </a:moveTo>
                <a:cubicBezTo>
                  <a:pt x="1838048" y="2256758"/>
                  <a:pt x="1847287" y="2257139"/>
                  <a:pt x="1856146" y="2257139"/>
                </a:cubicBezTo>
                <a:cubicBezTo>
                  <a:pt x="1860527" y="2257139"/>
                  <a:pt x="1864813" y="2257139"/>
                  <a:pt x="1868909" y="2258092"/>
                </a:cubicBezTo>
                <a:cubicBezTo>
                  <a:pt x="1873005" y="2259044"/>
                  <a:pt x="1876909" y="2258949"/>
                  <a:pt x="1880625" y="2259521"/>
                </a:cubicBezTo>
                <a:cubicBezTo>
                  <a:pt x="1887111" y="2260449"/>
                  <a:pt x="1893493" y="2262013"/>
                  <a:pt x="1899674" y="2264188"/>
                </a:cubicBezTo>
                <a:cubicBezTo>
                  <a:pt x="1918724" y="2271332"/>
                  <a:pt x="1908151" y="2279904"/>
                  <a:pt x="1874243" y="2284762"/>
                </a:cubicBezTo>
                <a:cubicBezTo>
                  <a:pt x="1865766" y="2285905"/>
                  <a:pt x="1856908" y="2286667"/>
                  <a:pt x="1848049" y="2287048"/>
                </a:cubicBezTo>
                <a:cubicBezTo>
                  <a:pt x="1839191" y="2287429"/>
                  <a:pt x="1830428" y="2287048"/>
                  <a:pt x="1822046" y="2287048"/>
                </a:cubicBezTo>
                <a:cubicBezTo>
                  <a:pt x="1807501" y="2286750"/>
                  <a:pt x="1793062" y="2284540"/>
                  <a:pt x="1779088" y="2280476"/>
                </a:cubicBezTo>
                <a:cubicBezTo>
                  <a:pt x="1768135" y="2276761"/>
                  <a:pt x="1764991" y="2272665"/>
                  <a:pt x="1768801" y="2269046"/>
                </a:cubicBezTo>
                <a:cubicBezTo>
                  <a:pt x="1778517" y="2263278"/>
                  <a:pt x="1789518" y="2260006"/>
                  <a:pt x="1800805" y="2259521"/>
                </a:cubicBezTo>
                <a:cubicBezTo>
                  <a:pt x="1809855" y="2258282"/>
                  <a:pt x="1819379" y="2257520"/>
                  <a:pt x="1828713" y="2257139"/>
                </a:cubicBezTo>
                <a:close/>
                <a:moveTo>
                  <a:pt x="3955679" y="2254602"/>
                </a:moveTo>
                <a:cubicBezTo>
                  <a:pt x="3963276" y="2253971"/>
                  <a:pt x="3967800" y="2254710"/>
                  <a:pt x="3966943" y="2256948"/>
                </a:cubicBezTo>
                <a:cubicBezTo>
                  <a:pt x="3965228" y="2261425"/>
                  <a:pt x="3945416" y="2269997"/>
                  <a:pt x="3923699" y="2275998"/>
                </a:cubicBezTo>
                <a:cubicBezTo>
                  <a:pt x="3901982" y="2281999"/>
                  <a:pt x="3881218" y="2284190"/>
                  <a:pt x="3881694" y="2280189"/>
                </a:cubicBezTo>
                <a:cubicBezTo>
                  <a:pt x="3882170" y="2276474"/>
                  <a:pt x="3903125" y="2266949"/>
                  <a:pt x="3925985" y="2260472"/>
                </a:cubicBezTo>
                <a:cubicBezTo>
                  <a:pt x="3937415" y="2257234"/>
                  <a:pt x="3948083" y="2255233"/>
                  <a:pt x="3955679" y="2254602"/>
                </a:cubicBezTo>
                <a:close/>
                <a:moveTo>
                  <a:pt x="4316510" y="2253043"/>
                </a:moveTo>
                <a:cubicBezTo>
                  <a:pt x="4310772" y="2257041"/>
                  <a:pt x="4304296" y="2259858"/>
                  <a:pt x="4297460" y="2261330"/>
                </a:cubicBezTo>
                <a:cubicBezTo>
                  <a:pt x="4287935" y="2264092"/>
                  <a:pt x="4280315" y="2265045"/>
                  <a:pt x="4281458" y="2263426"/>
                </a:cubicBezTo>
                <a:cubicBezTo>
                  <a:pt x="4287274" y="2259679"/>
                  <a:pt x="4293683" y="2256941"/>
                  <a:pt x="4300412" y="2255329"/>
                </a:cubicBezTo>
                <a:cubicBezTo>
                  <a:pt x="4309175" y="2252758"/>
                  <a:pt x="4316795" y="2251710"/>
                  <a:pt x="4316510" y="2253043"/>
                </a:cubicBezTo>
                <a:close/>
                <a:moveTo>
                  <a:pt x="3715006" y="2251138"/>
                </a:moveTo>
                <a:cubicBezTo>
                  <a:pt x="3689765" y="2256187"/>
                  <a:pt x="3676716" y="2256472"/>
                  <a:pt x="3668715" y="2253901"/>
                </a:cubicBezTo>
                <a:cubicBezTo>
                  <a:pt x="3654062" y="2263319"/>
                  <a:pt x="3637978" y="2270299"/>
                  <a:pt x="3621090" y="2274570"/>
                </a:cubicBezTo>
                <a:cubicBezTo>
                  <a:pt x="3649379" y="2269045"/>
                  <a:pt x="3663476" y="2268950"/>
                  <a:pt x="3669953" y="2272665"/>
                </a:cubicBezTo>
                <a:cubicBezTo>
                  <a:pt x="3680240" y="2264473"/>
                  <a:pt x="3684907" y="2262187"/>
                  <a:pt x="3715006" y="2251138"/>
                </a:cubicBezTo>
                <a:close/>
                <a:moveTo>
                  <a:pt x="4039880" y="2250852"/>
                </a:moveTo>
                <a:cubicBezTo>
                  <a:pt x="4046571" y="2250209"/>
                  <a:pt x="4050429" y="2250757"/>
                  <a:pt x="4049429" y="2252662"/>
                </a:cubicBezTo>
                <a:cubicBezTo>
                  <a:pt x="4047429" y="2256472"/>
                  <a:pt x="4030379" y="2264282"/>
                  <a:pt x="4010757" y="2269807"/>
                </a:cubicBezTo>
                <a:cubicBezTo>
                  <a:pt x="3991136" y="2275331"/>
                  <a:pt x="3973229" y="2277332"/>
                  <a:pt x="3973610" y="2273807"/>
                </a:cubicBezTo>
                <a:cubicBezTo>
                  <a:pt x="3974086" y="2270283"/>
                  <a:pt x="3992660" y="2261901"/>
                  <a:pt x="4013329" y="2256186"/>
                </a:cubicBezTo>
                <a:cubicBezTo>
                  <a:pt x="4023664" y="2253329"/>
                  <a:pt x="4033189" y="2251495"/>
                  <a:pt x="4039880" y="2250852"/>
                </a:cubicBezTo>
                <a:close/>
                <a:moveTo>
                  <a:pt x="4375565" y="2248852"/>
                </a:moveTo>
                <a:cubicBezTo>
                  <a:pt x="4371560" y="2251507"/>
                  <a:pt x="4367106" y="2253411"/>
                  <a:pt x="4362420" y="2254472"/>
                </a:cubicBezTo>
                <a:cubicBezTo>
                  <a:pt x="4354896" y="2256758"/>
                  <a:pt x="4350228" y="2257424"/>
                  <a:pt x="4350800" y="2256186"/>
                </a:cubicBezTo>
                <a:cubicBezTo>
                  <a:pt x="4354958" y="2253244"/>
                  <a:pt x="4359701" y="2251229"/>
                  <a:pt x="4364706" y="2250281"/>
                </a:cubicBezTo>
                <a:cubicBezTo>
                  <a:pt x="4372517" y="2247995"/>
                  <a:pt x="4376708" y="2247423"/>
                  <a:pt x="4375565" y="2248852"/>
                </a:cubicBezTo>
                <a:close/>
                <a:moveTo>
                  <a:pt x="4429286" y="2245709"/>
                </a:moveTo>
                <a:cubicBezTo>
                  <a:pt x="4426113" y="2247667"/>
                  <a:pt x="4422637" y="2249083"/>
                  <a:pt x="4418999" y="2249900"/>
                </a:cubicBezTo>
                <a:cubicBezTo>
                  <a:pt x="4414808" y="2251043"/>
                  <a:pt x="4411951" y="2251329"/>
                  <a:pt x="4412808" y="2250472"/>
                </a:cubicBezTo>
                <a:cubicBezTo>
                  <a:pt x="4415797" y="2248778"/>
                  <a:pt x="4419001" y="2247496"/>
                  <a:pt x="4422333" y="2246662"/>
                </a:cubicBezTo>
                <a:cubicBezTo>
                  <a:pt x="4426715" y="2245328"/>
                  <a:pt x="4429858" y="2244947"/>
                  <a:pt x="4429286" y="2245709"/>
                </a:cubicBezTo>
                <a:close/>
                <a:moveTo>
                  <a:pt x="4121938" y="2245578"/>
                </a:moveTo>
                <a:cubicBezTo>
                  <a:pt x="4127582" y="2245043"/>
                  <a:pt x="4130725" y="2245567"/>
                  <a:pt x="4129630" y="2247329"/>
                </a:cubicBezTo>
                <a:cubicBezTo>
                  <a:pt x="4127439" y="2250853"/>
                  <a:pt x="4111342" y="2257711"/>
                  <a:pt x="4094387" y="2262569"/>
                </a:cubicBezTo>
                <a:cubicBezTo>
                  <a:pt x="4077433" y="2267426"/>
                  <a:pt x="4061812" y="2269141"/>
                  <a:pt x="4063050" y="2265902"/>
                </a:cubicBezTo>
                <a:cubicBezTo>
                  <a:pt x="4064193" y="2262664"/>
                  <a:pt x="4081433" y="2255139"/>
                  <a:pt x="4099245" y="2250186"/>
                </a:cubicBezTo>
                <a:cubicBezTo>
                  <a:pt x="4108151" y="2247710"/>
                  <a:pt x="4116295" y="2246114"/>
                  <a:pt x="4121938" y="2245578"/>
                </a:cubicBezTo>
                <a:close/>
                <a:moveTo>
                  <a:pt x="4204400" y="2242375"/>
                </a:moveTo>
                <a:cubicBezTo>
                  <a:pt x="4203638" y="2245042"/>
                  <a:pt x="4188874" y="2251424"/>
                  <a:pt x="4173634" y="2255901"/>
                </a:cubicBezTo>
                <a:cubicBezTo>
                  <a:pt x="4158204" y="2260378"/>
                  <a:pt x="4145059" y="2261902"/>
                  <a:pt x="4146583" y="2259044"/>
                </a:cubicBezTo>
                <a:cubicBezTo>
                  <a:pt x="4148107" y="2256187"/>
                  <a:pt x="4162585" y="2249519"/>
                  <a:pt x="4178206" y="2245423"/>
                </a:cubicBezTo>
                <a:cubicBezTo>
                  <a:pt x="4193827" y="2241328"/>
                  <a:pt x="4205162" y="2239708"/>
                  <a:pt x="4204400" y="2242375"/>
                </a:cubicBezTo>
                <a:close/>
                <a:moveTo>
                  <a:pt x="2606476" y="2242245"/>
                </a:moveTo>
                <a:cubicBezTo>
                  <a:pt x="2623919" y="2241899"/>
                  <a:pt x="2638397" y="2243471"/>
                  <a:pt x="2645874" y="2247043"/>
                </a:cubicBezTo>
                <a:cubicBezTo>
                  <a:pt x="2653113" y="2250567"/>
                  <a:pt x="2652065" y="2255330"/>
                  <a:pt x="2644636" y="2260187"/>
                </a:cubicBezTo>
                <a:cubicBezTo>
                  <a:pt x="2632207" y="2266940"/>
                  <a:pt x="2618757" y="2271606"/>
                  <a:pt x="2604822" y="2273999"/>
                </a:cubicBezTo>
                <a:cubicBezTo>
                  <a:pt x="2595296" y="2275904"/>
                  <a:pt x="2585773" y="2277428"/>
                  <a:pt x="2576248" y="2278571"/>
                </a:cubicBezTo>
                <a:cubicBezTo>
                  <a:pt x="2566722" y="2279714"/>
                  <a:pt x="2557673" y="2280190"/>
                  <a:pt x="2549196" y="2280285"/>
                </a:cubicBezTo>
                <a:cubicBezTo>
                  <a:pt x="2535994" y="2281277"/>
                  <a:pt x="2522726" y="2279658"/>
                  <a:pt x="2510144" y="2275523"/>
                </a:cubicBezTo>
                <a:cubicBezTo>
                  <a:pt x="2502619" y="2272094"/>
                  <a:pt x="2503189" y="2267426"/>
                  <a:pt x="2510144" y="2262569"/>
                </a:cubicBezTo>
                <a:cubicBezTo>
                  <a:pt x="2522335" y="2255861"/>
                  <a:pt x="2535566" y="2251257"/>
                  <a:pt x="2549290" y="2248948"/>
                </a:cubicBezTo>
                <a:cubicBezTo>
                  <a:pt x="2568626" y="2244852"/>
                  <a:pt x="2589034" y="2242590"/>
                  <a:pt x="2606476" y="2242245"/>
                </a:cubicBezTo>
                <a:close/>
                <a:moveTo>
                  <a:pt x="460801" y="2241041"/>
                </a:moveTo>
                <a:cubicBezTo>
                  <a:pt x="461658" y="2239803"/>
                  <a:pt x="467373" y="2241041"/>
                  <a:pt x="477754" y="2244566"/>
                </a:cubicBezTo>
                <a:lnTo>
                  <a:pt x="487279" y="2247995"/>
                </a:lnTo>
                <a:lnTo>
                  <a:pt x="497377" y="2251900"/>
                </a:lnTo>
                <a:cubicBezTo>
                  <a:pt x="504330" y="2254567"/>
                  <a:pt x="511758" y="2257710"/>
                  <a:pt x="519094" y="2260853"/>
                </a:cubicBezTo>
                <a:lnTo>
                  <a:pt x="529856" y="2265521"/>
                </a:lnTo>
                <a:lnTo>
                  <a:pt x="539952" y="2269997"/>
                </a:lnTo>
                <a:cubicBezTo>
                  <a:pt x="546430" y="2272950"/>
                  <a:pt x="552335" y="2275808"/>
                  <a:pt x="557097" y="2278379"/>
                </a:cubicBezTo>
                <a:lnTo>
                  <a:pt x="560050" y="2280094"/>
                </a:lnTo>
                <a:lnTo>
                  <a:pt x="562622" y="2281523"/>
                </a:lnTo>
                <a:cubicBezTo>
                  <a:pt x="564051" y="2282475"/>
                  <a:pt x="565289" y="2283237"/>
                  <a:pt x="566241" y="2283999"/>
                </a:cubicBezTo>
                <a:cubicBezTo>
                  <a:pt x="567194" y="2284761"/>
                  <a:pt x="568813" y="2286476"/>
                  <a:pt x="568433" y="2287047"/>
                </a:cubicBezTo>
                <a:cubicBezTo>
                  <a:pt x="568050" y="2287619"/>
                  <a:pt x="566432" y="2287809"/>
                  <a:pt x="563765" y="2287047"/>
                </a:cubicBezTo>
                <a:cubicBezTo>
                  <a:pt x="562137" y="2286890"/>
                  <a:pt x="560507" y="2286636"/>
                  <a:pt x="558907" y="2286285"/>
                </a:cubicBezTo>
                <a:lnTo>
                  <a:pt x="552430" y="2284856"/>
                </a:lnTo>
                <a:cubicBezTo>
                  <a:pt x="547001" y="2283237"/>
                  <a:pt x="540619" y="2281142"/>
                  <a:pt x="533380" y="2278665"/>
                </a:cubicBezTo>
                <a:cubicBezTo>
                  <a:pt x="530047" y="2277522"/>
                  <a:pt x="526522" y="2276189"/>
                  <a:pt x="522998" y="2274760"/>
                </a:cubicBezTo>
                <a:cubicBezTo>
                  <a:pt x="519474" y="2273331"/>
                  <a:pt x="515664" y="2271807"/>
                  <a:pt x="512044" y="2270283"/>
                </a:cubicBezTo>
                <a:cubicBezTo>
                  <a:pt x="504711" y="2267045"/>
                  <a:pt x="497471" y="2263806"/>
                  <a:pt x="490900" y="2260758"/>
                </a:cubicBezTo>
                <a:lnTo>
                  <a:pt x="486041" y="2258377"/>
                </a:lnTo>
                <a:lnTo>
                  <a:pt x="481375" y="2255900"/>
                </a:lnTo>
                <a:cubicBezTo>
                  <a:pt x="478326" y="2254281"/>
                  <a:pt x="475564" y="2252662"/>
                  <a:pt x="473087" y="2251233"/>
                </a:cubicBezTo>
                <a:cubicBezTo>
                  <a:pt x="463563" y="2245804"/>
                  <a:pt x="459942" y="2242280"/>
                  <a:pt x="460801" y="2241041"/>
                </a:cubicBezTo>
                <a:close/>
                <a:moveTo>
                  <a:pt x="2835454" y="2240959"/>
                </a:moveTo>
                <a:cubicBezTo>
                  <a:pt x="2852064" y="2240590"/>
                  <a:pt x="2865091" y="2242233"/>
                  <a:pt x="2870185" y="2246090"/>
                </a:cubicBezTo>
                <a:cubicBezTo>
                  <a:pt x="2880375" y="2253805"/>
                  <a:pt x="2856944" y="2266378"/>
                  <a:pt x="2819610" y="2274665"/>
                </a:cubicBezTo>
                <a:cubicBezTo>
                  <a:pt x="2802024" y="2278433"/>
                  <a:pt x="2784147" y="2280601"/>
                  <a:pt x="2766173" y="2281142"/>
                </a:cubicBezTo>
                <a:cubicBezTo>
                  <a:pt x="2754447" y="2282076"/>
                  <a:pt x="2742656" y="2280484"/>
                  <a:pt x="2731598" y="2276475"/>
                </a:cubicBezTo>
                <a:cubicBezTo>
                  <a:pt x="2725215" y="2272951"/>
                  <a:pt x="2727501" y="2267902"/>
                  <a:pt x="2736265" y="2262759"/>
                </a:cubicBezTo>
                <a:cubicBezTo>
                  <a:pt x="2749801" y="2255789"/>
                  <a:pt x="2764268" y="2250785"/>
                  <a:pt x="2779221" y="2247900"/>
                </a:cubicBezTo>
                <a:cubicBezTo>
                  <a:pt x="2798651" y="2243709"/>
                  <a:pt x="2818846" y="2241328"/>
                  <a:pt x="2835454" y="2240959"/>
                </a:cubicBezTo>
                <a:close/>
                <a:moveTo>
                  <a:pt x="3438228" y="2240566"/>
                </a:moveTo>
                <a:lnTo>
                  <a:pt x="3401756" y="2241613"/>
                </a:lnTo>
                <a:lnTo>
                  <a:pt x="3364239" y="2258568"/>
                </a:lnTo>
                <a:lnTo>
                  <a:pt x="3407852" y="2255806"/>
                </a:lnTo>
                <a:close/>
                <a:moveTo>
                  <a:pt x="4274219" y="2238280"/>
                </a:moveTo>
                <a:cubicBezTo>
                  <a:pt x="4265444" y="2243852"/>
                  <a:pt x="4255779" y="2247879"/>
                  <a:pt x="4245644" y="2250186"/>
                </a:cubicBezTo>
                <a:cubicBezTo>
                  <a:pt x="4233357" y="2253615"/>
                  <a:pt x="4223355" y="2254663"/>
                  <a:pt x="4224784" y="2252377"/>
                </a:cubicBezTo>
                <a:cubicBezTo>
                  <a:pt x="4233536" y="2246739"/>
                  <a:pt x="4243206" y="2242676"/>
                  <a:pt x="4253359" y="2240375"/>
                </a:cubicBezTo>
                <a:cubicBezTo>
                  <a:pt x="4265837" y="2236851"/>
                  <a:pt x="4275838" y="2235898"/>
                  <a:pt x="4274219" y="2238280"/>
                </a:cubicBezTo>
                <a:close/>
                <a:moveTo>
                  <a:pt x="2358573" y="2237839"/>
                </a:moveTo>
                <a:cubicBezTo>
                  <a:pt x="2375719" y="2237827"/>
                  <a:pt x="2390268" y="2239518"/>
                  <a:pt x="2398888" y="2242947"/>
                </a:cubicBezTo>
                <a:cubicBezTo>
                  <a:pt x="2416129" y="2249805"/>
                  <a:pt x="2401555" y="2261330"/>
                  <a:pt x="2365359" y="2268474"/>
                </a:cubicBezTo>
                <a:cubicBezTo>
                  <a:pt x="2347063" y="2272029"/>
                  <a:pt x="2328469" y="2273877"/>
                  <a:pt x="2309830" y="2273998"/>
                </a:cubicBezTo>
                <a:cubicBezTo>
                  <a:pt x="2295637" y="2274573"/>
                  <a:pt x="2281444" y="2272802"/>
                  <a:pt x="2267823" y="2268760"/>
                </a:cubicBezTo>
                <a:cubicBezTo>
                  <a:pt x="2249249" y="2261521"/>
                  <a:pt x="2264680" y="2249710"/>
                  <a:pt x="2302685" y="2242947"/>
                </a:cubicBezTo>
                <a:cubicBezTo>
                  <a:pt x="2321688" y="2239566"/>
                  <a:pt x="2341429" y="2237851"/>
                  <a:pt x="2358573" y="2237839"/>
                </a:cubicBezTo>
                <a:close/>
                <a:moveTo>
                  <a:pt x="3035543" y="2237327"/>
                </a:moveTo>
                <a:cubicBezTo>
                  <a:pt x="3051925" y="2236755"/>
                  <a:pt x="3064117" y="2238279"/>
                  <a:pt x="3068498" y="2241994"/>
                </a:cubicBezTo>
                <a:cubicBezTo>
                  <a:pt x="3072881" y="2245709"/>
                  <a:pt x="3068498" y="2250757"/>
                  <a:pt x="3058975" y="2256091"/>
                </a:cubicBezTo>
                <a:cubicBezTo>
                  <a:pt x="3053097" y="2259199"/>
                  <a:pt x="3046982" y="2261842"/>
                  <a:pt x="3040684" y="2263997"/>
                </a:cubicBezTo>
                <a:cubicBezTo>
                  <a:pt x="3033351" y="2266568"/>
                  <a:pt x="3025065" y="2268950"/>
                  <a:pt x="3016015" y="2271140"/>
                </a:cubicBezTo>
                <a:cubicBezTo>
                  <a:pt x="2978393" y="2279903"/>
                  <a:pt x="2936766" y="2281523"/>
                  <a:pt x="2927243" y="2274474"/>
                </a:cubicBezTo>
                <a:cubicBezTo>
                  <a:pt x="2917718" y="2267426"/>
                  <a:pt x="2941150" y="2253805"/>
                  <a:pt x="2979250" y="2245042"/>
                </a:cubicBezTo>
                <a:cubicBezTo>
                  <a:pt x="2997728" y="2240685"/>
                  <a:pt x="3016576" y="2238102"/>
                  <a:pt x="3035543" y="2237327"/>
                </a:cubicBezTo>
                <a:close/>
                <a:moveTo>
                  <a:pt x="3572036" y="2237232"/>
                </a:moveTo>
                <a:lnTo>
                  <a:pt x="3540511" y="2238375"/>
                </a:lnTo>
                <a:lnTo>
                  <a:pt x="3510414" y="2251234"/>
                </a:lnTo>
                <a:lnTo>
                  <a:pt x="3545083" y="2251234"/>
                </a:lnTo>
                <a:close/>
                <a:moveTo>
                  <a:pt x="3871585" y="2236422"/>
                </a:moveTo>
                <a:cubicBezTo>
                  <a:pt x="3880931" y="2235660"/>
                  <a:pt x="3886694" y="2236518"/>
                  <a:pt x="3886742" y="2239042"/>
                </a:cubicBezTo>
                <a:cubicBezTo>
                  <a:pt x="3886837" y="2244090"/>
                  <a:pt x="3865025" y="2254091"/>
                  <a:pt x="3836450" y="2261711"/>
                </a:cubicBezTo>
                <a:cubicBezTo>
                  <a:pt x="3807875" y="2269331"/>
                  <a:pt x="3785777" y="2271522"/>
                  <a:pt x="3784824" y="2266950"/>
                </a:cubicBezTo>
                <a:cubicBezTo>
                  <a:pt x="3783872" y="2261902"/>
                  <a:pt x="3806160" y="2251424"/>
                  <a:pt x="3834926" y="2243518"/>
                </a:cubicBezTo>
                <a:cubicBezTo>
                  <a:pt x="3849309" y="2239566"/>
                  <a:pt x="3862239" y="2237184"/>
                  <a:pt x="3871585" y="2236422"/>
                </a:cubicBezTo>
                <a:close/>
                <a:moveTo>
                  <a:pt x="4336607" y="2234565"/>
                </a:moveTo>
                <a:cubicBezTo>
                  <a:pt x="4329646" y="2239070"/>
                  <a:pt x="4321938" y="2242296"/>
                  <a:pt x="4313842" y="2244090"/>
                </a:cubicBezTo>
                <a:cubicBezTo>
                  <a:pt x="4303174" y="2247233"/>
                  <a:pt x="4294602" y="2247900"/>
                  <a:pt x="4295650" y="2246376"/>
                </a:cubicBezTo>
                <a:cubicBezTo>
                  <a:pt x="4302590" y="2241832"/>
                  <a:pt x="4310306" y="2238603"/>
                  <a:pt x="4318414" y="2236851"/>
                </a:cubicBezTo>
                <a:cubicBezTo>
                  <a:pt x="4329273" y="2233613"/>
                  <a:pt x="4337464" y="2232565"/>
                  <a:pt x="4336607" y="2234565"/>
                </a:cubicBezTo>
                <a:close/>
                <a:moveTo>
                  <a:pt x="3966716" y="2232303"/>
                </a:moveTo>
                <a:cubicBezTo>
                  <a:pt x="3974348" y="2231708"/>
                  <a:pt x="3978515" y="2232661"/>
                  <a:pt x="3978086" y="2235137"/>
                </a:cubicBezTo>
                <a:cubicBezTo>
                  <a:pt x="3977229" y="2240090"/>
                  <a:pt x="3956750" y="2249234"/>
                  <a:pt x="3930461" y="2256377"/>
                </a:cubicBezTo>
                <a:cubicBezTo>
                  <a:pt x="3904172" y="2263521"/>
                  <a:pt x="3886837" y="2264855"/>
                  <a:pt x="3886932" y="2260283"/>
                </a:cubicBezTo>
                <a:cubicBezTo>
                  <a:pt x="3886932" y="2255425"/>
                  <a:pt x="3907697" y="2246186"/>
                  <a:pt x="3934557" y="2238756"/>
                </a:cubicBezTo>
                <a:cubicBezTo>
                  <a:pt x="3947988" y="2235042"/>
                  <a:pt x="3959084" y="2232899"/>
                  <a:pt x="3966716" y="2232303"/>
                </a:cubicBezTo>
                <a:close/>
                <a:moveTo>
                  <a:pt x="1204820" y="2232183"/>
                </a:moveTo>
                <a:cubicBezTo>
                  <a:pt x="1237795" y="2232157"/>
                  <a:pt x="1270608" y="2236840"/>
                  <a:pt x="1302261" y="2246090"/>
                </a:cubicBezTo>
                <a:cubicBezTo>
                  <a:pt x="1313119" y="2249900"/>
                  <a:pt x="1316929" y="2253710"/>
                  <a:pt x="1314452" y="2256853"/>
                </a:cubicBezTo>
                <a:cubicBezTo>
                  <a:pt x="1312137" y="2258944"/>
                  <a:pt x="1309251" y="2260303"/>
                  <a:pt x="1306166" y="2260758"/>
                </a:cubicBezTo>
                <a:cubicBezTo>
                  <a:pt x="1300499" y="2261971"/>
                  <a:pt x="1294726" y="2262640"/>
                  <a:pt x="1288926" y="2262758"/>
                </a:cubicBezTo>
                <a:cubicBezTo>
                  <a:pt x="1280963" y="2263176"/>
                  <a:pt x="1272981" y="2263176"/>
                  <a:pt x="1265018" y="2262758"/>
                </a:cubicBezTo>
                <a:cubicBezTo>
                  <a:pt x="1256446" y="2262187"/>
                  <a:pt x="1247397" y="2261234"/>
                  <a:pt x="1238538" y="2259996"/>
                </a:cubicBezTo>
                <a:cubicBezTo>
                  <a:pt x="1229680" y="2258758"/>
                  <a:pt x="1220917" y="2257139"/>
                  <a:pt x="1213012" y="2255329"/>
                </a:cubicBezTo>
                <a:cubicBezTo>
                  <a:pt x="1205982" y="2253812"/>
                  <a:pt x="1199048" y="2251872"/>
                  <a:pt x="1192247" y="2249519"/>
                </a:cubicBezTo>
                <a:cubicBezTo>
                  <a:pt x="1180627" y="2245137"/>
                  <a:pt x="1176340" y="2241041"/>
                  <a:pt x="1178626" y="2237898"/>
                </a:cubicBezTo>
                <a:cubicBezTo>
                  <a:pt x="1180912" y="2234755"/>
                  <a:pt x="1189961" y="2232469"/>
                  <a:pt x="1204820" y="2232183"/>
                </a:cubicBezTo>
                <a:close/>
                <a:moveTo>
                  <a:pt x="4396996" y="2231135"/>
                </a:moveTo>
                <a:cubicBezTo>
                  <a:pt x="4391569" y="2234517"/>
                  <a:pt x="4385612" y="2236965"/>
                  <a:pt x="4379375" y="2238374"/>
                </a:cubicBezTo>
                <a:cubicBezTo>
                  <a:pt x="4369850" y="2241041"/>
                  <a:pt x="4364325" y="2241613"/>
                  <a:pt x="4366040" y="2239708"/>
                </a:cubicBezTo>
                <a:cubicBezTo>
                  <a:pt x="4371902" y="2236107"/>
                  <a:pt x="4378350" y="2233560"/>
                  <a:pt x="4385090" y="2232183"/>
                </a:cubicBezTo>
                <a:cubicBezTo>
                  <a:pt x="4394615" y="2229516"/>
                  <a:pt x="4399187" y="2229135"/>
                  <a:pt x="4396996" y="2231135"/>
                </a:cubicBezTo>
                <a:close/>
                <a:moveTo>
                  <a:pt x="2073603" y="2229326"/>
                </a:moveTo>
                <a:cubicBezTo>
                  <a:pt x="2088309" y="2229217"/>
                  <a:pt x="2102949" y="2231469"/>
                  <a:pt x="2116941" y="2235994"/>
                </a:cubicBezTo>
                <a:cubicBezTo>
                  <a:pt x="2133896" y="2243614"/>
                  <a:pt x="2120180" y="2253996"/>
                  <a:pt x="2086461" y="2259711"/>
                </a:cubicBezTo>
                <a:cubicBezTo>
                  <a:pt x="2077279" y="2261191"/>
                  <a:pt x="2068031" y="2262209"/>
                  <a:pt x="2058744" y="2262759"/>
                </a:cubicBezTo>
                <a:cubicBezTo>
                  <a:pt x="2049419" y="2263233"/>
                  <a:pt x="2040065" y="2263233"/>
                  <a:pt x="2030741" y="2262759"/>
                </a:cubicBezTo>
                <a:cubicBezTo>
                  <a:pt x="2015920" y="2262829"/>
                  <a:pt x="2001165" y="2260612"/>
                  <a:pt x="1987021" y="2256187"/>
                </a:cubicBezTo>
                <a:cubicBezTo>
                  <a:pt x="1977496" y="2252472"/>
                  <a:pt x="1976258" y="2247995"/>
                  <a:pt x="1981592" y="2243804"/>
                </a:cubicBezTo>
                <a:cubicBezTo>
                  <a:pt x="1985488" y="2241029"/>
                  <a:pt x="1989841" y="2238965"/>
                  <a:pt x="1994450" y="2237708"/>
                </a:cubicBezTo>
                <a:cubicBezTo>
                  <a:pt x="2001651" y="2235486"/>
                  <a:pt x="2009004" y="2233798"/>
                  <a:pt x="2016454" y="2232660"/>
                </a:cubicBezTo>
                <a:cubicBezTo>
                  <a:pt x="2035360" y="2229795"/>
                  <a:pt x="2054496" y="2228679"/>
                  <a:pt x="2073603" y="2229326"/>
                </a:cubicBezTo>
                <a:close/>
                <a:moveTo>
                  <a:pt x="4056406" y="2228303"/>
                </a:moveTo>
                <a:cubicBezTo>
                  <a:pt x="4063336" y="2227636"/>
                  <a:pt x="4067098" y="2228374"/>
                  <a:pt x="4066384" y="2230660"/>
                </a:cubicBezTo>
                <a:cubicBezTo>
                  <a:pt x="4064955" y="2235232"/>
                  <a:pt x="4047334" y="2242757"/>
                  <a:pt x="4025236" y="2249138"/>
                </a:cubicBezTo>
                <a:cubicBezTo>
                  <a:pt x="4003138" y="2255520"/>
                  <a:pt x="3984850" y="2257425"/>
                  <a:pt x="3985231" y="2253425"/>
                </a:cubicBezTo>
                <a:cubicBezTo>
                  <a:pt x="3985231" y="2249138"/>
                  <a:pt x="4003519" y="2241042"/>
                  <a:pt x="4027426" y="2234375"/>
                </a:cubicBezTo>
                <a:cubicBezTo>
                  <a:pt x="4039380" y="2231041"/>
                  <a:pt x="4049477" y="2228969"/>
                  <a:pt x="4056406" y="2228303"/>
                </a:cubicBezTo>
                <a:close/>
                <a:moveTo>
                  <a:pt x="3712339" y="2227802"/>
                </a:moveTo>
                <a:lnTo>
                  <a:pt x="3673382" y="2230945"/>
                </a:lnTo>
                <a:lnTo>
                  <a:pt x="3635854" y="2247328"/>
                </a:lnTo>
                <a:lnTo>
                  <a:pt x="3670334" y="2247328"/>
                </a:lnTo>
                <a:cubicBezTo>
                  <a:pt x="3683228" y="2238663"/>
                  <a:pt x="3697402" y="2232073"/>
                  <a:pt x="3712339" y="2227802"/>
                </a:cubicBezTo>
                <a:close/>
                <a:moveTo>
                  <a:pt x="4454432" y="2227707"/>
                </a:moveTo>
                <a:cubicBezTo>
                  <a:pt x="4450559" y="2230070"/>
                  <a:pt x="4446353" y="2231836"/>
                  <a:pt x="4441954" y="2232945"/>
                </a:cubicBezTo>
                <a:cubicBezTo>
                  <a:pt x="4435763" y="2234850"/>
                  <a:pt x="4430905" y="2235422"/>
                  <a:pt x="4432429" y="2234184"/>
                </a:cubicBezTo>
                <a:cubicBezTo>
                  <a:pt x="4436324" y="2231842"/>
                  <a:pt x="4440522" y="2230047"/>
                  <a:pt x="4444907" y="2228850"/>
                </a:cubicBezTo>
                <a:cubicBezTo>
                  <a:pt x="4450431" y="2227230"/>
                  <a:pt x="4454432" y="2226659"/>
                  <a:pt x="4454432" y="2227707"/>
                </a:cubicBezTo>
                <a:close/>
                <a:moveTo>
                  <a:pt x="1457044" y="2227707"/>
                </a:moveTo>
                <a:cubicBezTo>
                  <a:pt x="1489467" y="2225261"/>
                  <a:pt x="1522053" y="2228878"/>
                  <a:pt x="1553152" y="2238375"/>
                </a:cubicBezTo>
                <a:cubicBezTo>
                  <a:pt x="1563248" y="2242375"/>
                  <a:pt x="1565820" y="2246280"/>
                  <a:pt x="1561534" y="2249519"/>
                </a:cubicBezTo>
                <a:cubicBezTo>
                  <a:pt x="1558038" y="2251674"/>
                  <a:pt x="1554152" y="2253130"/>
                  <a:pt x="1550103" y="2253805"/>
                </a:cubicBezTo>
                <a:cubicBezTo>
                  <a:pt x="1547341" y="2254377"/>
                  <a:pt x="1544293" y="2254948"/>
                  <a:pt x="1540578" y="2255424"/>
                </a:cubicBezTo>
                <a:cubicBezTo>
                  <a:pt x="1536864" y="2255901"/>
                  <a:pt x="1533149" y="2256282"/>
                  <a:pt x="1528768" y="2256567"/>
                </a:cubicBezTo>
                <a:cubicBezTo>
                  <a:pt x="1520385" y="2257234"/>
                  <a:pt x="1511623" y="2257329"/>
                  <a:pt x="1502860" y="2257234"/>
                </a:cubicBezTo>
                <a:cubicBezTo>
                  <a:pt x="1494096" y="2257139"/>
                  <a:pt x="1485143" y="2256377"/>
                  <a:pt x="1476762" y="2255424"/>
                </a:cubicBezTo>
                <a:cubicBezTo>
                  <a:pt x="1461978" y="2254045"/>
                  <a:pt x="1447425" y="2250846"/>
                  <a:pt x="1433422" y="2245899"/>
                </a:cubicBezTo>
                <a:cubicBezTo>
                  <a:pt x="1411516" y="2237327"/>
                  <a:pt x="1421422" y="2229612"/>
                  <a:pt x="1457044" y="2227707"/>
                </a:cubicBezTo>
                <a:close/>
                <a:moveTo>
                  <a:pt x="4140309" y="2223385"/>
                </a:moveTo>
                <a:cubicBezTo>
                  <a:pt x="4146322" y="2222778"/>
                  <a:pt x="4149489" y="2223421"/>
                  <a:pt x="4148679" y="2225421"/>
                </a:cubicBezTo>
                <a:cubicBezTo>
                  <a:pt x="4147060" y="2229421"/>
                  <a:pt x="4130677" y="2236660"/>
                  <a:pt x="4109912" y="2242470"/>
                </a:cubicBezTo>
                <a:cubicBezTo>
                  <a:pt x="4089148" y="2248281"/>
                  <a:pt x="4076098" y="2249519"/>
                  <a:pt x="4076860" y="2245899"/>
                </a:cubicBezTo>
                <a:cubicBezTo>
                  <a:pt x="4077622" y="2242280"/>
                  <a:pt x="4093624" y="2235136"/>
                  <a:pt x="4114865" y="2228850"/>
                </a:cubicBezTo>
                <a:cubicBezTo>
                  <a:pt x="4125438" y="2225850"/>
                  <a:pt x="4134296" y="2223992"/>
                  <a:pt x="4140309" y="2223385"/>
                </a:cubicBezTo>
                <a:close/>
                <a:moveTo>
                  <a:pt x="952974" y="2221420"/>
                </a:moveTo>
                <a:cubicBezTo>
                  <a:pt x="960403" y="2222087"/>
                  <a:pt x="968881" y="2223230"/>
                  <a:pt x="977643" y="2224754"/>
                </a:cubicBezTo>
                <a:cubicBezTo>
                  <a:pt x="986407" y="2226278"/>
                  <a:pt x="995455" y="2227897"/>
                  <a:pt x="1004218" y="2229897"/>
                </a:cubicBezTo>
                <a:lnTo>
                  <a:pt x="1010790" y="2231421"/>
                </a:lnTo>
                <a:lnTo>
                  <a:pt x="1017077" y="2232945"/>
                </a:lnTo>
                <a:lnTo>
                  <a:pt x="1028888" y="2236089"/>
                </a:lnTo>
                <a:cubicBezTo>
                  <a:pt x="1035365" y="2237839"/>
                  <a:pt x="1041737" y="2240003"/>
                  <a:pt x="1047938" y="2242566"/>
                </a:cubicBezTo>
                <a:cubicBezTo>
                  <a:pt x="1057463" y="2246852"/>
                  <a:pt x="1060416" y="2250471"/>
                  <a:pt x="1056987" y="2252853"/>
                </a:cubicBezTo>
                <a:cubicBezTo>
                  <a:pt x="1054034" y="2254369"/>
                  <a:pt x="1050776" y="2255214"/>
                  <a:pt x="1047462" y="2255329"/>
                </a:cubicBezTo>
                <a:cubicBezTo>
                  <a:pt x="1041471" y="2255802"/>
                  <a:pt x="1035451" y="2255802"/>
                  <a:pt x="1029459" y="2255329"/>
                </a:cubicBezTo>
                <a:cubicBezTo>
                  <a:pt x="1022316" y="2255329"/>
                  <a:pt x="1014505" y="2253996"/>
                  <a:pt x="1006314" y="2252662"/>
                </a:cubicBezTo>
                <a:cubicBezTo>
                  <a:pt x="998122" y="2251329"/>
                  <a:pt x="989645" y="2249709"/>
                  <a:pt x="981358" y="2247900"/>
                </a:cubicBezTo>
                <a:cubicBezTo>
                  <a:pt x="973072" y="2246090"/>
                  <a:pt x="965071" y="2243899"/>
                  <a:pt x="957832" y="2241708"/>
                </a:cubicBezTo>
                <a:cubicBezTo>
                  <a:pt x="951364" y="2239824"/>
                  <a:pt x="945012" y="2237598"/>
                  <a:pt x="938782" y="2235041"/>
                </a:cubicBezTo>
                <a:cubicBezTo>
                  <a:pt x="927448" y="2229993"/>
                  <a:pt x="923541" y="2225516"/>
                  <a:pt x="926209" y="2223516"/>
                </a:cubicBezTo>
                <a:cubicBezTo>
                  <a:pt x="928875" y="2221515"/>
                  <a:pt x="938115" y="2220182"/>
                  <a:pt x="952974" y="2221420"/>
                </a:cubicBezTo>
                <a:close/>
                <a:moveTo>
                  <a:pt x="3833783" y="2220754"/>
                </a:moveTo>
                <a:cubicBezTo>
                  <a:pt x="3818570" y="2224362"/>
                  <a:pt x="3802893" y="2225614"/>
                  <a:pt x="3787301" y="2224468"/>
                </a:cubicBezTo>
                <a:cubicBezTo>
                  <a:pt x="3772518" y="2233642"/>
                  <a:pt x="3756473" y="2240606"/>
                  <a:pt x="3739676" y="2245138"/>
                </a:cubicBezTo>
                <a:cubicBezTo>
                  <a:pt x="3766632" y="2239613"/>
                  <a:pt x="3779300" y="2239994"/>
                  <a:pt x="3785682" y="2243042"/>
                </a:cubicBezTo>
                <a:cubicBezTo>
                  <a:pt x="3791873" y="2236375"/>
                  <a:pt x="3807113" y="2229421"/>
                  <a:pt x="3833783" y="2220754"/>
                </a:cubicBezTo>
                <a:close/>
                <a:moveTo>
                  <a:pt x="4215450" y="2220469"/>
                </a:moveTo>
                <a:cubicBezTo>
                  <a:pt x="4220188" y="2220088"/>
                  <a:pt x="4222355" y="2220850"/>
                  <a:pt x="4221450" y="2222564"/>
                </a:cubicBezTo>
                <a:cubicBezTo>
                  <a:pt x="4219641" y="2225993"/>
                  <a:pt x="4204972" y="2232089"/>
                  <a:pt x="4186589" y="2237613"/>
                </a:cubicBezTo>
                <a:cubicBezTo>
                  <a:pt x="4168206" y="2243138"/>
                  <a:pt x="4157537" y="2243804"/>
                  <a:pt x="4158966" y="2240471"/>
                </a:cubicBezTo>
                <a:cubicBezTo>
                  <a:pt x="4160490" y="2236946"/>
                  <a:pt x="4175254" y="2230946"/>
                  <a:pt x="4194018" y="2225231"/>
                </a:cubicBezTo>
                <a:cubicBezTo>
                  <a:pt x="4203401" y="2222374"/>
                  <a:pt x="4210711" y="2220850"/>
                  <a:pt x="4215450" y="2220469"/>
                </a:cubicBezTo>
                <a:close/>
                <a:moveTo>
                  <a:pt x="4292411" y="2218944"/>
                </a:moveTo>
                <a:cubicBezTo>
                  <a:pt x="4283332" y="2225104"/>
                  <a:pt x="4273142" y="2229439"/>
                  <a:pt x="4262407" y="2231707"/>
                </a:cubicBezTo>
                <a:cubicBezTo>
                  <a:pt x="4247263" y="2235994"/>
                  <a:pt x="4237547" y="2237041"/>
                  <a:pt x="4239166" y="2234184"/>
                </a:cubicBezTo>
                <a:cubicBezTo>
                  <a:pt x="4247960" y="2227889"/>
                  <a:pt x="4257994" y="2223538"/>
                  <a:pt x="4268599" y="2221420"/>
                </a:cubicBezTo>
                <a:cubicBezTo>
                  <a:pt x="4284791" y="2216753"/>
                  <a:pt x="4294792" y="2215705"/>
                  <a:pt x="4292411" y="2218944"/>
                </a:cubicBezTo>
                <a:close/>
                <a:moveTo>
                  <a:pt x="4359753" y="2214467"/>
                </a:moveTo>
                <a:cubicBezTo>
                  <a:pt x="4351911" y="2219767"/>
                  <a:pt x="4343111" y="2223487"/>
                  <a:pt x="4333845" y="2225421"/>
                </a:cubicBezTo>
                <a:cubicBezTo>
                  <a:pt x="4320701" y="2229231"/>
                  <a:pt x="4312605" y="2230088"/>
                  <a:pt x="4314795" y="2227421"/>
                </a:cubicBezTo>
                <a:cubicBezTo>
                  <a:pt x="4322873" y="2222152"/>
                  <a:pt x="4331848" y="2218407"/>
                  <a:pt x="4341275" y="2216372"/>
                </a:cubicBezTo>
                <a:cubicBezTo>
                  <a:pt x="4353848" y="2212848"/>
                  <a:pt x="4361468" y="2211991"/>
                  <a:pt x="4359753" y="2214467"/>
                </a:cubicBezTo>
                <a:close/>
                <a:moveTo>
                  <a:pt x="4418522" y="2212181"/>
                </a:moveTo>
                <a:cubicBezTo>
                  <a:pt x="4411940" y="2216275"/>
                  <a:pt x="4404733" y="2219267"/>
                  <a:pt x="4397186" y="2221039"/>
                </a:cubicBezTo>
                <a:cubicBezTo>
                  <a:pt x="4387185" y="2223897"/>
                  <a:pt x="4380518" y="2224659"/>
                  <a:pt x="4382042" y="2222658"/>
                </a:cubicBezTo>
                <a:cubicBezTo>
                  <a:pt x="4388394" y="2218539"/>
                  <a:pt x="4395423" y="2215573"/>
                  <a:pt x="4402806" y="2213895"/>
                </a:cubicBezTo>
                <a:cubicBezTo>
                  <a:pt x="4413569" y="2210752"/>
                  <a:pt x="4420618" y="2209990"/>
                  <a:pt x="4418522" y="2212181"/>
                </a:cubicBezTo>
                <a:close/>
                <a:moveTo>
                  <a:pt x="550626" y="2210942"/>
                </a:moveTo>
                <a:cubicBezTo>
                  <a:pt x="558979" y="2210333"/>
                  <a:pt x="567361" y="2211805"/>
                  <a:pt x="575011" y="2215229"/>
                </a:cubicBezTo>
                <a:lnTo>
                  <a:pt x="585391" y="2218562"/>
                </a:lnTo>
                <a:lnTo>
                  <a:pt x="596632" y="2222468"/>
                </a:lnTo>
                <a:lnTo>
                  <a:pt x="608346" y="2226754"/>
                </a:lnTo>
                <a:lnTo>
                  <a:pt x="620063" y="2231231"/>
                </a:lnTo>
                <a:cubicBezTo>
                  <a:pt x="627780" y="2234183"/>
                  <a:pt x="635210" y="2237231"/>
                  <a:pt x="641877" y="2240089"/>
                </a:cubicBezTo>
                <a:lnTo>
                  <a:pt x="646735" y="2242184"/>
                </a:lnTo>
                <a:lnTo>
                  <a:pt x="651117" y="2244185"/>
                </a:lnTo>
                <a:cubicBezTo>
                  <a:pt x="653974" y="2245423"/>
                  <a:pt x="656546" y="2246661"/>
                  <a:pt x="658736" y="2247804"/>
                </a:cubicBezTo>
                <a:cubicBezTo>
                  <a:pt x="676358" y="2257424"/>
                  <a:pt x="671214" y="2261044"/>
                  <a:pt x="647784" y="2255614"/>
                </a:cubicBezTo>
                <a:cubicBezTo>
                  <a:pt x="644830" y="2254948"/>
                  <a:pt x="641591" y="2254091"/>
                  <a:pt x="638258" y="2253043"/>
                </a:cubicBezTo>
                <a:lnTo>
                  <a:pt x="627492" y="2249804"/>
                </a:lnTo>
                <a:lnTo>
                  <a:pt x="616157" y="2245994"/>
                </a:lnTo>
                <a:lnTo>
                  <a:pt x="610346" y="2243899"/>
                </a:lnTo>
                <a:lnTo>
                  <a:pt x="604443" y="2241613"/>
                </a:lnTo>
                <a:cubicBezTo>
                  <a:pt x="590392" y="2236143"/>
                  <a:pt x="576716" y="2229780"/>
                  <a:pt x="563483" y="2222563"/>
                </a:cubicBezTo>
                <a:cubicBezTo>
                  <a:pt x="552435" y="2216372"/>
                  <a:pt x="548435" y="2212371"/>
                  <a:pt x="550626" y="2210942"/>
                </a:cubicBezTo>
                <a:close/>
                <a:moveTo>
                  <a:pt x="3536605" y="2210086"/>
                </a:moveTo>
                <a:lnTo>
                  <a:pt x="3508032" y="2223421"/>
                </a:lnTo>
                <a:lnTo>
                  <a:pt x="3541177" y="2221801"/>
                </a:lnTo>
                <a:lnTo>
                  <a:pt x="3565179" y="2210181"/>
                </a:lnTo>
                <a:close/>
                <a:moveTo>
                  <a:pt x="4477197" y="2208752"/>
                </a:moveTo>
                <a:cubicBezTo>
                  <a:pt x="4472116" y="2211880"/>
                  <a:pt x="4466593" y="2214225"/>
                  <a:pt x="4460814" y="2215706"/>
                </a:cubicBezTo>
                <a:cubicBezTo>
                  <a:pt x="4453575" y="2217801"/>
                  <a:pt x="4447479" y="2218563"/>
                  <a:pt x="4448527" y="2217230"/>
                </a:cubicBezTo>
                <a:cubicBezTo>
                  <a:pt x="4453650" y="2214052"/>
                  <a:pt x="4459243" y="2211705"/>
                  <a:pt x="4465100" y="2210276"/>
                </a:cubicBezTo>
                <a:cubicBezTo>
                  <a:pt x="4472244" y="2208181"/>
                  <a:pt x="4478245" y="2207419"/>
                  <a:pt x="4477197" y="2208752"/>
                </a:cubicBezTo>
                <a:close/>
                <a:moveTo>
                  <a:pt x="3981051" y="2207752"/>
                </a:moveTo>
                <a:cubicBezTo>
                  <a:pt x="3990231" y="2206990"/>
                  <a:pt x="3995899" y="2207848"/>
                  <a:pt x="3995232" y="2210562"/>
                </a:cubicBezTo>
                <a:cubicBezTo>
                  <a:pt x="3993898" y="2215991"/>
                  <a:pt x="3970657" y="2226564"/>
                  <a:pt x="3944654" y="2233803"/>
                </a:cubicBezTo>
                <a:cubicBezTo>
                  <a:pt x="3917889" y="2241328"/>
                  <a:pt x="3894553" y="2243328"/>
                  <a:pt x="3895124" y="2238184"/>
                </a:cubicBezTo>
                <a:cubicBezTo>
                  <a:pt x="3895696" y="2233041"/>
                  <a:pt x="3919032" y="2222182"/>
                  <a:pt x="3945797" y="2214658"/>
                </a:cubicBezTo>
                <a:cubicBezTo>
                  <a:pt x="3959180" y="2210896"/>
                  <a:pt x="3971872" y="2208514"/>
                  <a:pt x="3981051" y="2207752"/>
                </a:cubicBezTo>
                <a:close/>
                <a:moveTo>
                  <a:pt x="1710223" y="2207323"/>
                </a:moveTo>
                <a:cubicBezTo>
                  <a:pt x="1719748" y="2207323"/>
                  <a:pt x="1729844" y="2207323"/>
                  <a:pt x="1739274" y="2207990"/>
                </a:cubicBezTo>
                <a:cubicBezTo>
                  <a:pt x="1755228" y="2208589"/>
                  <a:pt x="1771021" y="2211344"/>
                  <a:pt x="1786232" y="2216181"/>
                </a:cubicBezTo>
                <a:cubicBezTo>
                  <a:pt x="1796329" y="2220087"/>
                  <a:pt x="1798804" y="2224373"/>
                  <a:pt x="1794614" y="2228278"/>
                </a:cubicBezTo>
                <a:cubicBezTo>
                  <a:pt x="1791328" y="2230880"/>
                  <a:pt x="1787528" y="2232762"/>
                  <a:pt x="1783470" y="2233802"/>
                </a:cubicBezTo>
                <a:cubicBezTo>
                  <a:pt x="1776803" y="2235705"/>
                  <a:pt x="1769983" y="2237043"/>
                  <a:pt x="1763087" y="2237803"/>
                </a:cubicBezTo>
                <a:cubicBezTo>
                  <a:pt x="1729673" y="2242115"/>
                  <a:pt x="1695745" y="2239916"/>
                  <a:pt x="1663170" y="2231326"/>
                </a:cubicBezTo>
                <a:cubicBezTo>
                  <a:pt x="1640215" y="2223230"/>
                  <a:pt x="1648692" y="2213419"/>
                  <a:pt x="1682219" y="2209228"/>
                </a:cubicBezTo>
                <a:cubicBezTo>
                  <a:pt x="1686602" y="2208657"/>
                  <a:pt x="1691173" y="2208275"/>
                  <a:pt x="1695840" y="2207895"/>
                </a:cubicBezTo>
                <a:cubicBezTo>
                  <a:pt x="1700508" y="2207514"/>
                  <a:pt x="1705366" y="2207895"/>
                  <a:pt x="1710223" y="2207323"/>
                </a:cubicBezTo>
                <a:close/>
                <a:moveTo>
                  <a:pt x="4530822" y="2205513"/>
                </a:moveTo>
                <a:cubicBezTo>
                  <a:pt x="4527842" y="2207530"/>
                  <a:pt x="4524516" y="2208982"/>
                  <a:pt x="4521012" y="2209800"/>
                </a:cubicBezTo>
                <a:cubicBezTo>
                  <a:pt x="4515582" y="2211514"/>
                  <a:pt x="4512725" y="2211990"/>
                  <a:pt x="4512725" y="2211038"/>
                </a:cubicBezTo>
                <a:cubicBezTo>
                  <a:pt x="4515786" y="2208958"/>
                  <a:pt x="4519211" y="2207471"/>
                  <a:pt x="4522821" y="2206656"/>
                </a:cubicBezTo>
                <a:cubicBezTo>
                  <a:pt x="4528346" y="2205037"/>
                  <a:pt x="4531489" y="2204561"/>
                  <a:pt x="4530822" y="2205513"/>
                </a:cubicBezTo>
                <a:close/>
                <a:moveTo>
                  <a:pt x="3695956" y="2205418"/>
                </a:moveTo>
                <a:lnTo>
                  <a:pt x="3673001" y="2206752"/>
                </a:lnTo>
                <a:lnTo>
                  <a:pt x="3647569" y="2218372"/>
                </a:lnTo>
                <a:lnTo>
                  <a:pt x="3673954" y="2217610"/>
                </a:lnTo>
                <a:close/>
                <a:moveTo>
                  <a:pt x="3000323" y="2204633"/>
                </a:moveTo>
                <a:cubicBezTo>
                  <a:pt x="3016873" y="2204038"/>
                  <a:pt x="3029542" y="2205752"/>
                  <a:pt x="3035067" y="2209895"/>
                </a:cubicBezTo>
                <a:cubicBezTo>
                  <a:pt x="3040209" y="2213801"/>
                  <a:pt x="3037541" y="2218849"/>
                  <a:pt x="3028589" y="2224183"/>
                </a:cubicBezTo>
                <a:cubicBezTo>
                  <a:pt x="3014807" y="2231352"/>
                  <a:pt x="3000089" y="2236578"/>
                  <a:pt x="2984867" y="2239709"/>
                </a:cubicBezTo>
                <a:cubicBezTo>
                  <a:pt x="2945627" y="2249138"/>
                  <a:pt x="2907430" y="2250662"/>
                  <a:pt x="2894666" y="2243328"/>
                </a:cubicBezTo>
                <a:cubicBezTo>
                  <a:pt x="2881616" y="2235803"/>
                  <a:pt x="2901715" y="2222945"/>
                  <a:pt x="2942291" y="2213229"/>
                </a:cubicBezTo>
                <a:cubicBezTo>
                  <a:pt x="2963342" y="2208133"/>
                  <a:pt x="2983774" y="2205228"/>
                  <a:pt x="3000323" y="2204633"/>
                </a:cubicBezTo>
                <a:close/>
                <a:moveTo>
                  <a:pt x="4071301" y="2204442"/>
                </a:moveTo>
                <a:cubicBezTo>
                  <a:pt x="4078909" y="2203847"/>
                  <a:pt x="4083147" y="2204752"/>
                  <a:pt x="4082004" y="2207323"/>
                </a:cubicBezTo>
                <a:cubicBezTo>
                  <a:pt x="4079718" y="2212467"/>
                  <a:pt x="4058668" y="2221706"/>
                  <a:pt x="4035236" y="2228278"/>
                </a:cubicBezTo>
                <a:cubicBezTo>
                  <a:pt x="4011805" y="2234850"/>
                  <a:pt x="3991707" y="2236851"/>
                  <a:pt x="3992755" y="2232088"/>
                </a:cubicBezTo>
                <a:cubicBezTo>
                  <a:pt x="3993803" y="2227326"/>
                  <a:pt x="4015710" y="2217420"/>
                  <a:pt x="4040380" y="2210562"/>
                </a:cubicBezTo>
                <a:cubicBezTo>
                  <a:pt x="4052715" y="2207133"/>
                  <a:pt x="4063693" y="2205038"/>
                  <a:pt x="4071301" y="2204442"/>
                </a:cubicBezTo>
                <a:close/>
                <a:moveTo>
                  <a:pt x="2794654" y="2204085"/>
                </a:moveTo>
                <a:cubicBezTo>
                  <a:pt x="2807053" y="2202796"/>
                  <a:pt x="2819570" y="2204801"/>
                  <a:pt x="2830943" y="2209895"/>
                </a:cubicBezTo>
                <a:cubicBezTo>
                  <a:pt x="2841421" y="2217801"/>
                  <a:pt x="2819514" y="2230945"/>
                  <a:pt x="2782651" y="2239041"/>
                </a:cubicBezTo>
                <a:cubicBezTo>
                  <a:pt x="2773127" y="2241137"/>
                  <a:pt x="2763127" y="2242756"/>
                  <a:pt x="2753409" y="2243899"/>
                </a:cubicBezTo>
                <a:cubicBezTo>
                  <a:pt x="2743695" y="2245042"/>
                  <a:pt x="2734361" y="2245614"/>
                  <a:pt x="2725693" y="2245804"/>
                </a:cubicBezTo>
                <a:cubicBezTo>
                  <a:pt x="2713056" y="2247007"/>
                  <a:pt x="2700313" y="2245145"/>
                  <a:pt x="2688548" y="2240375"/>
                </a:cubicBezTo>
                <a:cubicBezTo>
                  <a:pt x="2676356" y="2232564"/>
                  <a:pt x="2698073" y="2219325"/>
                  <a:pt x="2736171" y="2210943"/>
                </a:cubicBezTo>
                <a:cubicBezTo>
                  <a:pt x="2755402" y="2206794"/>
                  <a:pt x="2774985" y="2204497"/>
                  <a:pt x="2794654" y="2204085"/>
                </a:cubicBezTo>
                <a:close/>
                <a:moveTo>
                  <a:pt x="2554266" y="2203430"/>
                </a:moveTo>
                <a:cubicBezTo>
                  <a:pt x="2572078" y="2203418"/>
                  <a:pt x="2587058" y="2205276"/>
                  <a:pt x="2594344" y="2209038"/>
                </a:cubicBezTo>
                <a:cubicBezTo>
                  <a:pt x="2601677" y="2212753"/>
                  <a:pt x="2600248" y="2217991"/>
                  <a:pt x="2592438" y="2223230"/>
                </a:cubicBezTo>
                <a:cubicBezTo>
                  <a:pt x="2579989" y="2230333"/>
                  <a:pt x="2566378" y="2235170"/>
                  <a:pt x="2552243" y="2237518"/>
                </a:cubicBezTo>
                <a:cubicBezTo>
                  <a:pt x="2543289" y="2239327"/>
                  <a:pt x="2533860" y="2240661"/>
                  <a:pt x="2524336" y="2241613"/>
                </a:cubicBezTo>
                <a:cubicBezTo>
                  <a:pt x="2514809" y="2242566"/>
                  <a:pt x="2505285" y="2243042"/>
                  <a:pt x="2496616" y="2243137"/>
                </a:cubicBezTo>
                <a:cubicBezTo>
                  <a:pt x="2482881" y="2243815"/>
                  <a:pt x="2469138" y="2242008"/>
                  <a:pt x="2456040" y="2237803"/>
                </a:cubicBezTo>
                <a:cubicBezTo>
                  <a:pt x="2447755" y="2234089"/>
                  <a:pt x="2448516" y="2228850"/>
                  <a:pt x="2456040" y="2223516"/>
                </a:cubicBezTo>
                <a:cubicBezTo>
                  <a:pt x="2468747" y="2216201"/>
                  <a:pt x="2482701" y="2211293"/>
                  <a:pt x="2497189" y="2209038"/>
                </a:cubicBezTo>
                <a:cubicBezTo>
                  <a:pt x="2515810" y="2205323"/>
                  <a:pt x="2536456" y="2203442"/>
                  <a:pt x="2554266" y="2203430"/>
                </a:cubicBezTo>
                <a:close/>
                <a:moveTo>
                  <a:pt x="3193276" y="2201894"/>
                </a:moveTo>
                <a:cubicBezTo>
                  <a:pt x="3208802" y="2201227"/>
                  <a:pt x="3220137" y="2202942"/>
                  <a:pt x="3224233" y="2207133"/>
                </a:cubicBezTo>
                <a:cubicBezTo>
                  <a:pt x="3232235" y="2215038"/>
                  <a:pt x="3208138" y="2228278"/>
                  <a:pt x="3168037" y="2238184"/>
                </a:cubicBezTo>
                <a:cubicBezTo>
                  <a:pt x="3127935" y="2248090"/>
                  <a:pt x="3091360" y="2249519"/>
                  <a:pt x="3081549" y="2241899"/>
                </a:cubicBezTo>
                <a:cubicBezTo>
                  <a:pt x="3072023" y="2234088"/>
                  <a:pt x="3095360" y="2220658"/>
                  <a:pt x="3137366" y="2210371"/>
                </a:cubicBezTo>
                <a:cubicBezTo>
                  <a:pt x="3155682" y="2205748"/>
                  <a:pt x="3174408" y="2202909"/>
                  <a:pt x="3193276" y="2201894"/>
                </a:cubicBezTo>
                <a:close/>
                <a:moveTo>
                  <a:pt x="4157192" y="2201406"/>
                </a:moveTo>
                <a:cubicBezTo>
                  <a:pt x="4163562" y="2200823"/>
                  <a:pt x="4166967" y="2201513"/>
                  <a:pt x="4166205" y="2203608"/>
                </a:cubicBezTo>
                <a:cubicBezTo>
                  <a:pt x="4164681" y="2207799"/>
                  <a:pt x="4145441" y="2216467"/>
                  <a:pt x="4123819" y="2222658"/>
                </a:cubicBezTo>
                <a:cubicBezTo>
                  <a:pt x="4102197" y="2228850"/>
                  <a:pt x="4085529" y="2230183"/>
                  <a:pt x="4087053" y="2225897"/>
                </a:cubicBezTo>
                <a:cubicBezTo>
                  <a:pt x="4088577" y="2221516"/>
                  <a:pt x="4108198" y="2212848"/>
                  <a:pt x="4130391" y="2206847"/>
                </a:cubicBezTo>
                <a:cubicBezTo>
                  <a:pt x="4141488" y="2203847"/>
                  <a:pt x="4150823" y="2201989"/>
                  <a:pt x="4157192" y="2201406"/>
                </a:cubicBezTo>
                <a:close/>
                <a:moveTo>
                  <a:pt x="4237131" y="2198001"/>
                </a:moveTo>
                <a:cubicBezTo>
                  <a:pt x="4242644" y="2197513"/>
                  <a:pt x="4245359" y="2198227"/>
                  <a:pt x="4244025" y="2200275"/>
                </a:cubicBezTo>
                <a:cubicBezTo>
                  <a:pt x="4241358" y="2204370"/>
                  <a:pt x="4224975" y="2211419"/>
                  <a:pt x="4205925" y="2216753"/>
                </a:cubicBezTo>
                <a:cubicBezTo>
                  <a:pt x="4186875" y="2222087"/>
                  <a:pt x="4172968" y="2223706"/>
                  <a:pt x="4174683" y="2219896"/>
                </a:cubicBezTo>
                <a:cubicBezTo>
                  <a:pt x="4176492" y="2216086"/>
                  <a:pt x="4193733" y="2208466"/>
                  <a:pt x="4213449" y="2202942"/>
                </a:cubicBezTo>
                <a:cubicBezTo>
                  <a:pt x="4223308" y="2200180"/>
                  <a:pt x="4231618" y="2198489"/>
                  <a:pt x="4237131" y="2198001"/>
                </a:cubicBezTo>
                <a:close/>
                <a:moveTo>
                  <a:pt x="3829497" y="2197989"/>
                </a:moveTo>
                <a:lnTo>
                  <a:pt x="3794445" y="2199703"/>
                </a:lnTo>
                <a:cubicBezTo>
                  <a:pt x="3779707" y="2207691"/>
                  <a:pt x="3764156" y="2214078"/>
                  <a:pt x="3748058" y="2218753"/>
                </a:cubicBezTo>
                <a:cubicBezTo>
                  <a:pt x="3761348" y="2215382"/>
                  <a:pt x="3775182" y="2214734"/>
                  <a:pt x="3788730" y="2216848"/>
                </a:cubicBezTo>
                <a:cubicBezTo>
                  <a:pt x="3795969" y="2213038"/>
                  <a:pt x="3801493" y="2209800"/>
                  <a:pt x="3808256" y="2206657"/>
                </a:cubicBezTo>
                <a:cubicBezTo>
                  <a:pt x="3815019" y="2203513"/>
                  <a:pt x="3823687" y="2200275"/>
                  <a:pt x="3829497" y="2197989"/>
                </a:cubicBezTo>
                <a:close/>
                <a:moveTo>
                  <a:pt x="2281885" y="2196286"/>
                </a:moveTo>
                <a:cubicBezTo>
                  <a:pt x="2300137" y="2196679"/>
                  <a:pt x="2315877" y="2198799"/>
                  <a:pt x="2324212" y="2202561"/>
                </a:cubicBezTo>
                <a:cubicBezTo>
                  <a:pt x="2340879" y="2210085"/>
                  <a:pt x="2323449" y="2223135"/>
                  <a:pt x="2287445" y="2229516"/>
                </a:cubicBezTo>
                <a:cubicBezTo>
                  <a:pt x="2278587" y="2231040"/>
                  <a:pt x="2269061" y="2232183"/>
                  <a:pt x="2259631" y="2232850"/>
                </a:cubicBezTo>
                <a:cubicBezTo>
                  <a:pt x="2250203" y="2233517"/>
                  <a:pt x="2240581" y="2233803"/>
                  <a:pt x="2231057" y="2233612"/>
                </a:cubicBezTo>
                <a:cubicBezTo>
                  <a:pt x="2216693" y="2233899"/>
                  <a:pt x="2202386" y="2231873"/>
                  <a:pt x="2188667" y="2227611"/>
                </a:cubicBezTo>
                <a:cubicBezTo>
                  <a:pt x="2179142" y="2223706"/>
                  <a:pt x="2179142" y="2218086"/>
                  <a:pt x="2185428" y="2213514"/>
                </a:cubicBezTo>
                <a:cubicBezTo>
                  <a:pt x="2197373" y="2206418"/>
                  <a:pt x="2210682" y="2201938"/>
                  <a:pt x="2224484" y="2200370"/>
                </a:cubicBezTo>
                <a:cubicBezTo>
                  <a:pt x="2242867" y="2197227"/>
                  <a:pt x="2263632" y="2195893"/>
                  <a:pt x="2281885" y="2196286"/>
                </a:cubicBezTo>
                <a:close/>
                <a:moveTo>
                  <a:pt x="4311593" y="2194370"/>
                </a:moveTo>
                <a:cubicBezTo>
                  <a:pt x="4316106" y="2194012"/>
                  <a:pt x="4318273" y="2194655"/>
                  <a:pt x="4316987" y="2196369"/>
                </a:cubicBezTo>
                <a:cubicBezTo>
                  <a:pt x="4306043" y="2203486"/>
                  <a:pt x="4293914" y="2208582"/>
                  <a:pt x="4281173" y="2211419"/>
                </a:cubicBezTo>
                <a:cubicBezTo>
                  <a:pt x="4265361" y="2215800"/>
                  <a:pt x="4254407" y="2216563"/>
                  <a:pt x="4257170" y="2213134"/>
                </a:cubicBezTo>
                <a:cubicBezTo>
                  <a:pt x="4267855" y="2206179"/>
                  <a:pt x="4279691" y="2201180"/>
                  <a:pt x="4292126" y="2198370"/>
                </a:cubicBezTo>
                <a:cubicBezTo>
                  <a:pt x="4300223" y="2196084"/>
                  <a:pt x="4307081" y="2194727"/>
                  <a:pt x="4311593" y="2194370"/>
                </a:cubicBezTo>
                <a:close/>
                <a:moveTo>
                  <a:pt x="4381756" y="2194179"/>
                </a:moveTo>
                <a:cubicBezTo>
                  <a:pt x="4372595" y="2200147"/>
                  <a:pt x="4362430" y="2204406"/>
                  <a:pt x="4351752" y="2206752"/>
                </a:cubicBezTo>
                <a:cubicBezTo>
                  <a:pt x="4337941" y="2210753"/>
                  <a:pt x="4328035" y="2211705"/>
                  <a:pt x="4330226" y="2208848"/>
                </a:cubicBezTo>
                <a:cubicBezTo>
                  <a:pt x="4339424" y="2202866"/>
                  <a:pt x="4349618" y="2198576"/>
                  <a:pt x="4360325" y="2196179"/>
                </a:cubicBezTo>
                <a:cubicBezTo>
                  <a:pt x="4374422" y="2192084"/>
                  <a:pt x="4384232" y="2191226"/>
                  <a:pt x="4381756" y="2194179"/>
                </a:cubicBezTo>
                <a:close/>
                <a:moveTo>
                  <a:pt x="4429000" y="2192369"/>
                </a:moveTo>
                <a:cubicBezTo>
                  <a:pt x="4440620" y="2189321"/>
                  <a:pt x="4448050" y="2189036"/>
                  <a:pt x="4443764" y="2192369"/>
                </a:cubicBezTo>
                <a:cubicBezTo>
                  <a:pt x="4435490" y="2196870"/>
                  <a:pt x="4426647" y="2200233"/>
                  <a:pt x="4417475" y="2202371"/>
                </a:cubicBezTo>
                <a:cubicBezTo>
                  <a:pt x="4406045" y="2205419"/>
                  <a:pt x="4398901" y="2205704"/>
                  <a:pt x="4402616" y="2202942"/>
                </a:cubicBezTo>
                <a:cubicBezTo>
                  <a:pt x="4410889" y="2198236"/>
                  <a:pt x="4419766" y="2194679"/>
                  <a:pt x="4429000" y="2192369"/>
                </a:cubicBezTo>
                <a:close/>
                <a:moveTo>
                  <a:pt x="4504248" y="2187987"/>
                </a:moveTo>
                <a:cubicBezTo>
                  <a:pt x="4497764" y="2191897"/>
                  <a:pt x="4490733" y="2194818"/>
                  <a:pt x="4483388" y="2196655"/>
                </a:cubicBezTo>
                <a:cubicBezTo>
                  <a:pt x="4475101" y="2198941"/>
                  <a:pt x="4469005" y="2199512"/>
                  <a:pt x="4470624" y="2197798"/>
                </a:cubicBezTo>
                <a:cubicBezTo>
                  <a:pt x="4477125" y="2193854"/>
                  <a:pt x="4484192" y="2190930"/>
                  <a:pt x="4491579" y="2189130"/>
                </a:cubicBezTo>
                <a:cubicBezTo>
                  <a:pt x="4499866" y="2186749"/>
                  <a:pt x="4505962" y="2186273"/>
                  <a:pt x="4504248" y="2187987"/>
                </a:cubicBezTo>
                <a:close/>
                <a:moveTo>
                  <a:pt x="4555778" y="2186749"/>
                </a:moveTo>
                <a:cubicBezTo>
                  <a:pt x="4551542" y="2189289"/>
                  <a:pt x="4546951" y="2191182"/>
                  <a:pt x="4542157" y="2192369"/>
                </a:cubicBezTo>
                <a:cubicBezTo>
                  <a:pt x="4535394" y="2194369"/>
                  <a:pt x="4531013" y="2194941"/>
                  <a:pt x="4532632" y="2193512"/>
                </a:cubicBezTo>
                <a:cubicBezTo>
                  <a:pt x="4537034" y="2190809"/>
                  <a:pt x="4541819" y="2188786"/>
                  <a:pt x="4546824" y="2187511"/>
                </a:cubicBezTo>
                <a:cubicBezTo>
                  <a:pt x="4553587" y="2185606"/>
                  <a:pt x="4557492" y="2185225"/>
                  <a:pt x="4555778" y="2186749"/>
                </a:cubicBezTo>
                <a:close/>
                <a:moveTo>
                  <a:pt x="3993541" y="2182129"/>
                </a:moveTo>
                <a:cubicBezTo>
                  <a:pt x="4002899" y="2181391"/>
                  <a:pt x="4008281" y="2182510"/>
                  <a:pt x="4007805" y="2185606"/>
                </a:cubicBezTo>
                <a:cubicBezTo>
                  <a:pt x="4006852" y="2191797"/>
                  <a:pt x="3983897" y="2202560"/>
                  <a:pt x="3954084" y="2210942"/>
                </a:cubicBezTo>
                <a:cubicBezTo>
                  <a:pt x="3924271" y="2219324"/>
                  <a:pt x="3901601" y="2221229"/>
                  <a:pt x="3901506" y="2215419"/>
                </a:cubicBezTo>
                <a:cubicBezTo>
                  <a:pt x="3901506" y="2209514"/>
                  <a:pt x="3924556" y="2198464"/>
                  <a:pt x="3955417" y="2189797"/>
                </a:cubicBezTo>
                <a:cubicBezTo>
                  <a:pt x="3970848" y="2185463"/>
                  <a:pt x="3984183" y="2182867"/>
                  <a:pt x="3993541" y="2182129"/>
                </a:cubicBezTo>
                <a:close/>
                <a:moveTo>
                  <a:pt x="1941204" y="2182082"/>
                </a:moveTo>
                <a:cubicBezTo>
                  <a:pt x="1950729" y="2182082"/>
                  <a:pt x="1960921" y="2182082"/>
                  <a:pt x="1970446" y="2182082"/>
                </a:cubicBezTo>
                <a:cubicBezTo>
                  <a:pt x="1975208" y="2182082"/>
                  <a:pt x="1979971" y="2182654"/>
                  <a:pt x="1984257" y="2183035"/>
                </a:cubicBezTo>
                <a:lnTo>
                  <a:pt x="1996925" y="2184559"/>
                </a:lnTo>
                <a:cubicBezTo>
                  <a:pt x="2003650" y="2185476"/>
                  <a:pt x="2010260" y="2187104"/>
                  <a:pt x="2016642" y="2189416"/>
                </a:cubicBezTo>
                <a:cubicBezTo>
                  <a:pt x="2035691" y="2197036"/>
                  <a:pt x="2023310" y="2208466"/>
                  <a:pt x="1989591" y="2214086"/>
                </a:cubicBezTo>
                <a:cubicBezTo>
                  <a:pt x="1955873" y="2219706"/>
                  <a:pt x="1908344" y="2217515"/>
                  <a:pt x="1887294" y="2209609"/>
                </a:cubicBezTo>
                <a:cubicBezTo>
                  <a:pt x="1876721" y="2205704"/>
                  <a:pt x="1874435" y="2200751"/>
                  <a:pt x="1879197" y="2196179"/>
                </a:cubicBezTo>
                <a:cubicBezTo>
                  <a:pt x="1889322" y="2189423"/>
                  <a:pt x="1901057" y="2185448"/>
                  <a:pt x="1913202" y="2184654"/>
                </a:cubicBezTo>
                <a:cubicBezTo>
                  <a:pt x="1922478" y="2183276"/>
                  <a:pt x="1931833" y="2182418"/>
                  <a:pt x="1941204" y="2182082"/>
                </a:cubicBezTo>
                <a:close/>
                <a:moveTo>
                  <a:pt x="4091220" y="2178510"/>
                </a:moveTo>
                <a:cubicBezTo>
                  <a:pt x="4098768" y="2178034"/>
                  <a:pt x="4102435" y="2179272"/>
                  <a:pt x="4101244" y="2182177"/>
                </a:cubicBezTo>
                <a:cubicBezTo>
                  <a:pt x="4098863" y="2187988"/>
                  <a:pt x="4077432" y="2197608"/>
                  <a:pt x="4050476" y="2205133"/>
                </a:cubicBezTo>
                <a:cubicBezTo>
                  <a:pt x="4023806" y="2212658"/>
                  <a:pt x="4004851" y="2214181"/>
                  <a:pt x="4005899" y="2208752"/>
                </a:cubicBezTo>
                <a:cubicBezTo>
                  <a:pt x="4006947" y="2203323"/>
                  <a:pt x="4029235" y="2193036"/>
                  <a:pt x="4057906" y="2185130"/>
                </a:cubicBezTo>
                <a:cubicBezTo>
                  <a:pt x="4072241" y="2181178"/>
                  <a:pt x="4083671" y="2178987"/>
                  <a:pt x="4091220" y="2178510"/>
                </a:cubicBezTo>
                <a:close/>
                <a:moveTo>
                  <a:pt x="3536797" y="2177605"/>
                </a:moveTo>
                <a:lnTo>
                  <a:pt x="3501747" y="2194274"/>
                </a:lnTo>
                <a:lnTo>
                  <a:pt x="3536225" y="2193607"/>
                </a:lnTo>
                <a:lnTo>
                  <a:pt x="3568703" y="2177605"/>
                </a:lnTo>
                <a:close/>
                <a:moveTo>
                  <a:pt x="3696528" y="2176843"/>
                </a:moveTo>
                <a:lnTo>
                  <a:pt x="3677478" y="2177605"/>
                </a:lnTo>
                <a:lnTo>
                  <a:pt x="3654427" y="2188369"/>
                </a:lnTo>
                <a:lnTo>
                  <a:pt x="3673096" y="2188178"/>
                </a:lnTo>
                <a:close/>
                <a:moveTo>
                  <a:pt x="4177016" y="2176367"/>
                </a:moveTo>
                <a:cubicBezTo>
                  <a:pt x="4184375" y="2175653"/>
                  <a:pt x="4188637" y="2176367"/>
                  <a:pt x="4188113" y="2178653"/>
                </a:cubicBezTo>
                <a:cubicBezTo>
                  <a:pt x="4187065" y="2183225"/>
                  <a:pt x="4165444" y="2193035"/>
                  <a:pt x="4141822" y="2199798"/>
                </a:cubicBezTo>
                <a:cubicBezTo>
                  <a:pt x="4118200" y="2206561"/>
                  <a:pt x="4100959" y="2207990"/>
                  <a:pt x="4102007" y="2203513"/>
                </a:cubicBezTo>
                <a:cubicBezTo>
                  <a:pt x="4103150" y="2198941"/>
                  <a:pt x="4123629" y="2189511"/>
                  <a:pt x="4147346" y="2182653"/>
                </a:cubicBezTo>
                <a:cubicBezTo>
                  <a:pt x="4159205" y="2179224"/>
                  <a:pt x="4169658" y="2177081"/>
                  <a:pt x="4177016" y="2176367"/>
                </a:cubicBezTo>
                <a:close/>
                <a:moveTo>
                  <a:pt x="4255574" y="2174354"/>
                </a:moveTo>
                <a:cubicBezTo>
                  <a:pt x="4262003" y="2173842"/>
                  <a:pt x="4265504" y="2174700"/>
                  <a:pt x="4264027" y="2176938"/>
                </a:cubicBezTo>
                <a:cubicBezTo>
                  <a:pt x="4261074" y="2181415"/>
                  <a:pt x="4241834" y="2189797"/>
                  <a:pt x="4222022" y="2195988"/>
                </a:cubicBezTo>
                <a:cubicBezTo>
                  <a:pt x="4202210" y="2202179"/>
                  <a:pt x="4186493" y="2203037"/>
                  <a:pt x="4188208" y="2199036"/>
                </a:cubicBezTo>
                <a:cubicBezTo>
                  <a:pt x="4189922" y="2195036"/>
                  <a:pt x="4209068" y="2186463"/>
                  <a:pt x="4229546" y="2179986"/>
                </a:cubicBezTo>
                <a:cubicBezTo>
                  <a:pt x="4239786" y="2176748"/>
                  <a:pt x="4249144" y="2174866"/>
                  <a:pt x="4255574" y="2174354"/>
                </a:cubicBezTo>
                <a:close/>
                <a:moveTo>
                  <a:pt x="3380234" y="2174176"/>
                </a:moveTo>
                <a:cubicBezTo>
                  <a:pt x="3373572" y="2182844"/>
                  <a:pt x="3356144" y="2191512"/>
                  <a:pt x="3325478" y="2201894"/>
                </a:cubicBezTo>
                <a:cubicBezTo>
                  <a:pt x="3347318" y="2196801"/>
                  <a:pt x="3369850" y="2195416"/>
                  <a:pt x="3392139" y="2197798"/>
                </a:cubicBezTo>
                <a:lnTo>
                  <a:pt x="3392139" y="2198275"/>
                </a:lnTo>
                <a:cubicBezTo>
                  <a:pt x="3399280" y="2190750"/>
                  <a:pt x="3414328" y="2184178"/>
                  <a:pt x="3437372" y="2175605"/>
                </a:cubicBezTo>
                <a:cubicBezTo>
                  <a:pt x="3407946" y="2179701"/>
                  <a:pt x="3390901" y="2179129"/>
                  <a:pt x="3380234" y="2174176"/>
                </a:cubicBezTo>
                <a:close/>
                <a:moveTo>
                  <a:pt x="3829783" y="2172176"/>
                </a:moveTo>
                <a:lnTo>
                  <a:pt x="3799874" y="2174081"/>
                </a:lnTo>
                <a:lnTo>
                  <a:pt x="3774728" y="2185702"/>
                </a:lnTo>
                <a:lnTo>
                  <a:pt x="3800636" y="2185606"/>
                </a:lnTo>
                <a:close/>
                <a:moveTo>
                  <a:pt x="4332810" y="2171819"/>
                </a:moveTo>
                <a:cubicBezTo>
                  <a:pt x="4337798" y="2171462"/>
                  <a:pt x="4340180" y="2172224"/>
                  <a:pt x="4338608" y="2174177"/>
                </a:cubicBezTo>
                <a:cubicBezTo>
                  <a:pt x="4327072" y="2181939"/>
                  <a:pt x="4314230" y="2187554"/>
                  <a:pt x="4300698" y="2190750"/>
                </a:cubicBezTo>
                <a:cubicBezTo>
                  <a:pt x="4283458" y="2195608"/>
                  <a:pt x="4270218" y="2196846"/>
                  <a:pt x="4272123" y="2193227"/>
                </a:cubicBezTo>
                <a:cubicBezTo>
                  <a:pt x="4274028" y="2189607"/>
                  <a:pt x="4293650" y="2181225"/>
                  <a:pt x="4311366" y="2176177"/>
                </a:cubicBezTo>
                <a:cubicBezTo>
                  <a:pt x="4320225" y="2173653"/>
                  <a:pt x="4327821" y="2172177"/>
                  <a:pt x="4332810" y="2171819"/>
                </a:cubicBezTo>
                <a:close/>
                <a:moveTo>
                  <a:pt x="640357" y="2171318"/>
                </a:moveTo>
                <a:cubicBezTo>
                  <a:pt x="641976" y="2169413"/>
                  <a:pt x="650549" y="2169985"/>
                  <a:pt x="664646" y="2173414"/>
                </a:cubicBezTo>
                <a:cubicBezTo>
                  <a:pt x="671694" y="2175033"/>
                  <a:pt x="679600" y="2177129"/>
                  <a:pt x="687791" y="2179605"/>
                </a:cubicBezTo>
                <a:lnTo>
                  <a:pt x="693983" y="2181510"/>
                </a:lnTo>
                <a:lnTo>
                  <a:pt x="700174" y="2183415"/>
                </a:lnTo>
                <a:lnTo>
                  <a:pt x="712557" y="2187511"/>
                </a:lnTo>
                <a:lnTo>
                  <a:pt x="724653" y="2191797"/>
                </a:lnTo>
                <a:lnTo>
                  <a:pt x="730559" y="2194083"/>
                </a:lnTo>
                <a:lnTo>
                  <a:pt x="736083" y="2196179"/>
                </a:lnTo>
                <a:cubicBezTo>
                  <a:pt x="743417" y="2199036"/>
                  <a:pt x="750180" y="2201989"/>
                  <a:pt x="755800" y="2204751"/>
                </a:cubicBezTo>
                <a:cubicBezTo>
                  <a:pt x="758562" y="2206085"/>
                  <a:pt x="760943" y="2207418"/>
                  <a:pt x="762944" y="2208561"/>
                </a:cubicBezTo>
                <a:cubicBezTo>
                  <a:pt x="764563" y="2209518"/>
                  <a:pt x="766116" y="2210568"/>
                  <a:pt x="767611" y="2211704"/>
                </a:cubicBezTo>
                <a:cubicBezTo>
                  <a:pt x="769897" y="2213609"/>
                  <a:pt x="770659" y="2215038"/>
                  <a:pt x="769802" y="2215991"/>
                </a:cubicBezTo>
                <a:cubicBezTo>
                  <a:pt x="768945" y="2216943"/>
                  <a:pt x="766754" y="2217610"/>
                  <a:pt x="762944" y="2217610"/>
                </a:cubicBezTo>
                <a:cubicBezTo>
                  <a:pt x="757534" y="2217423"/>
                  <a:pt x="752152" y="2216786"/>
                  <a:pt x="746847" y="2215705"/>
                </a:cubicBezTo>
                <a:cubicBezTo>
                  <a:pt x="743417" y="2215133"/>
                  <a:pt x="739798" y="2214371"/>
                  <a:pt x="736083" y="2213609"/>
                </a:cubicBezTo>
                <a:lnTo>
                  <a:pt x="730368" y="2212276"/>
                </a:lnTo>
                <a:lnTo>
                  <a:pt x="724463" y="2210752"/>
                </a:lnTo>
                <a:cubicBezTo>
                  <a:pt x="716462" y="2208466"/>
                  <a:pt x="708080" y="2205894"/>
                  <a:pt x="699983" y="2203132"/>
                </a:cubicBezTo>
                <a:lnTo>
                  <a:pt x="693888" y="2201036"/>
                </a:lnTo>
                <a:lnTo>
                  <a:pt x="687791" y="2198750"/>
                </a:lnTo>
                <a:cubicBezTo>
                  <a:pt x="683696" y="2197131"/>
                  <a:pt x="679791" y="2195607"/>
                  <a:pt x="676076" y="2193988"/>
                </a:cubicBezTo>
                <a:cubicBezTo>
                  <a:pt x="672361" y="2192369"/>
                  <a:pt x="668647" y="2190749"/>
                  <a:pt x="665313" y="2189130"/>
                </a:cubicBezTo>
                <a:lnTo>
                  <a:pt x="660359" y="2186749"/>
                </a:lnTo>
                <a:lnTo>
                  <a:pt x="655692" y="2184368"/>
                </a:lnTo>
                <a:cubicBezTo>
                  <a:pt x="643691" y="2177795"/>
                  <a:pt x="638738" y="2173223"/>
                  <a:pt x="640357" y="2171318"/>
                </a:cubicBezTo>
                <a:close/>
                <a:moveTo>
                  <a:pt x="4468434" y="2170462"/>
                </a:moveTo>
                <a:cubicBezTo>
                  <a:pt x="4460085" y="2176057"/>
                  <a:pt x="4450740" y="2180003"/>
                  <a:pt x="4440907" y="2182082"/>
                </a:cubicBezTo>
                <a:cubicBezTo>
                  <a:pt x="4427286" y="2185987"/>
                  <a:pt x="4419380" y="2186844"/>
                  <a:pt x="4421285" y="2184177"/>
                </a:cubicBezTo>
                <a:cubicBezTo>
                  <a:pt x="4429887" y="2178262"/>
                  <a:pt x="4439613" y="2174176"/>
                  <a:pt x="4449860" y="2172176"/>
                </a:cubicBezTo>
                <a:cubicBezTo>
                  <a:pt x="4463481" y="2168175"/>
                  <a:pt x="4471006" y="2167509"/>
                  <a:pt x="4468434" y="2170462"/>
                </a:cubicBezTo>
                <a:close/>
                <a:moveTo>
                  <a:pt x="4402675" y="2169806"/>
                </a:moveTo>
                <a:cubicBezTo>
                  <a:pt x="4406997" y="2169437"/>
                  <a:pt x="4409045" y="2170033"/>
                  <a:pt x="4407664" y="2171699"/>
                </a:cubicBezTo>
                <a:cubicBezTo>
                  <a:pt x="4397522" y="2178253"/>
                  <a:pt x="4386348" y="2183050"/>
                  <a:pt x="4374612" y="2185892"/>
                </a:cubicBezTo>
                <a:cubicBezTo>
                  <a:pt x="4359277" y="2190178"/>
                  <a:pt x="4348323" y="2191226"/>
                  <a:pt x="4350800" y="2187987"/>
                </a:cubicBezTo>
                <a:cubicBezTo>
                  <a:pt x="4360943" y="2181285"/>
                  <a:pt x="4372200" y="2176447"/>
                  <a:pt x="4384042" y="2173700"/>
                </a:cubicBezTo>
                <a:cubicBezTo>
                  <a:pt x="4391757" y="2171509"/>
                  <a:pt x="4398353" y="2170176"/>
                  <a:pt x="4402675" y="2169806"/>
                </a:cubicBezTo>
                <a:close/>
                <a:moveTo>
                  <a:pt x="3167117" y="2168104"/>
                </a:moveTo>
                <a:cubicBezTo>
                  <a:pt x="3183774" y="2167437"/>
                  <a:pt x="3196467" y="2169080"/>
                  <a:pt x="3201181" y="2173223"/>
                </a:cubicBezTo>
                <a:cubicBezTo>
                  <a:pt x="3210613" y="2181510"/>
                  <a:pt x="3185940" y="2195893"/>
                  <a:pt x="3146700" y="2205799"/>
                </a:cubicBezTo>
                <a:cubicBezTo>
                  <a:pt x="3107456" y="2215705"/>
                  <a:pt x="3065926" y="2217419"/>
                  <a:pt x="3055449" y="2209799"/>
                </a:cubicBezTo>
                <a:cubicBezTo>
                  <a:pt x="3044111" y="2201894"/>
                  <a:pt x="3068119" y="2187035"/>
                  <a:pt x="3109263" y="2176843"/>
                </a:cubicBezTo>
                <a:cubicBezTo>
                  <a:pt x="3129841" y="2171747"/>
                  <a:pt x="3150459" y="2168771"/>
                  <a:pt x="3167117" y="2168104"/>
                </a:cubicBezTo>
                <a:close/>
                <a:moveTo>
                  <a:pt x="4528632" y="2167699"/>
                </a:moveTo>
                <a:cubicBezTo>
                  <a:pt x="4521201" y="2172158"/>
                  <a:pt x="4513094" y="2175375"/>
                  <a:pt x="4504629" y="2177224"/>
                </a:cubicBezTo>
                <a:cubicBezTo>
                  <a:pt x="4494437" y="2180558"/>
                  <a:pt x="4488531" y="2181225"/>
                  <a:pt x="4490913" y="2178558"/>
                </a:cubicBezTo>
                <a:cubicBezTo>
                  <a:pt x="4497845" y="2174195"/>
                  <a:pt x="4505435" y="2170976"/>
                  <a:pt x="4513392" y="2169033"/>
                </a:cubicBezTo>
                <a:cubicBezTo>
                  <a:pt x="4524822" y="2165699"/>
                  <a:pt x="4531299" y="2165127"/>
                  <a:pt x="4528632" y="2167699"/>
                </a:cubicBezTo>
                <a:close/>
                <a:moveTo>
                  <a:pt x="2971058" y="2167128"/>
                </a:moveTo>
                <a:cubicBezTo>
                  <a:pt x="2983208" y="2165765"/>
                  <a:pt x="2995498" y="2167785"/>
                  <a:pt x="3006587" y="2172938"/>
                </a:cubicBezTo>
                <a:cubicBezTo>
                  <a:pt x="3011919" y="2177129"/>
                  <a:pt x="3008872" y="2182463"/>
                  <a:pt x="2999538" y="2188368"/>
                </a:cubicBezTo>
                <a:cubicBezTo>
                  <a:pt x="2985631" y="2195922"/>
                  <a:pt x="2970668" y="2201347"/>
                  <a:pt x="2955151" y="2204466"/>
                </a:cubicBezTo>
                <a:cubicBezTo>
                  <a:pt x="2916003" y="2213705"/>
                  <a:pt x="2874473" y="2214753"/>
                  <a:pt x="2862373" y="2206847"/>
                </a:cubicBezTo>
                <a:cubicBezTo>
                  <a:pt x="2849614" y="2198655"/>
                  <a:pt x="2871901" y="2184463"/>
                  <a:pt x="2913145" y="2174843"/>
                </a:cubicBezTo>
                <a:cubicBezTo>
                  <a:pt x="2932146" y="2170357"/>
                  <a:pt x="2951541" y="2167775"/>
                  <a:pt x="2971058" y="2167128"/>
                </a:cubicBezTo>
                <a:close/>
                <a:moveTo>
                  <a:pt x="4585020" y="2165699"/>
                </a:moveTo>
                <a:cubicBezTo>
                  <a:pt x="4579251" y="2169100"/>
                  <a:pt x="4573030" y="2171662"/>
                  <a:pt x="4566541" y="2173319"/>
                </a:cubicBezTo>
                <a:cubicBezTo>
                  <a:pt x="4559398" y="2175415"/>
                  <a:pt x="4554064" y="2175891"/>
                  <a:pt x="4555492" y="2174367"/>
                </a:cubicBezTo>
                <a:cubicBezTo>
                  <a:pt x="4561263" y="2170947"/>
                  <a:pt x="4567482" y="2168347"/>
                  <a:pt x="4573971" y="2166652"/>
                </a:cubicBezTo>
                <a:cubicBezTo>
                  <a:pt x="4581210" y="2164651"/>
                  <a:pt x="4586544" y="2164175"/>
                  <a:pt x="4585020" y="2165699"/>
                </a:cubicBezTo>
                <a:close/>
                <a:moveTo>
                  <a:pt x="2743599" y="2165032"/>
                </a:moveTo>
                <a:cubicBezTo>
                  <a:pt x="2756618" y="2163965"/>
                  <a:pt x="2769706" y="2166128"/>
                  <a:pt x="2781697" y="2171319"/>
                </a:cubicBezTo>
                <a:cubicBezTo>
                  <a:pt x="2794653" y="2179701"/>
                  <a:pt x="2774174" y="2192845"/>
                  <a:pt x="2735027" y="2201513"/>
                </a:cubicBezTo>
                <a:cubicBezTo>
                  <a:pt x="2716256" y="2205693"/>
                  <a:pt x="2697111" y="2207927"/>
                  <a:pt x="2677880" y="2208180"/>
                </a:cubicBezTo>
                <a:cubicBezTo>
                  <a:pt x="2664906" y="2209102"/>
                  <a:pt x="2651885" y="2207117"/>
                  <a:pt x="2639778" y="2202370"/>
                </a:cubicBezTo>
                <a:cubicBezTo>
                  <a:pt x="2624444" y="2194369"/>
                  <a:pt x="2644448" y="2181225"/>
                  <a:pt x="2685309" y="2171700"/>
                </a:cubicBezTo>
                <a:cubicBezTo>
                  <a:pt x="2704463" y="2167490"/>
                  <a:pt x="2723989" y="2165261"/>
                  <a:pt x="2743599" y="2165032"/>
                </a:cubicBezTo>
                <a:close/>
                <a:moveTo>
                  <a:pt x="4630072" y="2164270"/>
                </a:moveTo>
                <a:cubicBezTo>
                  <a:pt x="4635978" y="2162556"/>
                  <a:pt x="4638835" y="2162365"/>
                  <a:pt x="4637026" y="2164270"/>
                </a:cubicBezTo>
                <a:cubicBezTo>
                  <a:pt x="4633361" y="2166299"/>
                  <a:pt x="4629458" y="2167871"/>
                  <a:pt x="4625405" y="2168938"/>
                </a:cubicBezTo>
                <a:cubicBezTo>
                  <a:pt x="4619595" y="2170652"/>
                  <a:pt x="4616642" y="2170843"/>
                  <a:pt x="4618547" y="2168938"/>
                </a:cubicBezTo>
                <a:cubicBezTo>
                  <a:pt x="4622169" y="2166880"/>
                  <a:pt x="4626043" y="2165318"/>
                  <a:pt x="4630072" y="2164270"/>
                </a:cubicBezTo>
                <a:close/>
                <a:moveTo>
                  <a:pt x="2488615" y="2161508"/>
                </a:moveTo>
                <a:cubicBezTo>
                  <a:pt x="2502371" y="2160927"/>
                  <a:pt x="2516076" y="2163327"/>
                  <a:pt x="2528811" y="2168557"/>
                </a:cubicBezTo>
                <a:cubicBezTo>
                  <a:pt x="2544241" y="2176653"/>
                  <a:pt x="2526334" y="2189035"/>
                  <a:pt x="2487569" y="2196846"/>
                </a:cubicBezTo>
                <a:cubicBezTo>
                  <a:pt x="2468756" y="2200616"/>
                  <a:pt x="2449601" y="2202435"/>
                  <a:pt x="2430419" y="2202275"/>
                </a:cubicBezTo>
                <a:cubicBezTo>
                  <a:pt x="2416493" y="2202792"/>
                  <a:pt x="2402596" y="2200526"/>
                  <a:pt x="2389556" y="2195608"/>
                </a:cubicBezTo>
                <a:cubicBezTo>
                  <a:pt x="2372126" y="2187130"/>
                  <a:pt x="2389556" y="2174557"/>
                  <a:pt x="2429941" y="2167033"/>
                </a:cubicBezTo>
                <a:cubicBezTo>
                  <a:pt x="2440038" y="2165032"/>
                  <a:pt x="2450230" y="2163604"/>
                  <a:pt x="2460040" y="2162651"/>
                </a:cubicBezTo>
                <a:cubicBezTo>
                  <a:pt x="2469852" y="2161699"/>
                  <a:pt x="2479090" y="2161413"/>
                  <a:pt x="2488615" y="2161508"/>
                </a:cubicBezTo>
                <a:close/>
                <a:moveTo>
                  <a:pt x="1301119" y="2159508"/>
                </a:moveTo>
                <a:cubicBezTo>
                  <a:pt x="1304644" y="2159508"/>
                  <a:pt x="1308549" y="2159508"/>
                  <a:pt x="1312835" y="2159508"/>
                </a:cubicBezTo>
                <a:cubicBezTo>
                  <a:pt x="1346363" y="2159508"/>
                  <a:pt x="1392559" y="2166271"/>
                  <a:pt x="1411419" y="2174653"/>
                </a:cubicBezTo>
                <a:cubicBezTo>
                  <a:pt x="1421420" y="2179225"/>
                  <a:pt x="1423325" y="2183702"/>
                  <a:pt x="1418753" y="2187226"/>
                </a:cubicBezTo>
                <a:cubicBezTo>
                  <a:pt x="1408752" y="2192202"/>
                  <a:pt x="1397617" y="2194468"/>
                  <a:pt x="1386463" y="2193798"/>
                </a:cubicBezTo>
                <a:cubicBezTo>
                  <a:pt x="1377729" y="2194006"/>
                  <a:pt x="1368984" y="2193750"/>
                  <a:pt x="1360270" y="2193036"/>
                </a:cubicBezTo>
                <a:cubicBezTo>
                  <a:pt x="1350745" y="2192369"/>
                  <a:pt x="1341696" y="2191321"/>
                  <a:pt x="1332647" y="2189893"/>
                </a:cubicBezTo>
                <a:cubicBezTo>
                  <a:pt x="1323598" y="2188464"/>
                  <a:pt x="1315026" y="2186750"/>
                  <a:pt x="1307406" y="2184844"/>
                </a:cubicBezTo>
                <a:cubicBezTo>
                  <a:pt x="1300862" y="2183215"/>
                  <a:pt x="1294490" y="2180982"/>
                  <a:pt x="1288356" y="2178177"/>
                </a:cubicBezTo>
                <a:cubicBezTo>
                  <a:pt x="1277497" y="2173319"/>
                  <a:pt x="1275116" y="2168652"/>
                  <a:pt x="1279689" y="2165033"/>
                </a:cubicBezTo>
                <a:cubicBezTo>
                  <a:pt x="1283288" y="2162727"/>
                  <a:pt x="1287356" y="2161270"/>
                  <a:pt x="1291594" y="2160746"/>
                </a:cubicBezTo>
                <a:cubicBezTo>
                  <a:pt x="1294737" y="2160146"/>
                  <a:pt x="1297919" y="2159727"/>
                  <a:pt x="1301119" y="2159508"/>
                </a:cubicBezTo>
                <a:close/>
                <a:moveTo>
                  <a:pt x="1038510" y="2155888"/>
                </a:moveTo>
                <a:cubicBezTo>
                  <a:pt x="1042511" y="2155888"/>
                  <a:pt x="1046606" y="2155888"/>
                  <a:pt x="1050702" y="2156745"/>
                </a:cubicBezTo>
                <a:cubicBezTo>
                  <a:pt x="1054798" y="2157602"/>
                  <a:pt x="1059179" y="2157507"/>
                  <a:pt x="1063466" y="2158079"/>
                </a:cubicBezTo>
                <a:lnTo>
                  <a:pt x="1076610" y="2159984"/>
                </a:lnTo>
                <a:lnTo>
                  <a:pt x="1089659" y="2162460"/>
                </a:lnTo>
                <a:cubicBezTo>
                  <a:pt x="1098232" y="2164079"/>
                  <a:pt x="1106614" y="2166080"/>
                  <a:pt x="1114329" y="2168270"/>
                </a:cubicBezTo>
                <a:lnTo>
                  <a:pt x="1120044" y="2169890"/>
                </a:lnTo>
                <a:lnTo>
                  <a:pt x="1125377" y="2171604"/>
                </a:lnTo>
                <a:cubicBezTo>
                  <a:pt x="1128807" y="2172747"/>
                  <a:pt x="1132046" y="2173890"/>
                  <a:pt x="1134903" y="2175129"/>
                </a:cubicBezTo>
                <a:cubicBezTo>
                  <a:pt x="1159858" y="2185320"/>
                  <a:pt x="1153953" y="2192750"/>
                  <a:pt x="1120997" y="2192083"/>
                </a:cubicBezTo>
                <a:cubicBezTo>
                  <a:pt x="1088307" y="2190989"/>
                  <a:pt x="1056046" y="2184253"/>
                  <a:pt x="1025652" y="2172176"/>
                </a:cubicBezTo>
                <a:cubicBezTo>
                  <a:pt x="1021175" y="2170366"/>
                  <a:pt x="1016965" y="2167928"/>
                  <a:pt x="1013174" y="2164937"/>
                </a:cubicBezTo>
                <a:cubicBezTo>
                  <a:pt x="1010792" y="2162746"/>
                  <a:pt x="1010221" y="2160841"/>
                  <a:pt x="1011364" y="2159412"/>
                </a:cubicBezTo>
                <a:cubicBezTo>
                  <a:pt x="1012507" y="2157983"/>
                  <a:pt x="1022889" y="2155126"/>
                  <a:pt x="1038510" y="2155888"/>
                </a:cubicBezTo>
                <a:close/>
                <a:moveTo>
                  <a:pt x="4105900" y="2152388"/>
                </a:moveTo>
                <a:cubicBezTo>
                  <a:pt x="4114841" y="2151793"/>
                  <a:pt x="4119866" y="2152983"/>
                  <a:pt x="4118770" y="2155983"/>
                </a:cubicBezTo>
                <a:cubicBezTo>
                  <a:pt x="4116580" y="2161984"/>
                  <a:pt x="4092862" y="2173033"/>
                  <a:pt x="4065049" y="2181225"/>
                </a:cubicBezTo>
                <a:cubicBezTo>
                  <a:pt x="4037236" y="2189416"/>
                  <a:pt x="4014281" y="2190750"/>
                  <a:pt x="4014948" y="2185320"/>
                </a:cubicBezTo>
                <a:cubicBezTo>
                  <a:pt x="4015615" y="2179510"/>
                  <a:pt x="4040380" y="2167794"/>
                  <a:pt x="4069526" y="2159508"/>
                </a:cubicBezTo>
                <a:cubicBezTo>
                  <a:pt x="4084100" y="2155365"/>
                  <a:pt x="4096958" y="2152983"/>
                  <a:pt x="4105900" y="2152388"/>
                </a:cubicBezTo>
                <a:close/>
                <a:moveTo>
                  <a:pt x="4196911" y="2150697"/>
                </a:moveTo>
                <a:cubicBezTo>
                  <a:pt x="4204400" y="2150173"/>
                  <a:pt x="4208306" y="2151268"/>
                  <a:pt x="4206877" y="2154078"/>
                </a:cubicBezTo>
                <a:cubicBezTo>
                  <a:pt x="4204019" y="2159698"/>
                  <a:pt x="4181540" y="2169890"/>
                  <a:pt x="4156394" y="2176938"/>
                </a:cubicBezTo>
                <a:cubicBezTo>
                  <a:pt x="4131248" y="2183987"/>
                  <a:pt x="4112674" y="2185415"/>
                  <a:pt x="4114770" y="2180081"/>
                </a:cubicBezTo>
                <a:cubicBezTo>
                  <a:pt x="4116865" y="2174747"/>
                  <a:pt x="4139630" y="2164365"/>
                  <a:pt x="4165443" y="2157031"/>
                </a:cubicBezTo>
                <a:cubicBezTo>
                  <a:pt x="4178350" y="2153364"/>
                  <a:pt x="4189422" y="2151221"/>
                  <a:pt x="4196911" y="2150697"/>
                </a:cubicBezTo>
                <a:close/>
                <a:moveTo>
                  <a:pt x="1614408" y="2148844"/>
                </a:moveTo>
                <a:cubicBezTo>
                  <a:pt x="1631003" y="2150440"/>
                  <a:pt x="1647436" y="2153716"/>
                  <a:pt x="1663452" y="2158650"/>
                </a:cubicBezTo>
                <a:cubicBezTo>
                  <a:pt x="1675264" y="2163317"/>
                  <a:pt x="1678883" y="2168175"/>
                  <a:pt x="1674978" y="2171890"/>
                </a:cubicBezTo>
                <a:cubicBezTo>
                  <a:pt x="1671700" y="2174585"/>
                  <a:pt x="1667805" y="2176419"/>
                  <a:pt x="1663643" y="2177224"/>
                </a:cubicBezTo>
                <a:cubicBezTo>
                  <a:pt x="1656394" y="2179080"/>
                  <a:pt x="1649003" y="2180354"/>
                  <a:pt x="1641545" y="2181034"/>
                </a:cubicBezTo>
                <a:cubicBezTo>
                  <a:pt x="1632972" y="2181891"/>
                  <a:pt x="1624019" y="2182272"/>
                  <a:pt x="1614970" y="2182272"/>
                </a:cubicBezTo>
                <a:cubicBezTo>
                  <a:pt x="1605922" y="2182272"/>
                  <a:pt x="1597063" y="2181796"/>
                  <a:pt x="1588396" y="2180939"/>
                </a:cubicBezTo>
                <a:cubicBezTo>
                  <a:pt x="1573041" y="2179847"/>
                  <a:pt x="1557887" y="2176741"/>
                  <a:pt x="1543342" y="2171699"/>
                </a:cubicBezTo>
                <a:cubicBezTo>
                  <a:pt x="1517911" y="2162174"/>
                  <a:pt x="1526579" y="2152649"/>
                  <a:pt x="1564392" y="2149125"/>
                </a:cubicBezTo>
                <a:cubicBezTo>
                  <a:pt x="1581057" y="2147335"/>
                  <a:pt x="1597814" y="2147249"/>
                  <a:pt x="1614408" y="2148844"/>
                </a:cubicBezTo>
                <a:close/>
                <a:moveTo>
                  <a:pt x="4281589" y="2148221"/>
                </a:moveTo>
                <a:cubicBezTo>
                  <a:pt x="4287744" y="2147863"/>
                  <a:pt x="4290554" y="2148983"/>
                  <a:pt x="4288792" y="2151602"/>
                </a:cubicBezTo>
                <a:cubicBezTo>
                  <a:pt x="4285363" y="2156746"/>
                  <a:pt x="4264884" y="2165699"/>
                  <a:pt x="4242215" y="2172081"/>
                </a:cubicBezTo>
                <a:cubicBezTo>
                  <a:pt x="4219545" y="2178463"/>
                  <a:pt x="4204115" y="2179415"/>
                  <a:pt x="4207448" y="2174462"/>
                </a:cubicBezTo>
                <a:cubicBezTo>
                  <a:pt x="4210782" y="2169509"/>
                  <a:pt x="4231070" y="2160270"/>
                  <a:pt x="4254311" y="2153698"/>
                </a:cubicBezTo>
                <a:cubicBezTo>
                  <a:pt x="4265932" y="2150412"/>
                  <a:pt x="4275433" y="2148578"/>
                  <a:pt x="4281589" y="2148221"/>
                </a:cubicBezTo>
                <a:close/>
                <a:moveTo>
                  <a:pt x="4354692" y="2147828"/>
                </a:moveTo>
                <a:cubicBezTo>
                  <a:pt x="4360110" y="2147435"/>
                  <a:pt x="4362563" y="2148363"/>
                  <a:pt x="4360991" y="2150649"/>
                </a:cubicBezTo>
                <a:cubicBezTo>
                  <a:pt x="4357848" y="2155221"/>
                  <a:pt x="4340227" y="2162841"/>
                  <a:pt x="4320129" y="2168652"/>
                </a:cubicBezTo>
                <a:cubicBezTo>
                  <a:pt x="4300031" y="2174367"/>
                  <a:pt x="4286887" y="2175510"/>
                  <a:pt x="4289554" y="2171128"/>
                </a:cubicBezTo>
                <a:cubicBezTo>
                  <a:pt x="4292221" y="2166747"/>
                  <a:pt x="4310032" y="2158936"/>
                  <a:pt x="4330606" y="2152935"/>
                </a:cubicBezTo>
                <a:cubicBezTo>
                  <a:pt x="4340893" y="2149935"/>
                  <a:pt x="4349275" y="2148221"/>
                  <a:pt x="4354692" y="2147828"/>
                </a:cubicBezTo>
                <a:close/>
                <a:moveTo>
                  <a:pt x="2199903" y="2147507"/>
                </a:moveTo>
                <a:cubicBezTo>
                  <a:pt x="2214889" y="2147421"/>
                  <a:pt x="2229758" y="2150040"/>
                  <a:pt x="2243817" y="2155222"/>
                </a:cubicBezTo>
                <a:cubicBezTo>
                  <a:pt x="2262009" y="2163794"/>
                  <a:pt x="2246674" y="2175891"/>
                  <a:pt x="2208955" y="2182463"/>
                </a:cubicBezTo>
                <a:cubicBezTo>
                  <a:pt x="2190645" y="2185604"/>
                  <a:pt x="2172081" y="2186912"/>
                  <a:pt x="2153518" y="2186369"/>
                </a:cubicBezTo>
                <a:cubicBezTo>
                  <a:pt x="2138754" y="2186365"/>
                  <a:pt x="2124085" y="2183985"/>
                  <a:pt x="2110084" y="2179320"/>
                </a:cubicBezTo>
                <a:cubicBezTo>
                  <a:pt x="2089224" y="2170557"/>
                  <a:pt x="2102940" y="2158460"/>
                  <a:pt x="2141039" y="2151602"/>
                </a:cubicBezTo>
                <a:cubicBezTo>
                  <a:pt x="2150879" y="2149897"/>
                  <a:pt x="2160794" y="2148726"/>
                  <a:pt x="2170757" y="2148078"/>
                </a:cubicBezTo>
                <a:cubicBezTo>
                  <a:pt x="2180758" y="2147411"/>
                  <a:pt x="2190664" y="2147221"/>
                  <a:pt x="2199903" y="2147507"/>
                </a:cubicBezTo>
                <a:close/>
                <a:moveTo>
                  <a:pt x="4426226" y="2146602"/>
                </a:moveTo>
                <a:cubicBezTo>
                  <a:pt x="4430882" y="2146244"/>
                  <a:pt x="4432906" y="2147030"/>
                  <a:pt x="4431191" y="2149030"/>
                </a:cubicBezTo>
                <a:cubicBezTo>
                  <a:pt x="4420338" y="2156269"/>
                  <a:pt x="4408271" y="2161499"/>
                  <a:pt x="4395568" y="2164461"/>
                </a:cubicBezTo>
                <a:cubicBezTo>
                  <a:pt x="4378232" y="2169509"/>
                  <a:pt x="4366993" y="2170462"/>
                  <a:pt x="4369564" y="2166652"/>
                </a:cubicBezTo>
                <a:cubicBezTo>
                  <a:pt x="4380453" y="2159251"/>
                  <a:pt x="4392633" y="2153945"/>
                  <a:pt x="4405474" y="2151031"/>
                </a:cubicBezTo>
                <a:cubicBezTo>
                  <a:pt x="4414285" y="2148459"/>
                  <a:pt x="4421571" y="2146959"/>
                  <a:pt x="4426226" y="2146602"/>
                </a:cubicBezTo>
                <a:close/>
                <a:moveTo>
                  <a:pt x="4497580" y="2146459"/>
                </a:moveTo>
                <a:cubicBezTo>
                  <a:pt x="4487789" y="2152831"/>
                  <a:pt x="4476958" y="2157441"/>
                  <a:pt x="4465576" y="2160080"/>
                </a:cubicBezTo>
                <a:cubicBezTo>
                  <a:pt x="4450717" y="2164366"/>
                  <a:pt x="4441382" y="2165033"/>
                  <a:pt x="4444811" y="2161604"/>
                </a:cubicBezTo>
                <a:cubicBezTo>
                  <a:pt x="4454576" y="2155327"/>
                  <a:pt x="4465333" y="2150755"/>
                  <a:pt x="4476625" y="2148078"/>
                </a:cubicBezTo>
                <a:cubicBezTo>
                  <a:pt x="4491198" y="2143982"/>
                  <a:pt x="4500342" y="2143220"/>
                  <a:pt x="4497580" y="2146459"/>
                </a:cubicBezTo>
                <a:close/>
                <a:moveTo>
                  <a:pt x="4558444" y="2144744"/>
                </a:moveTo>
                <a:cubicBezTo>
                  <a:pt x="4550247" y="2150002"/>
                  <a:pt x="4541235" y="2153859"/>
                  <a:pt x="4531774" y="2156174"/>
                </a:cubicBezTo>
                <a:cubicBezTo>
                  <a:pt x="4521011" y="2159508"/>
                  <a:pt x="4512724" y="2160365"/>
                  <a:pt x="4514344" y="2158079"/>
                </a:cubicBezTo>
                <a:cubicBezTo>
                  <a:pt x="4522014" y="2153011"/>
                  <a:pt x="4530483" y="2149278"/>
                  <a:pt x="4539394" y="2147030"/>
                </a:cubicBezTo>
                <a:cubicBezTo>
                  <a:pt x="4551301" y="2143410"/>
                  <a:pt x="4560635" y="2142267"/>
                  <a:pt x="4558444" y="2144744"/>
                </a:cubicBezTo>
                <a:close/>
                <a:moveTo>
                  <a:pt x="4612261" y="2144649"/>
                </a:moveTo>
                <a:cubicBezTo>
                  <a:pt x="4605870" y="2148411"/>
                  <a:pt x="4599018" y="2151316"/>
                  <a:pt x="4591878" y="2153316"/>
                </a:cubicBezTo>
                <a:cubicBezTo>
                  <a:pt x="4582924" y="2155983"/>
                  <a:pt x="4575495" y="2156841"/>
                  <a:pt x="4577114" y="2155031"/>
                </a:cubicBezTo>
                <a:cubicBezTo>
                  <a:pt x="4583702" y="2150878"/>
                  <a:pt x="4590902" y="2147801"/>
                  <a:pt x="4598450" y="2145887"/>
                </a:cubicBezTo>
                <a:cubicBezTo>
                  <a:pt x="4607499" y="2143220"/>
                  <a:pt x="4614357" y="2142553"/>
                  <a:pt x="4612261" y="2144649"/>
                </a:cubicBezTo>
                <a:close/>
                <a:moveTo>
                  <a:pt x="3676621" y="2143696"/>
                </a:moveTo>
                <a:lnTo>
                  <a:pt x="3649760" y="2156746"/>
                </a:lnTo>
                <a:lnTo>
                  <a:pt x="3679573" y="2154745"/>
                </a:lnTo>
                <a:lnTo>
                  <a:pt x="3702719" y="2143696"/>
                </a:lnTo>
                <a:close/>
                <a:moveTo>
                  <a:pt x="4665124" y="2143125"/>
                </a:moveTo>
                <a:cubicBezTo>
                  <a:pt x="4660279" y="2145954"/>
                  <a:pt x="4655050" y="2148078"/>
                  <a:pt x="4649599" y="2149411"/>
                </a:cubicBezTo>
                <a:cubicBezTo>
                  <a:pt x="4642645" y="2151412"/>
                  <a:pt x="4638931" y="2151697"/>
                  <a:pt x="4640931" y="2150078"/>
                </a:cubicBezTo>
                <a:cubicBezTo>
                  <a:pt x="4645768" y="2147211"/>
                  <a:pt x="4650999" y="2145058"/>
                  <a:pt x="4656457" y="2143696"/>
                </a:cubicBezTo>
                <a:cubicBezTo>
                  <a:pt x="4663410" y="2141696"/>
                  <a:pt x="4667125" y="2141410"/>
                  <a:pt x="4665124" y="2143125"/>
                </a:cubicBezTo>
                <a:close/>
                <a:moveTo>
                  <a:pt x="3812638" y="2142268"/>
                </a:moveTo>
                <a:lnTo>
                  <a:pt x="3787587" y="2154364"/>
                </a:lnTo>
                <a:lnTo>
                  <a:pt x="3807685" y="2154555"/>
                </a:lnTo>
                <a:lnTo>
                  <a:pt x="3836260" y="2142268"/>
                </a:lnTo>
                <a:close/>
                <a:moveTo>
                  <a:pt x="3531368" y="2142268"/>
                </a:moveTo>
                <a:lnTo>
                  <a:pt x="3492032" y="2162651"/>
                </a:lnTo>
                <a:lnTo>
                  <a:pt x="3533652" y="2160937"/>
                </a:lnTo>
                <a:lnTo>
                  <a:pt x="3569465" y="2143315"/>
                </a:lnTo>
                <a:close/>
                <a:moveTo>
                  <a:pt x="3964752" y="2135886"/>
                </a:moveTo>
                <a:lnTo>
                  <a:pt x="3930843" y="2136838"/>
                </a:lnTo>
                <a:cubicBezTo>
                  <a:pt x="3926080" y="2139505"/>
                  <a:pt x="3921508" y="2141982"/>
                  <a:pt x="3915031" y="2145601"/>
                </a:cubicBezTo>
                <a:cubicBezTo>
                  <a:pt x="3908554" y="2149221"/>
                  <a:pt x="3900553" y="2152459"/>
                  <a:pt x="3894457" y="2155126"/>
                </a:cubicBezTo>
                <a:lnTo>
                  <a:pt x="3922461" y="2155126"/>
                </a:lnTo>
                <a:close/>
                <a:moveTo>
                  <a:pt x="3338504" y="2127694"/>
                </a:moveTo>
                <a:cubicBezTo>
                  <a:pt x="3353717" y="2127456"/>
                  <a:pt x="3364144" y="2129790"/>
                  <a:pt x="3367002" y="2134648"/>
                </a:cubicBezTo>
                <a:cubicBezTo>
                  <a:pt x="3372713" y="2144363"/>
                  <a:pt x="3345954" y="2158746"/>
                  <a:pt x="3304047" y="2169224"/>
                </a:cubicBezTo>
                <a:cubicBezTo>
                  <a:pt x="3285913" y="2173937"/>
                  <a:pt x="3267332" y="2176714"/>
                  <a:pt x="3248616" y="2177510"/>
                </a:cubicBezTo>
                <a:cubicBezTo>
                  <a:pt x="3233282" y="2177510"/>
                  <a:pt x="3222137" y="2175891"/>
                  <a:pt x="3218233" y="2171319"/>
                </a:cubicBezTo>
                <a:cubicBezTo>
                  <a:pt x="3210422" y="2161794"/>
                  <a:pt x="3237282" y="2147030"/>
                  <a:pt x="3281284" y="2136172"/>
                </a:cubicBezTo>
                <a:cubicBezTo>
                  <a:pt x="3303284" y="2130743"/>
                  <a:pt x="3323286" y="2127933"/>
                  <a:pt x="3338504" y="2127694"/>
                </a:cubicBezTo>
                <a:close/>
                <a:moveTo>
                  <a:pt x="3143270" y="2127504"/>
                </a:moveTo>
                <a:cubicBezTo>
                  <a:pt x="3160701" y="2127504"/>
                  <a:pt x="3174035" y="2129028"/>
                  <a:pt x="3178799" y="2133505"/>
                </a:cubicBezTo>
                <a:cubicBezTo>
                  <a:pt x="3188322" y="2142363"/>
                  <a:pt x="3161368" y="2158270"/>
                  <a:pt x="3121647" y="2167890"/>
                </a:cubicBezTo>
                <a:cubicBezTo>
                  <a:pt x="3103209" y="2172432"/>
                  <a:pt x="3084338" y="2175050"/>
                  <a:pt x="3065354" y="2175700"/>
                </a:cubicBezTo>
                <a:cubicBezTo>
                  <a:pt x="3053421" y="2177272"/>
                  <a:pt x="3041286" y="2175491"/>
                  <a:pt x="3030303" y="2170557"/>
                </a:cubicBezTo>
                <a:cubicBezTo>
                  <a:pt x="3024779" y="2166366"/>
                  <a:pt x="3028018" y="2160365"/>
                  <a:pt x="3037827" y="2154174"/>
                </a:cubicBezTo>
                <a:cubicBezTo>
                  <a:pt x="3043828" y="2150345"/>
                  <a:pt x="3050221" y="2147154"/>
                  <a:pt x="3056878" y="2144649"/>
                </a:cubicBezTo>
                <a:cubicBezTo>
                  <a:pt x="3065745" y="2141230"/>
                  <a:pt x="3074804" y="2138372"/>
                  <a:pt x="3084025" y="2136077"/>
                </a:cubicBezTo>
                <a:cubicBezTo>
                  <a:pt x="3103418" y="2131123"/>
                  <a:pt x="3123276" y="2128257"/>
                  <a:pt x="3143270" y="2127504"/>
                </a:cubicBezTo>
                <a:close/>
                <a:moveTo>
                  <a:pt x="2931731" y="2127052"/>
                </a:moveTo>
                <a:cubicBezTo>
                  <a:pt x="2949629" y="2126980"/>
                  <a:pt x="2963771" y="2129219"/>
                  <a:pt x="2968963" y="2133695"/>
                </a:cubicBezTo>
                <a:cubicBezTo>
                  <a:pt x="2979343" y="2142649"/>
                  <a:pt x="2955532" y="2157222"/>
                  <a:pt x="2918290" y="2166271"/>
                </a:cubicBezTo>
                <a:cubicBezTo>
                  <a:pt x="2881046" y="2175320"/>
                  <a:pt x="2834278" y="2176272"/>
                  <a:pt x="2821131" y="2168081"/>
                </a:cubicBezTo>
                <a:cubicBezTo>
                  <a:pt x="2814368" y="2163890"/>
                  <a:pt x="2817037" y="2157698"/>
                  <a:pt x="2826372" y="2151507"/>
                </a:cubicBezTo>
                <a:cubicBezTo>
                  <a:pt x="2840525" y="2143277"/>
                  <a:pt x="2855938" y="2137448"/>
                  <a:pt x="2871994" y="2134267"/>
                </a:cubicBezTo>
                <a:cubicBezTo>
                  <a:pt x="2892188" y="2129505"/>
                  <a:pt x="2913835" y="2127123"/>
                  <a:pt x="2931731" y="2127052"/>
                </a:cubicBezTo>
                <a:close/>
                <a:moveTo>
                  <a:pt x="4726466" y="2125218"/>
                </a:moveTo>
                <a:cubicBezTo>
                  <a:pt x="4731133" y="2123885"/>
                  <a:pt x="4733324" y="2123885"/>
                  <a:pt x="4731705" y="2125218"/>
                </a:cubicBezTo>
                <a:cubicBezTo>
                  <a:pt x="4728828" y="2127104"/>
                  <a:pt x="4725633" y="2128466"/>
                  <a:pt x="4722275" y="2129219"/>
                </a:cubicBezTo>
                <a:cubicBezTo>
                  <a:pt x="4717608" y="2130552"/>
                  <a:pt x="4715417" y="2130552"/>
                  <a:pt x="4716941" y="2129219"/>
                </a:cubicBezTo>
                <a:cubicBezTo>
                  <a:pt x="4719886" y="2127390"/>
                  <a:pt x="4723101" y="2126047"/>
                  <a:pt x="4726466" y="2125218"/>
                </a:cubicBezTo>
                <a:close/>
                <a:moveTo>
                  <a:pt x="1860038" y="2123479"/>
                </a:moveTo>
                <a:cubicBezTo>
                  <a:pt x="1879195" y="2124813"/>
                  <a:pt x="1896435" y="2127980"/>
                  <a:pt x="1907294" y="2132647"/>
                </a:cubicBezTo>
                <a:cubicBezTo>
                  <a:pt x="1917486" y="2137028"/>
                  <a:pt x="1919963" y="2142172"/>
                  <a:pt x="1915581" y="2146458"/>
                </a:cubicBezTo>
                <a:cubicBezTo>
                  <a:pt x="1905847" y="2153030"/>
                  <a:pt x="1894531" y="2156879"/>
                  <a:pt x="1882815" y="2157602"/>
                </a:cubicBezTo>
                <a:cubicBezTo>
                  <a:pt x="1847192" y="2163127"/>
                  <a:pt x="1800520" y="2159984"/>
                  <a:pt x="1778041" y="2150554"/>
                </a:cubicBezTo>
                <a:cubicBezTo>
                  <a:pt x="1755562" y="2141124"/>
                  <a:pt x="1765944" y="2130361"/>
                  <a:pt x="1801281" y="2125313"/>
                </a:cubicBezTo>
                <a:cubicBezTo>
                  <a:pt x="1819808" y="2122646"/>
                  <a:pt x="1840881" y="2122146"/>
                  <a:pt x="1860038" y="2123479"/>
                </a:cubicBezTo>
                <a:close/>
                <a:moveTo>
                  <a:pt x="4585305" y="2122931"/>
                </a:moveTo>
                <a:cubicBezTo>
                  <a:pt x="4576332" y="2128599"/>
                  <a:pt x="4566484" y="2132752"/>
                  <a:pt x="4556159" y="2135219"/>
                </a:cubicBezTo>
                <a:cubicBezTo>
                  <a:pt x="4541871" y="2139410"/>
                  <a:pt x="4534251" y="2139886"/>
                  <a:pt x="4537775" y="2136457"/>
                </a:cubicBezTo>
                <a:cubicBezTo>
                  <a:pt x="4546772" y="2130675"/>
                  <a:pt x="4556696" y="2126494"/>
                  <a:pt x="4567112" y="2124074"/>
                </a:cubicBezTo>
                <a:cubicBezTo>
                  <a:pt x="4581590" y="2119788"/>
                  <a:pt x="4589115" y="2119407"/>
                  <a:pt x="4585305" y="2122931"/>
                </a:cubicBezTo>
                <a:close/>
                <a:moveTo>
                  <a:pt x="4127641" y="2122670"/>
                </a:moveTo>
                <a:cubicBezTo>
                  <a:pt x="4136678" y="2122170"/>
                  <a:pt x="4141393" y="2123694"/>
                  <a:pt x="4140012" y="2127313"/>
                </a:cubicBezTo>
                <a:cubicBezTo>
                  <a:pt x="4137250" y="2134552"/>
                  <a:pt x="4112294" y="2146363"/>
                  <a:pt x="4081338" y="2154745"/>
                </a:cubicBezTo>
                <a:cubicBezTo>
                  <a:pt x="4050381" y="2163127"/>
                  <a:pt x="4028760" y="2164841"/>
                  <a:pt x="4030379" y="2157983"/>
                </a:cubicBezTo>
                <a:cubicBezTo>
                  <a:pt x="4031998" y="2151125"/>
                  <a:pt x="4057239" y="2139219"/>
                  <a:pt x="4089339" y="2130170"/>
                </a:cubicBezTo>
                <a:cubicBezTo>
                  <a:pt x="4105246" y="2125694"/>
                  <a:pt x="4118604" y="2123170"/>
                  <a:pt x="4127641" y="2122670"/>
                </a:cubicBezTo>
                <a:close/>
                <a:moveTo>
                  <a:pt x="4684270" y="2121979"/>
                </a:moveTo>
                <a:lnTo>
                  <a:pt x="4684937" y="2121979"/>
                </a:lnTo>
                <a:lnTo>
                  <a:pt x="4685508" y="2121979"/>
                </a:lnTo>
                <a:lnTo>
                  <a:pt x="4686556" y="2121979"/>
                </a:lnTo>
                <a:lnTo>
                  <a:pt x="4688556" y="2121979"/>
                </a:lnTo>
                <a:lnTo>
                  <a:pt x="4691604" y="2121979"/>
                </a:lnTo>
                <a:cubicBezTo>
                  <a:pt x="4693128" y="2121979"/>
                  <a:pt x="4693604" y="2122550"/>
                  <a:pt x="4692557" y="2123408"/>
                </a:cubicBezTo>
                <a:cubicBezTo>
                  <a:pt x="4690837" y="2124789"/>
                  <a:pt x="4688908" y="2125884"/>
                  <a:pt x="4686842" y="2126646"/>
                </a:cubicBezTo>
                <a:lnTo>
                  <a:pt x="4685794" y="2126646"/>
                </a:lnTo>
                <a:lnTo>
                  <a:pt x="4684556" y="2127218"/>
                </a:lnTo>
                <a:lnTo>
                  <a:pt x="4681698" y="2128170"/>
                </a:lnTo>
                <a:cubicBezTo>
                  <a:pt x="4679793" y="2128932"/>
                  <a:pt x="4677793" y="2129504"/>
                  <a:pt x="4675888" y="2130075"/>
                </a:cubicBezTo>
                <a:cubicBezTo>
                  <a:pt x="4667506" y="2131599"/>
                  <a:pt x="4662267" y="2132075"/>
                  <a:pt x="4664458" y="2130075"/>
                </a:cubicBezTo>
                <a:cubicBezTo>
                  <a:pt x="4670632" y="2126427"/>
                  <a:pt x="4677306" y="2123694"/>
                  <a:pt x="4684270" y="2121979"/>
                </a:cubicBezTo>
                <a:close/>
                <a:moveTo>
                  <a:pt x="4221057" y="2121885"/>
                </a:moveTo>
                <a:cubicBezTo>
                  <a:pt x="4228689" y="2121408"/>
                  <a:pt x="4232261" y="2122837"/>
                  <a:pt x="4230689" y="2126266"/>
                </a:cubicBezTo>
                <a:cubicBezTo>
                  <a:pt x="4227546" y="2133124"/>
                  <a:pt x="4205257" y="2143125"/>
                  <a:pt x="4177635" y="2150840"/>
                </a:cubicBezTo>
                <a:cubicBezTo>
                  <a:pt x="4150012" y="2158746"/>
                  <a:pt x="4130962" y="2160365"/>
                  <a:pt x="4132677" y="2154364"/>
                </a:cubicBezTo>
                <a:cubicBezTo>
                  <a:pt x="4134391" y="2148364"/>
                  <a:pt x="4157728" y="2137315"/>
                  <a:pt x="4187065" y="2128933"/>
                </a:cubicBezTo>
                <a:cubicBezTo>
                  <a:pt x="4201734" y="2124742"/>
                  <a:pt x="4213425" y="2122361"/>
                  <a:pt x="4221057" y="2121885"/>
                </a:cubicBezTo>
                <a:close/>
                <a:moveTo>
                  <a:pt x="4303305" y="2121848"/>
                </a:moveTo>
                <a:cubicBezTo>
                  <a:pt x="4310056" y="2121456"/>
                  <a:pt x="4313319" y="2122599"/>
                  <a:pt x="4311556" y="2125313"/>
                </a:cubicBezTo>
                <a:cubicBezTo>
                  <a:pt x="4308032" y="2130742"/>
                  <a:pt x="4284601" y="2141506"/>
                  <a:pt x="4260883" y="2148078"/>
                </a:cubicBezTo>
                <a:cubicBezTo>
                  <a:pt x="4237166" y="2154650"/>
                  <a:pt x="4220307" y="2155888"/>
                  <a:pt x="4223069" y="2150650"/>
                </a:cubicBezTo>
                <a:cubicBezTo>
                  <a:pt x="4226022" y="2145125"/>
                  <a:pt x="4249739" y="2134457"/>
                  <a:pt x="4274123" y="2127599"/>
                </a:cubicBezTo>
                <a:cubicBezTo>
                  <a:pt x="4286315" y="2124170"/>
                  <a:pt x="4296555" y="2122241"/>
                  <a:pt x="4303305" y="2121848"/>
                </a:cubicBezTo>
                <a:close/>
                <a:moveTo>
                  <a:pt x="4643884" y="2121408"/>
                </a:moveTo>
                <a:cubicBezTo>
                  <a:pt x="4636630" y="2125723"/>
                  <a:pt x="4628761" y="2128904"/>
                  <a:pt x="4620548" y="2130838"/>
                </a:cubicBezTo>
                <a:cubicBezTo>
                  <a:pt x="4609118" y="2134267"/>
                  <a:pt x="4602450" y="2134933"/>
                  <a:pt x="4605117" y="2132266"/>
                </a:cubicBezTo>
                <a:cubicBezTo>
                  <a:pt x="4612333" y="2127856"/>
                  <a:pt x="4620213" y="2124637"/>
                  <a:pt x="4628454" y="2122741"/>
                </a:cubicBezTo>
                <a:cubicBezTo>
                  <a:pt x="4640074" y="2119312"/>
                  <a:pt x="4646646" y="2118741"/>
                  <a:pt x="4643884" y="2121408"/>
                </a:cubicBezTo>
                <a:close/>
                <a:moveTo>
                  <a:pt x="4381494" y="2121408"/>
                </a:moveTo>
                <a:cubicBezTo>
                  <a:pt x="4387567" y="2120932"/>
                  <a:pt x="4390662" y="2121789"/>
                  <a:pt x="4389376" y="2124075"/>
                </a:cubicBezTo>
                <a:cubicBezTo>
                  <a:pt x="4386805" y="2128647"/>
                  <a:pt x="4365088" y="2138363"/>
                  <a:pt x="4344323" y="2144363"/>
                </a:cubicBezTo>
                <a:cubicBezTo>
                  <a:pt x="4323559" y="2150364"/>
                  <a:pt x="4308414" y="2151507"/>
                  <a:pt x="4310509" y="2147221"/>
                </a:cubicBezTo>
                <a:cubicBezTo>
                  <a:pt x="4312700" y="2142744"/>
                  <a:pt x="4334512" y="2132838"/>
                  <a:pt x="4355753" y="2126742"/>
                </a:cubicBezTo>
                <a:cubicBezTo>
                  <a:pt x="4366374" y="2123694"/>
                  <a:pt x="4375422" y="2121884"/>
                  <a:pt x="4381494" y="2121408"/>
                </a:cubicBezTo>
                <a:close/>
                <a:moveTo>
                  <a:pt x="4453800" y="2120813"/>
                </a:moveTo>
                <a:cubicBezTo>
                  <a:pt x="4459146" y="2120313"/>
                  <a:pt x="4461909" y="2120980"/>
                  <a:pt x="4460718" y="2122932"/>
                </a:cubicBezTo>
                <a:cubicBezTo>
                  <a:pt x="4458337" y="2126837"/>
                  <a:pt x="4439382" y="2135314"/>
                  <a:pt x="4420999" y="2140744"/>
                </a:cubicBezTo>
                <a:cubicBezTo>
                  <a:pt x="4402616" y="2146173"/>
                  <a:pt x="4389947" y="2147221"/>
                  <a:pt x="4392519" y="2143125"/>
                </a:cubicBezTo>
                <a:cubicBezTo>
                  <a:pt x="4394996" y="2139220"/>
                  <a:pt x="4413093" y="2131123"/>
                  <a:pt x="4431381" y="2125694"/>
                </a:cubicBezTo>
                <a:cubicBezTo>
                  <a:pt x="4440525" y="2122980"/>
                  <a:pt x="4448455" y="2121313"/>
                  <a:pt x="4453800" y="2120813"/>
                </a:cubicBezTo>
                <a:close/>
                <a:moveTo>
                  <a:pt x="4519202" y="2120717"/>
                </a:moveTo>
                <a:cubicBezTo>
                  <a:pt x="4523607" y="2120336"/>
                  <a:pt x="4525679" y="2120979"/>
                  <a:pt x="4524250" y="2122741"/>
                </a:cubicBezTo>
                <a:cubicBezTo>
                  <a:pt x="4513793" y="2129665"/>
                  <a:pt x="4502228" y="2134761"/>
                  <a:pt x="4490055" y="2137790"/>
                </a:cubicBezTo>
                <a:cubicBezTo>
                  <a:pt x="4474530" y="2142362"/>
                  <a:pt x="4463195" y="2143410"/>
                  <a:pt x="4465767" y="2139981"/>
                </a:cubicBezTo>
                <a:cubicBezTo>
                  <a:pt x="4476232" y="2132923"/>
                  <a:pt x="4487878" y="2127789"/>
                  <a:pt x="4500152" y="2124836"/>
                </a:cubicBezTo>
                <a:cubicBezTo>
                  <a:pt x="4508058" y="2122503"/>
                  <a:pt x="4514797" y="2121098"/>
                  <a:pt x="4519202" y="2120717"/>
                </a:cubicBezTo>
                <a:close/>
                <a:moveTo>
                  <a:pt x="2693985" y="2120443"/>
                </a:moveTo>
                <a:cubicBezTo>
                  <a:pt x="2712690" y="2120479"/>
                  <a:pt x="2728216" y="2122646"/>
                  <a:pt x="2735025" y="2126837"/>
                </a:cubicBezTo>
                <a:cubicBezTo>
                  <a:pt x="2741692" y="2131123"/>
                  <a:pt x="2739409" y="2137124"/>
                  <a:pt x="2730739" y="2143030"/>
                </a:cubicBezTo>
                <a:cubicBezTo>
                  <a:pt x="2717578" y="2150831"/>
                  <a:pt x="2703127" y="2156222"/>
                  <a:pt x="2688069" y="2158936"/>
                </a:cubicBezTo>
                <a:cubicBezTo>
                  <a:pt x="2651111" y="2166842"/>
                  <a:pt x="2605867" y="2166842"/>
                  <a:pt x="2590151" y="2158936"/>
                </a:cubicBezTo>
                <a:cubicBezTo>
                  <a:pt x="2574435" y="2151031"/>
                  <a:pt x="2594437" y="2135505"/>
                  <a:pt x="2633872" y="2126837"/>
                </a:cubicBezTo>
                <a:cubicBezTo>
                  <a:pt x="2653397" y="2122503"/>
                  <a:pt x="2675280" y="2120408"/>
                  <a:pt x="2693985" y="2120443"/>
                </a:cubicBezTo>
                <a:close/>
                <a:moveTo>
                  <a:pt x="736754" y="2116360"/>
                </a:moveTo>
                <a:cubicBezTo>
                  <a:pt x="739135" y="2116360"/>
                  <a:pt x="741992" y="2116360"/>
                  <a:pt x="745231" y="2117408"/>
                </a:cubicBezTo>
                <a:cubicBezTo>
                  <a:pt x="748468" y="2118455"/>
                  <a:pt x="751898" y="2118455"/>
                  <a:pt x="755804" y="2119217"/>
                </a:cubicBezTo>
                <a:cubicBezTo>
                  <a:pt x="759709" y="2119979"/>
                  <a:pt x="764090" y="2120837"/>
                  <a:pt x="768281" y="2121884"/>
                </a:cubicBezTo>
                <a:lnTo>
                  <a:pt x="774662" y="2123408"/>
                </a:lnTo>
                <a:lnTo>
                  <a:pt x="781045" y="2125028"/>
                </a:lnTo>
                <a:cubicBezTo>
                  <a:pt x="789522" y="2127218"/>
                  <a:pt x="797999" y="2129790"/>
                  <a:pt x="806286" y="2132552"/>
                </a:cubicBezTo>
                <a:cubicBezTo>
                  <a:pt x="810477" y="2133981"/>
                  <a:pt x="814382" y="2135219"/>
                  <a:pt x="818288" y="2136648"/>
                </a:cubicBezTo>
                <a:lnTo>
                  <a:pt x="829717" y="2140934"/>
                </a:lnTo>
                <a:cubicBezTo>
                  <a:pt x="836670" y="2143887"/>
                  <a:pt x="843433" y="2147030"/>
                  <a:pt x="849148" y="2149983"/>
                </a:cubicBezTo>
                <a:cubicBezTo>
                  <a:pt x="860007" y="2155698"/>
                  <a:pt x="863626" y="2159508"/>
                  <a:pt x="860292" y="2161604"/>
                </a:cubicBezTo>
                <a:cubicBezTo>
                  <a:pt x="857253" y="2162766"/>
                  <a:pt x="854006" y="2163251"/>
                  <a:pt x="850768" y="2163032"/>
                </a:cubicBezTo>
                <a:lnTo>
                  <a:pt x="842099" y="2162461"/>
                </a:lnTo>
                <a:cubicBezTo>
                  <a:pt x="838765" y="2162461"/>
                  <a:pt x="834956" y="2161604"/>
                  <a:pt x="830861" y="2160937"/>
                </a:cubicBezTo>
                <a:cubicBezTo>
                  <a:pt x="822764" y="2159603"/>
                  <a:pt x="814477" y="2157889"/>
                  <a:pt x="806096" y="2155793"/>
                </a:cubicBezTo>
                <a:cubicBezTo>
                  <a:pt x="797714" y="2153698"/>
                  <a:pt x="789141" y="2151031"/>
                  <a:pt x="780949" y="2148269"/>
                </a:cubicBezTo>
                <a:lnTo>
                  <a:pt x="774854" y="2146173"/>
                </a:lnTo>
                <a:cubicBezTo>
                  <a:pt x="772853" y="2145506"/>
                  <a:pt x="770853" y="2144649"/>
                  <a:pt x="768947" y="2143887"/>
                </a:cubicBezTo>
                <a:cubicBezTo>
                  <a:pt x="764947" y="2142363"/>
                  <a:pt x="761233" y="2140744"/>
                  <a:pt x="757518" y="2139125"/>
                </a:cubicBezTo>
                <a:cubicBezTo>
                  <a:pt x="753803" y="2137505"/>
                  <a:pt x="750470" y="2135886"/>
                  <a:pt x="747136" y="2134172"/>
                </a:cubicBezTo>
                <a:lnTo>
                  <a:pt x="742372" y="2131695"/>
                </a:lnTo>
                <a:lnTo>
                  <a:pt x="737897" y="2129123"/>
                </a:lnTo>
                <a:cubicBezTo>
                  <a:pt x="727419" y="2122837"/>
                  <a:pt x="724085" y="2118741"/>
                  <a:pt x="727229" y="2117027"/>
                </a:cubicBezTo>
                <a:cubicBezTo>
                  <a:pt x="730305" y="2116055"/>
                  <a:pt x="733572" y="2115826"/>
                  <a:pt x="736754" y="2116360"/>
                </a:cubicBezTo>
                <a:close/>
                <a:moveTo>
                  <a:pt x="2417652" y="2110264"/>
                </a:moveTo>
                <a:cubicBezTo>
                  <a:pt x="2432491" y="2109750"/>
                  <a:pt x="2447264" y="2112407"/>
                  <a:pt x="2460990" y="2118074"/>
                </a:cubicBezTo>
                <a:cubicBezTo>
                  <a:pt x="2468325" y="2122456"/>
                  <a:pt x="2467467" y="2127599"/>
                  <a:pt x="2460229" y="2133600"/>
                </a:cubicBezTo>
                <a:cubicBezTo>
                  <a:pt x="2448361" y="2140934"/>
                  <a:pt x="2435149" y="2145821"/>
                  <a:pt x="2421367" y="2147983"/>
                </a:cubicBezTo>
                <a:cubicBezTo>
                  <a:pt x="2384124" y="2155508"/>
                  <a:pt x="2334688" y="2154269"/>
                  <a:pt x="2318020" y="2145411"/>
                </a:cubicBezTo>
                <a:cubicBezTo>
                  <a:pt x="2301351" y="2136553"/>
                  <a:pt x="2319162" y="2122361"/>
                  <a:pt x="2356597" y="2115026"/>
                </a:cubicBezTo>
                <a:cubicBezTo>
                  <a:pt x="2366703" y="2113112"/>
                  <a:pt x="2376913" y="2111740"/>
                  <a:pt x="2387171" y="2110931"/>
                </a:cubicBezTo>
                <a:cubicBezTo>
                  <a:pt x="2397315" y="2110188"/>
                  <a:pt x="2407490" y="2109969"/>
                  <a:pt x="2417652" y="2110264"/>
                </a:cubicBezTo>
                <a:close/>
                <a:moveTo>
                  <a:pt x="3819591" y="2107216"/>
                </a:moveTo>
                <a:lnTo>
                  <a:pt x="3792921" y="2120741"/>
                </a:lnTo>
                <a:lnTo>
                  <a:pt x="3817400" y="2120741"/>
                </a:lnTo>
                <a:lnTo>
                  <a:pt x="3847594" y="2107311"/>
                </a:lnTo>
                <a:close/>
                <a:moveTo>
                  <a:pt x="4750850" y="2105025"/>
                </a:moveTo>
                <a:cubicBezTo>
                  <a:pt x="4756374" y="2103501"/>
                  <a:pt x="4759708" y="2103501"/>
                  <a:pt x="4758184" y="2105025"/>
                </a:cubicBezTo>
                <a:cubicBezTo>
                  <a:pt x="4754401" y="2107454"/>
                  <a:pt x="4750204" y="2109168"/>
                  <a:pt x="4745802" y="2110073"/>
                </a:cubicBezTo>
                <a:cubicBezTo>
                  <a:pt x="4740372" y="2111407"/>
                  <a:pt x="4737420" y="2111502"/>
                  <a:pt x="4739229" y="2110073"/>
                </a:cubicBezTo>
                <a:cubicBezTo>
                  <a:pt x="4742779" y="2107730"/>
                  <a:pt x="4746712" y="2106016"/>
                  <a:pt x="4750850" y="2105025"/>
                </a:cubicBezTo>
                <a:close/>
                <a:moveTo>
                  <a:pt x="3976468" y="2105025"/>
                </a:moveTo>
                <a:lnTo>
                  <a:pt x="3943035" y="2106168"/>
                </a:lnTo>
                <a:lnTo>
                  <a:pt x="3904935" y="2123599"/>
                </a:lnTo>
                <a:lnTo>
                  <a:pt x="3935605" y="2124075"/>
                </a:lnTo>
                <a:close/>
                <a:moveTo>
                  <a:pt x="3681193" y="2103787"/>
                </a:moveTo>
                <a:lnTo>
                  <a:pt x="3642807" y="2124742"/>
                </a:lnTo>
                <a:lnTo>
                  <a:pt x="3679097" y="2124075"/>
                </a:lnTo>
                <a:lnTo>
                  <a:pt x="3717769" y="2106454"/>
                </a:lnTo>
                <a:cubicBezTo>
                  <a:pt x="3710530" y="2106454"/>
                  <a:pt x="3702243" y="2106454"/>
                  <a:pt x="3696242" y="2106454"/>
                </a:cubicBezTo>
                <a:cubicBezTo>
                  <a:pt x="3691166" y="2105939"/>
                  <a:pt x="3686136" y="2105044"/>
                  <a:pt x="3681193" y="2103787"/>
                </a:cubicBezTo>
                <a:close/>
                <a:moveTo>
                  <a:pt x="4718560" y="2100548"/>
                </a:moveTo>
                <a:cubicBezTo>
                  <a:pt x="4713714" y="2104044"/>
                  <a:pt x="4708253" y="2106597"/>
                  <a:pt x="4702463" y="2108073"/>
                </a:cubicBezTo>
                <a:cubicBezTo>
                  <a:pt x="4695034" y="2110359"/>
                  <a:pt x="4689223" y="2110740"/>
                  <a:pt x="4690652" y="2108835"/>
                </a:cubicBezTo>
                <a:cubicBezTo>
                  <a:pt x="4695509" y="2105358"/>
                  <a:pt x="4700966" y="2102806"/>
                  <a:pt x="4706749" y="2101310"/>
                </a:cubicBezTo>
                <a:cubicBezTo>
                  <a:pt x="4714274" y="2098929"/>
                  <a:pt x="4720084" y="2098643"/>
                  <a:pt x="4718560" y="2100548"/>
                </a:cubicBezTo>
                <a:close/>
                <a:moveTo>
                  <a:pt x="4101721" y="2100072"/>
                </a:moveTo>
                <a:cubicBezTo>
                  <a:pt x="4077147" y="2105501"/>
                  <a:pt x="4065336" y="2104834"/>
                  <a:pt x="4057525" y="2101596"/>
                </a:cubicBezTo>
                <a:cubicBezTo>
                  <a:pt x="4042096" y="2111683"/>
                  <a:pt x="4025283" y="2119484"/>
                  <a:pt x="4007614" y="2124742"/>
                </a:cubicBezTo>
                <a:cubicBezTo>
                  <a:pt x="4015806" y="2124170"/>
                  <a:pt x="4025426" y="2123218"/>
                  <a:pt x="4031522" y="2123218"/>
                </a:cubicBezTo>
                <a:cubicBezTo>
                  <a:pt x="4035614" y="2123494"/>
                  <a:pt x="4039634" y="2124427"/>
                  <a:pt x="4043428" y="2125980"/>
                </a:cubicBezTo>
                <a:cubicBezTo>
                  <a:pt x="4050477" y="2122170"/>
                  <a:pt x="4057049" y="2117598"/>
                  <a:pt x="4066860" y="2113597"/>
                </a:cubicBezTo>
                <a:cubicBezTo>
                  <a:pt x="4076671" y="2109597"/>
                  <a:pt x="4089434" y="2104834"/>
                  <a:pt x="4101721" y="2100072"/>
                </a:cubicBezTo>
                <a:close/>
                <a:moveTo>
                  <a:pt x="3527556" y="2099881"/>
                </a:moveTo>
                <a:cubicBezTo>
                  <a:pt x="3522699" y="2110930"/>
                  <a:pt x="3500985" y="2120836"/>
                  <a:pt x="3469179" y="2131885"/>
                </a:cubicBezTo>
                <a:cubicBezTo>
                  <a:pt x="3488822" y="2127828"/>
                  <a:pt x="3509016" y="2127151"/>
                  <a:pt x="3528891" y="2129885"/>
                </a:cubicBezTo>
                <a:cubicBezTo>
                  <a:pt x="3546505" y="2116998"/>
                  <a:pt x="3566419" y="2107587"/>
                  <a:pt x="3587562" y="2102167"/>
                </a:cubicBezTo>
                <a:cubicBezTo>
                  <a:pt x="3557274" y="2106358"/>
                  <a:pt x="3538987" y="2105596"/>
                  <a:pt x="3527556" y="2099881"/>
                </a:cubicBezTo>
                <a:close/>
                <a:moveTo>
                  <a:pt x="4674650" y="2096929"/>
                </a:moveTo>
                <a:cubicBezTo>
                  <a:pt x="4666026" y="2102444"/>
                  <a:pt x="4656570" y="2106520"/>
                  <a:pt x="4646646" y="2109025"/>
                </a:cubicBezTo>
                <a:cubicBezTo>
                  <a:pt x="4635311" y="2112359"/>
                  <a:pt x="4627025" y="2113121"/>
                  <a:pt x="4629215" y="2110645"/>
                </a:cubicBezTo>
                <a:cubicBezTo>
                  <a:pt x="4637326" y="2105349"/>
                  <a:pt x="4646234" y="2101396"/>
                  <a:pt x="4655600" y="2098929"/>
                </a:cubicBezTo>
                <a:cubicBezTo>
                  <a:pt x="4667887" y="2095119"/>
                  <a:pt x="4677031" y="2094166"/>
                  <a:pt x="4674650" y="2096929"/>
                </a:cubicBezTo>
                <a:close/>
                <a:moveTo>
                  <a:pt x="4614964" y="2094678"/>
                </a:moveTo>
                <a:cubicBezTo>
                  <a:pt x="4618666" y="2094452"/>
                  <a:pt x="4620071" y="2095214"/>
                  <a:pt x="4618261" y="2097023"/>
                </a:cubicBezTo>
                <a:cubicBezTo>
                  <a:pt x="4608084" y="2103510"/>
                  <a:pt x="4596922" y="2108301"/>
                  <a:pt x="4585210" y="2111216"/>
                </a:cubicBezTo>
                <a:cubicBezTo>
                  <a:pt x="4570732" y="2115407"/>
                  <a:pt x="4561397" y="2116073"/>
                  <a:pt x="4564731" y="2112644"/>
                </a:cubicBezTo>
                <a:cubicBezTo>
                  <a:pt x="4574905" y="2106043"/>
                  <a:pt x="4586107" y="2101186"/>
                  <a:pt x="4597878" y="2098262"/>
                </a:cubicBezTo>
                <a:cubicBezTo>
                  <a:pt x="4605260" y="2096119"/>
                  <a:pt x="4611261" y="2094904"/>
                  <a:pt x="4614964" y="2094678"/>
                </a:cubicBezTo>
                <a:close/>
                <a:moveTo>
                  <a:pt x="4551063" y="2094202"/>
                </a:moveTo>
                <a:cubicBezTo>
                  <a:pt x="4555492" y="2093928"/>
                  <a:pt x="4557350" y="2094785"/>
                  <a:pt x="4555587" y="2096833"/>
                </a:cubicBezTo>
                <a:cubicBezTo>
                  <a:pt x="4543808" y="2104720"/>
                  <a:pt x="4530710" y="2110425"/>
                  <a:pt x="4516916" y="2113692"/>
                </a:cubicBezTo>
                <a:cubicBezTo>
                  <a:pt x="4500152" y="2118550"/>
                  <a:pt x="4489103" y="2119312"/>
                  <a:pt x="4492341" y="2115407"/>
                </a:cubicBezTo>
                <a:cubicBezTo>
                  <a:pt x="4504089" y="2107358"/>
                  <a:pt x="4517237" y="2101576"/>
                  <a:pt x="4531108" y="2098357"/>
                </a:cubicBezTo>
                <a:cubicBezTo>
                  <a:pt x="4539633" y="2095881"/>
                  <a:pt x="4546634" y="2094476"/>
                  <a:pt x="4551063" y="2094202"/>
                </a:cubicBezTo>
                <a:close/>
                <a:moveTo>
                  <a:pt x="4407295" y="2094048"/>
                </a:moveTo>
                <a:cubicBezTo>
                  <a:pt x="4413403" y="2093714"/>
                  <a:pt x="4416094" y="2094881"/>
                  <a:pt x="4414236" y="2097500"/>
                </a:cubicBezTo>
                <a:cubicBezTo>
                  <a:pt x="4410521" y="2102739"/>
                  <a:pt x="4388899" y="2112645"/>
                  <a:pt x="4366230" y="2119313"/>
                </a:cubicBezTo>
                <a:cubicBezTo>
                  <a:pt x="4343179" y="2125980"/>
                  <a:pt x="4327368" y="2127123"/>
                  <a:pt x="4330797" y="2121694"/>
                </a:cubicBezTo>
                <a:cubicBezTo>
                  <a:pt x="4334226" y="2116265"/>
                  <a:pt x="4356229" y="2106359"/>
                  <a:pt x="4379851" y="2099596"/>
                </a:cubicBezTo>
                <a:cubicBezTo>
                  <a:pt x="4391662" y="2096215"/>
                  <a:pt x="4401187" y="2094381"/>
                  <a:pt x="4407295" y="2094048"/>
                </a:cubicBezTo>
                <a:close/>
                <a:moveTo>
                  <a:pt x="4482519" y="2093691"/>
                </a:moveTo>
                <a:cubicBezTo>
                  <a:pt x="4487793" y="2093405"/>
                  <a:pt x="4489913" y="2094500"/>
                  <a:pt x="4487674" y="2097024"/>
                </a:cubicBezTo>
                <a:cubicBezTo>
                  <a:pt x="4474239" y="2106035"/>
                  <a:pt x="4459257" y="2112493"/>
                  <a:pt x="4443478" y="2116074"/>
                </a:cubicBezTo>
                <a:cubicBezTo>
                  <a:pt x="4424428" y="2121599"/>
                  <a:pt x="4411474" y="2122361"/>
                  <a:pt x="4414903" y="2117789"/>
                </a:cubicBezTo>
                <a:cubicBezTo>
                  <a:pt x="4418332" y="2113217"/>
                  <a:pt x="4437573" y="2105025"/>
                  <a:pt x="4458433" y="2098643"/>
                </a:cubicBezTo>
                <a:cubicBezTo>
                  <a:pt x="4468815" y="2095643"/>
                  <a:pt x="4477245" y="2093976"/>
                  <a:pt x="4482519" y="2093691"/>
                </a:cubicBezTo>
                <a:close/>
                <a:moveTo>
                  <a:pt x="2072743" y="2092737"/>
                </a:moveTo>
                <a:cubicBezTo>
                  <a:pt x="2082840" y="2092737"/>
                  <a:pt x="2093127" y="2092737"/>
                  <a:pt x="2102747" y="2092737"/>
                </a:cubicBezTo>
                <a:cubicBezTo>
                  <a:pt x="2118254" y="2092985"/>
                  <a:pt x="2133598" y="2095947"/>
                  <a:pt x="2148086" y="2101500"/>
                </a:cubicBezTo>
                <a:cubicBezTo>
                  <a:pt x="2165993" y="2111025"/>
                  <a:pt x="2150372" y="2123884"/>
                  <a:pt x="2114749" y="2130075"/>
                </a:cubicBezTo>
                <a:cubicBezTo>
                  <a:pt x="2105290" y="2131618"/>
                  <a:pt x="2095746" y="2132609"/>
                  <a:pt x="2086175" y="2133028"/>
                </a:cubicBezTo>
                <a:cubicBezTo>
                  <a:pt x="2076650" y="2133028"/>
                  <a:pt x="2066267" y="2133028"/>
                  <a:pt x="2056647" y="2133028"/>
                </a:cubicBezTo>
                <a:cubicBezTo>
                  <a:pt x="2041006" y="2132685"/>
                  <a:pt x="2025538" y="2129656"/>
                  <a:pt x="2010927" y="2124074"/>
                </a:cubicBezTo>
                <a:cubicBezTo>
                  <a:pt x="1991020" y="2114549"/>
                  <a:pt x="2006069" y="2101310"/>
                  <a:pt x="2043122" y="2095499"/>
                </a:cubicBezTo>
                <a:cubicBezTo>
                  <a:pt x="2052931" y="2094023"/>
                  <a:pt x="2062828" y="2093099"/>
                  <a:pt x="2072743" y="2092737"/>
                </a:cubicBezTo>
                <a:close/>
                <a:moveTo>
                  <a:pt x="4330667" y="2092452"/>
                </a:moveTo>
                <a:cubicBezTo>
                  <a:pt x="4337703" y="2092119"/>
                  <a:pt x="4340989" y="2093452"/>
                  <a:pt x="4339179" y="2096452"/>
                </a:cubicBezTo>
                <a:cubicBezTo>
                  <a:pt x="4335560" y="2102453"/>
                  <a:pt x="4310890" y="2113788"/>
                  <a:pt x="4285363" y="2121122"/>
                </a:cubicBezTo>
                <a:cubicBezTo>
                  <a:pt x="4259741" y="2128361"/>
                  <a:pt x="4241167" y="2129504"/>
                  <a:pt x="4244691" y="2123408"/>
                </a:cubicBezTo>
                <a:cubicBezTo>
                  <a:pt x="4248216" y="2117312"/>
                  <a:pt x="4273266" y="2105787"/>
                  <a:pt x="4299651" y="2098453"/>
                </a:cubicBezTo>
                <a:cubicBezTo>
                  <a:pt x="4312843" y="2094786"/>
                  <a:pt x="4323630" y="2092786"/>
                  <a:pt x="4330667" y="2092452"/>
                </a:cubicBezTo>
                <a:close/>
                <a:moveTo>
                  <a:pt x="4241536" y="2092060"/>
                </a:moveTo>
                <a:cubicBezTo>
                  <a:pt x="4250478" y="2091571"/>
                  <a:pt x="4255359" y="2092976"/>
                  <a:pt x="4253549" y="2096357"/>
                </a:cubicBezTo>
                <a:cubicBezTo>
                  <a:pt x="4249930" y="2103120"/>
                  <a:pt x="4222212" y="2116074"/>
                  <a:pt x="4193828" y="2123980"/>
                </a:cubicBezTo>
                <a:cubicBezTo>
                  <a:pt x="4165443" y="2131886"/>
                  <a:pt x="4144679" y="2133029"/>
                  <a:pt x="4147155" y="2126552"/>
                </a:cubicBezTo>
                <a:cubicBezTo>
                  <a:pt x="4149822" y="2120075"/>
                  <a:pt x="4176302" y="2107502"/>
                  <a:pt x="4205162" y="2099120"/>
                </a:cubicBezTo>
                <a:cubicBezTo>
                  <a:pt x="4219593" y="2094929"/>
                  <a:pt x="4232594" y="2092548"/>
                  <a:pt x="4241536" y="2092060"/>
                </a:cubicBezTo>
                <a:close/>
                <a:moveTo>
                  <a:pt x="4816286" y="2088832"/>
                </a:moveTo>
                <a:cubicBezTo>
                  <a:pt x="4820858" y="2087689"/>
                  <a:pt x="4823049" y="2087689"/>
                  <a:pt x="4821716" y="2088832"/>
                </a:cubicBezTo>
                <a:cubicBezTo>
                  <a:pt x="4818843" y="2090775"/>
                  <a:pt x="4815600" y="2092099"/>
                  <a:pt x="4812191" y="2092737"/>
                </a:cubicBezTo>
                <a:cubicBezTo>
                  <a:pt x="4808000" y="2093976"/>
                  <a:pt x="4805523" y="2093976"/>
                  <a:pt x="4806761" y="2092737"/>
                </a:cubicBezTo>
                <a:cubicBezTo>
                  <a:pt x="4809654" y="2090833"/>
                  <a:pt x="4812889" y="2089509"/>
                  <a:pt x="4816286" y="2088832"/>
                </a:cubicBezTo>
                <a:close/>
                <a:moveTo>
                  <a:pt x="3319442" y="2088285"/>
                </a:moveTo>
                <a:cubicBezTo>
                  <a:pt x="3335670" y="2088190"/>
                  <a:pt x="3347191" y="2090690"/>
                  <a:pt x="3349955" y="2095786"/>
                </a:cubicBezTo>
                <a:cubicBezTo>
                  <a:pt x="3355477" y="2105977"/>
                  <a:pt x="3327194" y="2121408"/>
                  <a:pt x="3287380" y="2131504"/>
                </a:cubicBezTo>
                <a:cubicBezTo>
                  <a:pt x="3247569" y="2141601"/>
                  <a:pt x="3205468" y="2143125"/>
                  <a:pt x="3197372" y="2133600"/>
                </a:cubicBezTo>
                <a:cubicBezTo>
                  <a:pt x="3193180" y="2128837"/>
                  <a:pt x="3198326" y="2122170"/>
                  <a:pt x="3209945" y="2115407"/>
                </a:cubicBezTo>
                <a:cubicBezTo>
                  <a:pt x="3225929" y="2106777"/>
                  <a:pt x="3243007" y="2100377"/>
                  <a:pt x="3260714" y="2096357"/>
                </a:cubicBezTo>
                <a:cubicBezTo>
                  <a:pt x="3282285" y="2091071"/>
                  <a:pt x="3303212" y="2088380"/>
                  <a:pt x="3319442" y="2088285"/>
                </a:cubicBezTo>
                <a:close/>
                <a:moveTo>
                  <a:pt x="3116123" y="2086070"/>
                </a:moveTo>
                <a:cubicBezTo>
                  <a:pt x="3132982" y="2086070"/>
                  <a:pt x="3145653" y="2088737"/>
                  <a:pt x="3149652" y="2093785"/>
                </a:cubicBezTo>
                <a:cubicBezTo>
                  <a:pt x="3157175" y="2103310"/>
                  <a:pt x="3131267" y="2118931"/>
                  <a:pt x="3092502" y="2128361"/>
                </a:cubicBezTo>
                <a:cubicBezTo>
                  <a:pt x="3053734" y="2137791"/>
                  <a:pt x="3009347" y="2138648"/>
                  <a:pt x="2998870" y="2129409"/>
                </a:cubicBezTo>
                <a:cubicBezTo>
                  <a:pt x="2988108" y="2119884"/>
                  <a:pt x="3014492" y="2103406"/>
                  <a:pt x="3056878" y="2093404"/>
                </a:cubicBezTo>
                <a:cubicBezTo>
                  <a:pt x="3067184" y="2091004"/>
                  <a:pt x="3077614" y="2089156"/>
                  <a:pt x="3088121" y="2087880"/>
                </a:cubicBezTo>
                <a:cubicBezTo>
                  <a:pt x="3097409" y="2086708"/>
                  <a:pt x="3106760" y="2086108"/>
                  <a:pt x="3116123" y="2086070"/>
                </a:cubicBezTo>
                <a:close/>
                <a:moveTo>
                  <a:pt x="4776091" y="2083307"/>
                </a:moveTo>
                <a:cubicBezTo>
                  <a:pt x="4782568" y="2081593"/>
                  <a:pt x="4786854" y="2081688"/>
                  <a:pt x="4784663" y="2083307"/>
                </a:cubicBezTo>
                <a:cubicBezTo>
                  <a:pt x="4779912" y="2086241"/>
                  <a:pt x="4774740" y="2088422"/>
                  <a:pt x="4769328" y="2089784"/>
                </a:cubicBezTo>
                <a:cubicBezTo>
                  <a:pt x="4762946" y="2091499"/>
                  <a:pt x="4758660" y="2091404"/>
                  <a:pt x="4760756" y="2089784"/>
                </a:cubicBezTo>
                <a:cubicBezTo>
                  <a:pt x="4765486" y="2086813"/>
                  <a:pt x="4770663" y="2084631"/>
                  <a:pt x="4776091" y="2083307"/>
                </a:cubicBezTo>
                <a:close/>
                <a:moveTo>
                  <a:pt x="2892249" y="2080914"/>
                </a:moveTo>
                <a:cubicBezTo>
                  <a:pt x="2910025" y="2080950"/>
                  <a:pt x="2924143" y="2083403"/>
                  <a:pt x="2930384" y="2088165"/>
                </a:cubicBezTo>
                <a:cubicBezTo>
                  <a:pt x="2942863" y="2097690"/>
                  <a:pt x="2920858" y="2112740"/>
                  <a:pt x="2881426" y="2122170"/>
                </a:cubicBezTo>
                <a:cubicBezTo>
                  <a:pt x="2862287" y="2126751"/>
                  <a:pt x="2842707" y="2129209"/>
                  <a:pt x="2823037" y="2129504"/>
                </a:cubicBezTo>
                <a:cubicBezTo>
                  <a:pt x="2809683" y="2130523"/>
                  <a:pt x="2796282" y="2128170"/>
                  <a:pt x="2784080" y="2122646"/>
                </a:cubicBezTo>
                <a:cubicBezTo>
                  <a:pt x="2769316" y="2113121"/>
                  <a:pt x="2790462" y="2097976"/>
                  <a:pt x="2832179" y="2088165"/>
                </a:cubicBezTo>
                <a:cubicBezTo>
                  <a:pt x="2853040" y="2083260"/>
                  <a:pt x="2874473" y="2080879"/>
                  <a:pt x="2892249" y="2080914"/>
                </a:cubicBezTo>
                <a:close/>
                <a:moveTo>
                  <a:pt x="4730848" y="2079308"/>
                </a:moveTo>
                <a:cubicBezTo>
                  <a:pt x="4740373" y="2076641"/>
                  <a:pt x="4745516" y="2076736"/>
                  <a:pt x="4742944" y="2079308"/>
                </a:cubicBezTo>
                <a:cubicBezTo>
                  <a:pt x="4740738" y="2081108"/>
                  <a:pt x="4738264" y="2082556"/>
                  <a:pt x="4735610" y="2083594"/>
                </a:cubicBezTo>
                <a:cubicBezTo>
                  <a:pt x="4731686" y="2085232"/>
                  <a:pt x="4727680" y="2086661"/>
                  <a:pt x="4723609" y="2087880"/>
                </a:cubicBezTo>
                <a:cubicBezTo>
                  <a:pt x="4714846" y="2090452"/>
                  <a:pt x="4709797" y="2090547"/>
                  <a:pt x="4711798" y="2088166"/>
                </a:cubicBezTo>
                <a:cubicBezTo>
                  <a:pt x="4717457" y="2083908"/>
                  <a:pt x="4723948" y="2080898"/>
                  <a:pt x="4730848" y="2079308"/>
                </a:cubicBezTo>
                <a:close/>
                <a:moveTo>
                  <a:pt x="1143666" y="2077879"/>
                </a:moveTo>
                <a:cubicBezTo>
                  <a:pt x="1147952" y="2077879"/>
                  <a:pt x="1152334" y="2077879"/>
                  <a:pt x="1156906" y="2078545"/>
                </a:cubicBezTo>
                <a:cubicBezTo>
                  <a:pt x="1161478" y="2079212"/>
                  <a:pt x="1165955" y="2079307"/>
                  <a:pt x="1170527" y="2079784"/>
                </a:cubicBezTo>
                <a:cubicBezTo>
                  <a:pt x="1175099" y="2080260"/>
                  <a:pt x="1180052" y="2081022"/>
                  <a:pt x="1184433" y="2081784"/>
                </a:cubicBezTo>
                <a:lnTo>
                  <a:pt x="1191386" y="2082927"/>
                </a:lnTo>
                <a:lnTo>
                  <a:pt x="1198149" y="2084260"/>
                </a:lnTo>
                <a:cubicBezTo>
                  <a:pt x="1207674" y="2086070"/>
                  <a:pt x="1215770" y="2088166"/>
                  <a:pt x="1223581" y="2090547"/>
                </a:cubicBezTo>
                <a:cubicBezTo>
                  <a:pt x="1230601" y="2092585"/>
                  <a:pt x="1237440" y="2095166"/>
                  <a:pt x="1244060" y="2098262"/>
                </a:cubicBezTo>
                <a:cubicBezTo>
                  <a:pt x="1264729" y="2108740"/>
                  <a:pt x="1256633" y="2116455"/>
                  <a:pt x="1225105" y="2116836"/>
                </a:cubicBezTo>
                <a:cubicBezTo>
                  <a:pt x="1192025" y="2116712"/>
                  <a:pt x="1159268" y="2110245"/>
                  <a:pt x="1128617" y="2097786"/>
                </a:cubicBezTo>
                <a:cubicBezTo>
                  <a:pt x="1123654" y="2095776"/>
                  <a:pt x="1119063" y="2092976"/>
                  <a:pt x="1114996" y="2089499"/>
                </a:cubicBezTo>
                <a:cubicBezTo>
                  <a:pt x="1112519" y="2087023"/>
                  <a:pt x="1111948" y="2084832"/>
                  <a:pt x="1113377" y="2083022"/>
                </a:cubicBezTo>
                <a:cubicBezTo>
                  <a:pt x="1116034" y="2080717"/>
                  <a:pt x="1119387" y="2079345"/>
                  <a:pt x="1122902" y="2079117"/>
                </a:cubicBezTo>
                <a:cubicBezTo>
                  <a:pt x="1129769" y="2078069"/>
                  <a:pt x="1136722" y="2077650"/>
                  <a:pt x="1143666" y="2077879"/>
                </a:cubicBezTo>
                <a:close/>
                <a:moveTo>
                  <a:pt x="1414847" y="2077021"/>
                </a:moveTo>
                <a:cubicBezTo>
                  <a:pt x="1424010" y="2076402"/>
                  <a:pt x="1433211" y="2076402"/>
                  <a:pt x="1442374" y="2077021"/>
                </a:cubicBezTo>
                <a:cubicBezTo>
                  <a:pt x="1451898" y="2077021"/>
                  <a:pt x="1462186" y="2078355"/>
                  <a:pt x="1471902" y="2079688"/>
                </a:cubicBezTo>
                <a:cubicBezTo>
                  <a:pt x="1476731" y="2080384"/>
                  <a:pt x="1481493" y="2081146"/>
                  <a:pt x="1486188" y="2081974"/>
                </a:cubicBezTo>
                <a:cubicBezTo>
                  <a:pt x="1490761" y="2082832"/>
                  <a:pt x="1495143" y="2083689"/>
                  <a:pt x="1499334" y="2084737"/>
                </a:cubicBezTo>
                <a:cubicBezTo>
                  <a:pt x="1506572" y="2086289"/>
                  <a:pt x="1513649" y="2088528"/>
                  <a:pt x="1520479" y="2091404"/>
                </a:cubicBezTo>
                <a:cubicBezTo>
                  <a:pt x="1541053" y="2100929"/>
                  <a:pt x="1533052" y="2111026"/>
                  <a:pt x="1503333" y="2114074"/>
                </a:cubicBezTo>
                <a:cubicBezTo>
                  <a:pt x="1499428" y="2114074"/>
                  <a:pt x="1495237" y="2114740"/>
                  <a:pt x="1490856" y="2114836"/>
                </a:cubicBezTo>
                <a:cubicBezTo>
                  <a:pt x="1486474" y="2114931"/>
                  <a:pt x="1481902" y="2114836"/>
                  <a:pt x="1477140" y="2114836"/>
                </a:cubicBezTo>
                <a:cubicBezTo>
                  <a:pt x="1467615" y="2114836"/>
                  <a:pt x="1458091" y="2113693"/>
                  <a:pt x="1448566" y="2112550"/>
                </a:cubicBezTo>
                <a:cubicBezTo>
                  <a:pt x="1431315" y="2110721"/>
                  <a:pt x="1414362" y="2106749"/>
                  <a:pt x="1398083" y="2100739"/>
                </a:cubicBezTo>
                <a:cubicBezTo>
                  <a:pt x="1373413" y="2090452"/>
                  <a:pt x="1381414" y="2079212"/>
                  <a:pt x="1414847" y="2077021"/>
                </a:cubicBezTo>
                <a:close/>
                <a:moveTo>
                  <a:pt x="4686937" y="2073783"/>
                </a:moveTo>
                <a:cubicBezTo>
                  <a:pt x="4698176" y="2070640"/>
                  <a:pt x="4703987" y="2070735"/>
                  <a:pt x="4701034" y="2073783"/>
                </a:cubicBezTo>
                <a:cubicBezTo>
                  <a:pt x="4693941" y="2079022"/>
                  <a:pt x="4685829" y="2082717"/>
                  <a:pt x="4677221" y="2084641"/>
                </a:cubicBezTo>
                <a:lnTo>
                  <a:pt x="4675221" y="2085213"/>
                </a:lnTo>
                <a:lnTo>
                  <a:pt x="4673126" y="2085213"/>
                </a:lnTo>
                <a:cubicBezTo>
                  <a:pt x="4671602" y="2085689"/>
                  <a:pt x="4670173" y="2085975"/>
                  <a:pt x="4668935" y="2086261"/>
                </a:cubicBezTo>
                <a:cubicBezTo>
                  <a:pt x="4666865" y="2086727"/>
                  <a:pt x="4664764" y="2087051"/>
                  <a:pt x="4662648" y="2087213"/>
                </a:cubicBezTo>
                <a:cubicBezTo>
                  <a:pt x="4659505" y="2087213"/>
                  <a:pt x="4658552" y="2086642"/>
                  <a:pt x="4660362" y="2084927"/>
                </a:cubicBezTo>
                <a:cubicBezTo>
                  <a:pt x="4663802" y="2082270"/>
                  <a:pt x="4667623" y="2080155"/>
                  <a:pt x="4671697" y="2078641"/>
                </a:cubicBezTo>
                <a:lnTo>
                  <a:pt x="4673412" y="2077879"/>
                </a:lnTo>
                <a:lnTo>
                  <a:pt x="4675126" y="2077212"/>
                </a:lnTo>
                <a:cubicBezTo>
                  <a:pt x="4676335" y="2076659"/>
                  <a:pt x="4677576" y="2076183"/>
                  <a:pt x="4678841" y="2075783"/>
                </a:cubicBezTo>
                <a:cubicBezTo>
                  <a:pt x="4681412" y="2075497"/>
                  <a:pt x="4684175" y="2074640"/>
                  <a:pt x="4686937" y="2073783"/>
                </a:cubicBezTo>
                <a:close/>
                <a:moveTo>
                  <a:pt x="2635107" y="2071497"/>
                </a:moveTo>
                <a:cubicBezTo>
                  <a:pt x="2648701" y="2070935"/>
                  <a:pt x="2662198" y="2073955"/>
                  <a:pt x="2674255" y="2080260"/>
                </a:cubicBezTo>
                <a:cubicBezTo>
                  <a:pt x="2686828" y="2089785"/>
                  <a:pt x="2666445" y="2103882"/>
                  <a:pt x="2628154" y="2112169"/>
                </a:cubicBezTo>
                <a:cubicBezTo>
                  <a:pt x="2608839" y="2116274"/>
                  <a:pt x="2589131" y="2118227"/>
                  <a:pt x="2569386" y="2117979"/>
                </a:cubicBezTo>
                <a:cubicBezTo>
                  <a:pt x="2561271" y="2117884"/>
                  <a:pt x="2553184" y="2117122"/>
                  <a:pt x="2545191" y="2115693"/>
                </a:cubicBezTo>
                <a:cubicBezTo>
                  <a:pt x="2539325" y="2114779"/>
                  <a:pt x="2533656" y="2112874"/>
                  <a:pt x="2528427" y="2110073"/>
                </a:cubicBezTo>
                <a:cubicBezTo>
                  <a:pt x="2512331" y="2100548"/>
                  <a:pt x="2532809" y="2085404"/>
                  <a:pt x="2574814" y="2076831"/>
                </a:cubicBezTo>
                <a:cubicBezTo>
                  <a:pt x="2594646" y="2072773"/>
                  <a:pt x="2614876" y="2070983"/>
                  <a:pt x="2635107" y="2071497"/>
                </a:cubicBezTo>
                <a:close/>
                <a:moveTo>
                  <a:pt x="3828925" y="2068258"/>
                </a:moveTo>
                <a:lnTo>
                  <a:pt x="3788825" y="2088928"/>
                </a:lnTo>
                <a:lnTo>
                  <a:pt x="3820448" y="2088928"/>
                </a:lnTo>
                <a:lnTo>
                  <a:pt x="3863215" y="2069211"/>
                </a:lnTo>
                <a:close/>
                <a:moveTo>
                  <a:pt x="4843147" y="2067877"/>
                </a:moveTo>
                <a:cubicBezTo>
                  <a:pt x="4848100" y="2066734"/>
                  <a:pt x="4850862" y="2066925"/>
                  <a:pt x="4849434" y="2067877"/>
                </a:cubicBezTo>
                <a:cubicBezTo>
                  <a:pt x="4845354" y="2070392"/>
                  <a:pt x="4840877" y="2072192"/>
                  <a:pt x="4836194" y="2073211"/>
                </a:cubicBezTo>
                <a:cubicBezTo>
                  <a:pt x="4831336" y="2074831"/>
                  <a:pt x="4828479" y="2074640"/>
                  <a:pt x="4829907" y="2073307"/>
                </a:cubicBezTo>
                <a:cubicBezTo>
                  <a:pt x="4833977" y="2070754"/>
                  <a:pt x="4838456" y="2068916"/>
                  <a:pt x="4843147" y="2067877"/>
                </a:cubicBezTo>
                <a:close/>
                <a:moveTo>
                  <a:pt x="3959323" y="2067687"/>
                </a:moveTo>
                <a:lnTo>
                  <a:pt x="3920175" y="2088451"/>
                </a:lnTo>
                <a:lnTo>
                  <a:pt x="3950941" y="2088451"/>
                </a:lnTo>
                <a:lnTo>
                  <a:pt x="3995518" y="2069211"/>
                </a:lnTo>
                <a:cubicBezTo>
                  <a:pt x="3976468" y="2071878"/>
                  <a:pt x="3963704" y="2071497"/>
                  <a:pt x="3959323" y="2067687"/>
                </a:cubicBezTo>
                <a:close/>
                <a:moveTo>
                  <a:pt x="4646801" y="2067436"/>
                </a:moveTo>
                <a:cubicBezTo>
                  <a:pt x="4650599" y="2067282"/>
                  <a:pt x="4651647" y="2068306"/>
                  <a:pt x="4649218" y="2070544"/>
                </a:cubicBezTo>
                <a:cubicBezTo>
                  <a:pt x="4638196" y="2077659"/>
                  <a:pt x="4626058" y="2082879"/>
                  <a:pt x="4613309" y="2085974"/>
                </a:cubicBezTo>
                <a:cubicBezTo>
                  <a:pt x="4596545" y="2090832"/>
                  <a:pt x="4587401" y="2091308"/>
                  <a:pt x="4591878" y="2086927"/>
                </a:cubicBezTo>
                <a:cubicBezTo>
                  <a:pt x="4602917" y="2079754"/>
                  <a:pt x="4615091" y="2074506"/>
                  <a:pt x="4627882" y="2071401"/>
                </a:cubicBezTo>
                <a:cubicBezTo>
                  <a:pt x="4636455" y="2068925"/>
                  <a:pt x="4643003" y="2067591"/>
                  <a:pt x="4646801" y="2067436"/>
                </a:cubicBezTo>
                <a:close/>
                <a:moveTo>
                  <a:pt x="4580662" y="2067103"/>
                </a:moveTo>
                <a:cubicBezTo>
                  <a:pt x="4585401" y="2066829"/>
                  <a:pt x="4587068" y="2067925"/>
                  <a:pt x="4584829" y="2070449"/>
                </a:cubicBezTo>
                <a:cubicBezTo>
                  <a:pt x="4572831" y="2078735"/>
                  <a:pt x="4559393" y="2084708"/>
                  <a:pt x="4545205" y="2088070"/>
                </a:cubicBezTo>
                <a:cubicBezTo>
                  <a:pt x="4525393" y="2093975"/>
                  <a:pt x="4513677" y="2094928"/>
                  <a:pt x="4517202" y="2090261"/>
                </a:cubicBezTo>
                <a:cubicBezTo>
                  <a:pt x="4520916" y="2085498"/>
                  <a:pt x="4537966" y="2077878"/>
                  <a:pt x="4558064" y="2071973"/>
                </a:cubicBezTo>
                <a:cubicBezTo>
                  <a:pt x="4568113" y="2069020"/>
                  <a:pt x="4575924" y="2067377"/>
                  <a:pt x="4580662" y="2067103"/>
                </a:cubicBezTo>
                <a:close/>
                <a:moveTo>
                  <a:pt x="4514142" y="2064484"/>
                </a:moveTo>
                <a:cubicBezTo>
                  <a:pt x="4519822" y="2064162"/>
                  <a:pt x="4522060" y="2065401"/>
                  <a:pt x="4519774" y="2068258"/>
                </a:cubicBezTo>
                <a:cubicBezTo>
                  <a:pt x="4515202" y="2073973"/>
                  <a:pt x="4495485" y="2082641"/>
                  <a:pt x="4473196" y="2089118"/>
                </a:cubicBezTo>
                <a:cubicBezTo>
                  <a:pt x="4450908" y="2095595"/>
                  <a:pt x="4438430" y="2096166"/>
                  <a:pt x="4441859" y="2091118"/>
                </a:cubicBezTo>
                <a:cubicBezTo>
                  <a:pt x="4445288" y="2086070"/>
                  <a:pt x="4465100" y="2076449"/>
                  <a:pt x="4487865" y="2070068"/>
                </a:cubicBezTo>
                <a:cubicBezTo>
                  <a:pt x="4499343" y="2066687"/>
                  <a:pt x="4508463" y="2064805"/>
                  <a:pt x="4514142" y="2064484"/>
                </a:cubicBezTo>
                <a:close/>
                <a:moveTo>
                  <a:pt x="4437846" y="2063817"/>
                </a:moveTo>
                <a:cubicBezTo>
                  <a:pt x="4444264" y="2063543"/>
                  <a:pt x="4446812" y="2065020"/>
                  <a:pt x="4444335" y="2068258"/>
                </a:cubicBezTo>
                <a:cubicBezTo>
                  <a:pt x="4439382" y="2074735"/>
                  <a:pt x="4418522" y="2084070"/>
                  <a:pt x="4394043" y="2091309"/>
                </a:cubicBezTo>
                <a:cubicBezTo>
                  <a:pt x="4369564" y="2098548"/>
                  <a:pt x="4352704" y="2099691"/>
                  <a:pt x="4356324" y="2093690"/>
                </a:cubicBezTo>
                <a:cubicBezTo>
                  <a:pt x="4360134" y="2087499"/>
                  <a:pt x="4382137" y="2077402"/>
                  <a:pt x="4408140" y="2069877"/>
                </a:cubicBezTo>
                <a:cubicBezTo>
                  <a:pt x="4421142" y="2066115"/>
                  <a:pt x="4431429" y="2064091"/>
                  <a:pt x="4437846" y="2063817"/>
                </a:cubicBezTo>
                <a:close/>
                <a:moveTo>
                  <a:pt x="3682621" y="2062258"/>
                </a:moveTo>
                <a:cubicBezTo>
                  <a:pt x="3674430" y="2072926"/>
                  <a:pt x="3654427" y="2082355"/>
                  <a:pt x="3626805" y="2092547"/>
                </a:cubicBezTo>
                <a:cubicBezTo>
                  <a:pt x="3654523" y="2088928"/>
                  <a:pt x="3672144" y="2088928"/>
                  <a:pt x="3680812" y="2094547"/>
                </a:cubicBezTo>
                <a:cubicBezTo>
                  <a:pt x="3699162" y="2080593"/>
                  <a:pt x="3719923" y="2070135"/>
                  <a:pt x="3742057" y="2063686"/>
                </a:cubicBezTo>
                <a:cubicBezTo>
                  <a:pt x="3712816" y="2068449"/>
                  <a:pt x="3694528" y="2067782"/>
                  <a:pt x="3682621" y="2062258"/>
                </a:cubicBezTo>
                <a:close/>
                <a:moveTo>
                  <a:pt x="4354622" y="2061948"/>
                </a:moveTo>
                <a:cubicBezTo>
                  <a:pt x="4362254" y="2061495"/>
                  <a:pt x="4365802" y="2062972"/>
                  <a:pt x="4364040" y="2066448"/>
                </a:cubicBezTo>
                <a:cubicBezTo>
                  <a:pt x="4360515" y="2073401"/>
                  <a:pt x="4336798" y="2084546"/>
                  <a:pt x="4308604" y="2092737"/>
                </a:cubicBezTo>
                <a:cubicBezTo>
                  <a:pt x="4280029" y="2101119"/>
                  <a:pt x="4260979" y="2102262"/>
                  <a:pt x="4264122" y="2095785"/>
                </a:cubicBezTo>
                <a:cubicBezTo>
                  <a:pt x="4267266" y="2089308"/>
                  <a:pt x="4291554" y="2077497"/>
                  <a:pt x="4320701" y="2069020"/>
                </a:cubicBezTo>
                <a:cubicBezTo>
                  <a:pt x="4335274" y="2064782"/>
                  <a:pt x="4346990" y="2062400"/>
                  <a:pt x="4354622" y="2061948"/>
                </a:cubicBezTo>
                <a:close/>
                <a:moveTo>
                  <a:pt x="4804570" y="2061496"/>
                </a:moveTo>
                <a:cubicBezTo>
                  <a:pt x="4812095" y="2059591"/>
                  <a:pt x="4815524" y="2059781"/>
                  <a:pt x="4813333" y="2061972"/>
                </a:cubicBezTo>
                <a:cubicBezTo>
                  <a:pt x="4808158" y="2065344"/>
                  <a:pt x="4802361" y="2067640"/>
                  <a:pt x="4796284" y="2068735"/>
                </a:cubicBezTo>
                <a:cubicBezTo>
                  <a:pt x="4788187" y="2070735"/>
                  <a:pt x="4784473" y="2070640"/>
                  <a:pt x="4786759" y="2068735"/>
                </a:cubicBezTo>
                <a:cubicBezTo>
                  <a:pt x="4792153" y="2065154"/>
                  <a:pt x="4798210" y="2062696"/>
                  <a:pt x="4804570" y="2061496"/>
                </a:cubicBezTo>
                <a:close/>
                <a:moveTo>
                  <a:pt x="4263301" y="2060460"/>
                </a:moveTo>
                <a:cubicBezTo>
                  <a:pt x="4272719" y="2059901"/>
                  <a:pt x="4277744" y="2061449"/>
                  <a:pt x="4275934" y="2065306"/>
                </a:cubicBezTo>
                <a:cubicBezTo>
                  <a:pt x="4272314" y="2073021"/>
                  <a:pt x="4245263" y="2085975"/>
                  <a:pt x="4213926" y="2094833"/>
                </a:cubicBezTo>
                <a:cubicBezTo>
                  <a:pt x="4182589" y="2103692"/>
                  <a:pt x="4161824" y="2105025"/>
                  <a:pt x="4164205" y="2097596"/>
                </a:cubicBezTo>
                <a:cubicBezTo>
                  <a:pt x="4166587" y="2090357"/>
                  <a:pt x="4192780" y="2077403"/>
                  <a:pt x="4224308" y="2068259"/>
                </a:cubicBezTo>
                <a:cubicBezTo>
                  <a:pt x="4240072" y="2063687"/>
                  <a:pt x="4253883" y="2061020"/>
                  <a:pt x="4263301" y="2060460"/>
                </a:cubicBezTo>
                <a:close/>
                <a:moveTo>
                  <a:pt x="1731734" y="2057971"/>
                </a:moveTo>
                <a:cubicBezTo>
                  <a:pt x="1749676" y="2059781"/>
                  <a:pt x="1765845" y="2063401"/>
                  <a:pt x="1777370" y="2068544"/>
                </a:cubicBezTo>
                <a:cubicBezTo>
                  <a:pt x="1789181" y="2073878"/>
                  <a:pt x="1792610" y="2079212"/>
                  <a:pt x="1788324" y="2083784"/>
                </a:cubicBezTo>
                <a:cubicBezTo>
                  <a:pt x="1784810" y="2086785"/>
                  <a:pt x="1780627" y="2088909"/>
                  <a:pt x="1776132" y="2089976"/>
                </a:cubicBezTo>
                <a:cubicBezTo>
                  <a:pt x="1768597" y="2092166"/>
                  <a:pt x="1760882" y="2093700"/>
                  <a:pt x="1753081" y="2094548"/>
                </a:cubicBezTo>
                <a:cubicBezTo>
                  <a:pt x="1743909" y="2095605"/>
                  <a:pt x="1734689" y="2096176"/>
                  <a:pt x="1725460" y="2096262"/>
                </a:cubicBezTo>
                <a:cubicBezTo>
                  <a:pt x="1716335" y="2096338"/>
                  <a:pt x="1707210" y="2095919"/>
                  <a:pt x="1698123" y="2095024"/>
                </a:cubicBezTo>
                <a:cubicBezTo>
                  <a:pt x="1682378" y="2093795"/>
                  <a:pt x="1666909" y="2090233"/>
                  <a:pt x="1652212" y="2084451"/>
                </a:cubicBezTo>
                <a:cubicBezTo>
                  <a:pt x="1626590" y="2073402"/>
                  <a:pt x="1636115" y="2062448"/>
                  <a:pt x="1675453" y="2058257"/>
                </a:cubicBezTo>
                <a:cubicBezTo>
                  <a:pt x="1694074" y="2056162"/>
                  <a:pt x="1713791" y="2056162"/>
                  <a:pt x="1731734" y="2057971"/>
                </a:cubicBezTo>
                <a:close/>
                <a:moveTo>
                  <a:pt x="4759517" y="2055876"/>
                </a:moveTo>
                <a:cubicBezTo>
                  <a:pt x="4769042" y="2053399"/>
                  <a:pt x="4774853" y="2053590"/>
                  <a:pt x="4771995" y="2055876"/>
                </a:cubicBezTo>
                <a:cubicBezTo>
                  <a:pt x="4765106" y="2060381"/>
                  <a:pt x="4757458" y="2063610"/>
                  <a:pt x="4749421" y="2065401"/>
                </a:cubicBezTo>
                <a:cubicBezTo>
                  <a:pt x="4740086" y="2068258"/>
                  <a:pt x="4734181" y="2068068"/>
                  <a:pt x="4736848" y="2065401"/>
                </a:cubicBezTo>
                <a:cubicBezTo>
                  <a:pt x="4743762" y="2060876"/>
                  <a:pt x="4751444" y="2057647"/>
                  <a:pt x="4759517" y="2055876"/>
                </a:cubicBezTo>
                <a:close/>
                <a:moveTo>
                  <a:pt x="2333352" y="2055399"/>
                </a:moveTo>
                <a:cubicBezTo>
                  <a:pt x="2348088" y="2055390"/>
                  <a:pt x="2362670" y="2058371"/>
                  <a:pt x="2376215" y="2064162"/>
                </a:cubicBezTo>
                <a:cubicBezTo>
                  <a:pt x="2385072" y="2069115"/>
                  <a:pt x="2385072" y="2075116"/>
                  <a:pt x="2377930" y="2080736"/>
                </a:cubicBezTo>
                <a:cubicBezTo>
                  <a:pt x="2373139" y="2084260"/>
                  <a:pt x="2367842" y="2087022"/>
                  <a:pt x="2362212" y="2088927"/>
                </a:cubicBezTo>
                <a:cubicBezTo>
                  <a:pt x="2354078" y="2091747"/>
                  <a:pt x="2345735" y="2093909"/>
                  <a:pt x="2337257" y="2095404"/>
                </a:cubicBezTo>
                <a:cubicBezTo>
                  <a:pt x="2318407" y="2098805"/>
                  <a:pt x="2299243" y="2100110"/>
                  <a:pt x="2280107" y="2099310"/>
                </a:cubicBezTo>
                <a:cubicBezTo>
                  <a:pt x="2265097" y="2099367"/>
                  <a:pt x="2250218" y="2096528"/>
                  <a:pt x="2236292" y="2090928"/>
                </a:cubicBezTo>
                <a:cubicBezTo>
                  <a:pt x="2216481" y="2081403"/>
                  <a:pt x="2233625" y="2066448"/>
                  <a:pt x="2274392" y="2059209"/>
                </a:cubicBezTo>
                <a:cubicBezTo>
                  <a:pt x="2293852" y="2055790"/>
                  <a:pt x="2313617" y="2054514"/>
                  <a:pt x="2333352" y="2055399"/>
                </a:cubicBezTo>
                <a:close/>
                <a:moveTo>
                  <a:pt x="843339" y="2054256"/>
                </a:moveTo>
                <a:cubicBezTo>
                  <a:pt x="845777" y="2054113"/>
                  <a:pt x="848236" y="2054113"/>
                  <a:pt x="850674" y="2054256"/>
                </a:cubicBezTo>
                <a:lnTo>
                  <a:pt x="855150" y="2054256"/>
                </a:lnTo>
                <a:lnTo>
                  <a:pt x="859722" y="2055590"/>
                </a:lnTo>
                <a:cubicBezTo>
                  <a:pt x="868247" y="2056742"/>
                  <a:pt x="876706" y="2058333"/>
                  <a:pt x="885058" y="2060352"/>
                </a:cubicBezTo>
                <a:cubicBezTo>
                  <a:pt x="894584" y="2062448"/>
                  <a:pt x="904108" y="2064924"/>
                  <a:pt x="913157" y="2067686"/>
                </a:cubicBezTo>
                <a:lnTo>
                  <a:pt x="926873" y="2071877"/>
                </a:lnTo>
                <a:cubicBezTo>
                  <a:pt x="931351" y="2073306"/>
                  <a:pt x="935637" y="2074830"/>
                  <a:pt x="939638" y="2076259"/>
                </a:cubicBezTo>
                <a:cubicBezTo>
                  <a:pt x="943637" y="2077688"/>
                  <a:pt x="947447" y="2079212"/>
                  <a:pt x="950876" y="2080736"/>
                </a:cubicBezTo>
                <a:cubicBezTo>
                  <a:pt x="954306" y="2082260"/>
                  <a:pt x="957354" y="2083593"/>
                  <a:pt x="960401" y="2085022"/>
                </a:cubicBezTo>
                <a:cubicBezTo>
                  <a:pt x="979927" y="2095309"/>
                  <a:pt x="973545" y="2102929"/>
                  <a:pt x="946781" y="2100833"/>
                </a:cubicBezTo>
                <a:cubicBezTo>
                  <a:pt x="938465" y="2099986"/>
                  <a:pt x="930198" y="2098719"/>
                  <a:pt x="922016" y="2097023"/>
                </a:cubicBezTo>
                <a:cubicBezTo>
                  <a:pt x="917538" y="2096166"/>
                  <a:pt x="912490" y="2095023"/>
                  <a:pt x="908110" y="2093880"/>
                </a:cubicBezTo>
                <a:lnTo>
                  <a:pt x="894013" y="2089975"/>
                </a:lnTo>
                <a:cubicBezTo>
                  <a:pt x="884488" y="2087308"/>
                  <a:pt x="875534" y="2084165"/>
                  <a:pt x="867343" y="2080450"/>
                </a:cubicBezTo>
                <a:cubicBezTo>
                  <a:pt x="860218" y="2077726"/>
                  <a:pt x="853284" y="2074544"/>
                  <a:pt x="846578" y="2070925"/>
                </a:cubicBezTo>
                <a:cubicBezTo>
                  <a:pt x="836100" y="2064829"/>
                  <a:pt x="832577" y="2059971"/>
                  <a:pt x="835052" y="2057018"/>
                </a:cubicBezTo>
                <a:cubicBezTo>
                  <a:pt x="837406" y="2055152"/>
                  <a:pt x="840340" y="2054170"/>
                  <a:pt x="843339" y="2054256"/>
                </a:cubicBezTo>
                <a:close/>
                <a:moveTo>
                  <a:pt x="4908869" y="2053590"/>
                </a:moveTo>
                <a:cubicBezTo>
                  <a:pt x="4913441" y="2052542"/>
                  <a:pt x="4915537" y="2052733"/>
                  <a:pt x="4913822" y="2053590"/>
                </a:cubicBezTo>
                <a:cubicBezTo>
                  <a:pt x="4911065" y="2055343"/>
                  <a:pt x="4907991" y="2056543"/>
                  <a:pt x="4904774" y="2057114"/>
                </a:cubicBezTo>
                <a:cubicBezTo>
                  <a:pt x="4900583" y="2058638"/>
                  <a:pt x="4898106" y="2058543"/>
                  <a:pt x="4899344" y="2057400"/>
                </a:cubicBezTo>
                <a:cubicBezTo>
                  <a:pt x="4902264" y="2055562"/>
                  <a:pt x="4905491" y="2054276"/>
                  <a:pt x="4908869" y="2053590"/>
                </a:cubicBezTo>
                <a:close/>
                <a:moveTo>
                  <a:pt x="3486994" y="2047696"/>
                </a:moveTo>
                <a:cubicBezTo>
                  <a:pt x="3502580" y="2047589"/>
                  <a:pt x="3513176" y="2050304"/>
                  <a:pt x="3515365" y="2055876"/>
                </a:cubicBezTo>
                <a:cubicBezTo>
                  <a:pt x="3519746" y="2067020"/>
                  <a:pt x="3490317" y="2082546"/>
                  <a:pt x="3448703" y="2093309"/>
                </a:cubicBezTo>
                <a:cubicBezTo>
                  <a:pt x="3430066" y="2098433"/>
                  <a:pt x="3410890" y="2101338"/>
                  <a:pt x="3391567" y="2101977"/>
                </a:cubicBezTo>
                <a:cubicBezTo>
                  <a:pt x="3376047" y="2101977"/>
                  <a:pt x="3365003" y="2099786"/>
                  <a:pt x="3361857" y="2094642"/>
                </a:cubicBezTo>
                <a:cubicBezTo>
                  <a:pt x="3356431" y="2084451"/>
                  <a:pt x="3385377" y="2067782"/>
                  <a:pt x="3428702" y="2056447"/>
                </a:cubicBezTo>
                <a:cubicBezTo>
                  <a:pt x="3450843" y="2050732"/>
                  <a:pt x="3471414" y="2047803"/>
                  <a:pt x="3486994" y="2047696"/>
                </a:cubicBezTo>
                <a:close/>
                <a:moveTo>
                  <a:pt x="4724942" y="2047208"/>
                </a:moveTo>
                <a:cubicBezTo>
                  <a:pt x="4727895" y="2047208"/>
                  <a:pt x="4729038" y="2048256"/>
                  <a:pt x="4727323" y="2049970"/>
                </a:cubicBezTo>
                <a:cubicBezTo>
                  <a:pt x="4719192" y="2055609"/>
                  <a:pt x="4710132" y="2059762"/>
                  <a:pt x="4700558" y="2062258"/>
                </a:cubicBezTo>
                <a:cubicBezTo>
                  <a:pt x="4689033" y="2065591"/>
                  <a:pt x="4681508" y="2065401"/>
                  <a:pt x="4684270" y="2062258"/>
                </a:cubicBezTo>
                <a:cubicBezTo>
                  <a:pt x="4692411" y="2056428"/>
                  <a:pt x="4701546" y="2052142"/>
                  <a:pt x="4711226" y="2049589"/>
                </a:cubicBezTo>
                <a:cubicBezTo>
                  <a:pt x="4715647" y="2048094"/>
                  <a:pt x="4720274" y="2047284"/>
                  <a:pt x="4724942" y="2047208"/>
                </a:cubicBezTo>
                <a:close/>
                <a:moveTo>
                  <a:pt x="4873151" y="2045970"/>
                </a:moveTo>
                <a:cubicBezTo>
                  <a:pt x="4879628" y="2044446"/>
                  <a:pt x="4883247" y="2044827"/>
                  <a:pt x="4880485" y="2046827"/>
                </a:cubicBezTo>
                <a:cubicBezTo>
                  <a:pt x="4875565" y="2049561"/>
                  <a:pt x="4870269" y="2051551"/>
                  <a:pt x="4864769" y="2052732"/>
                </a:cubicBezTo>
                <a:cubicBezTo>
                  <a:pt x="4859054" y="2054066"/>
                  <a:pt x="4855625" y="2053685"/>
                  <a:pt x="4857815" y="2051970"/>
                </a:cubicBezTo>
                <a:cubicBezTo>
                  <a:pt x="4862576" y="2049170"/>
                  <a:pt x="4867753" y="2047141"/>
                  <a:pt x="4873151" y="2045970"/>
                </a:cubicBezTo>
                <a:close/>
                <a:moveTo>
                  <a:pt x="3302762" y="2043136"/>
                </a:moveTo>
                <a:cubicBezTo>
                  <a:pt x="3318764" y="2043184"/>
                  <a:pt x="3330102" y="2046113"/>
                  <a:pt x="3333861" y="2051780"/>
                </a:cubicBezTo>
                <a:cubicBezTo>
                  <a:pt x="3341384" y="2063114"/>
                  <a:pt x="3315477" y="2077973"/>
                  <a:pt x="3272618" y="2088832"/>
                </a:cubicBezTo>
                <a:cubicBezTo>
                  <a:pt x="3229759" y="2099690"/>
                  <a:pt x="3192228" y="2100071"/>
                  <a:pt x="3182893" y="2089880"/>
                </a:cubicBezTo>
                <a:cubicBezTo>
                  <a:pt x="3173369" y="2079402"/>
                  <a:pt x="3198801" y="2063495"/>
                  <a:pt x="3243665" y="2051780"/>
                </a:cubicBezTo>
                <a:cubicBezTo>
                  <a:pt x="3266097" y="2045922"/>
                  <a:pt x="3286763" y="2043088"/>
                  <a:pt x="3302762" y="2043136"/>
                </a:cubicBezTo>
                <a:close/>
                <a:moveTo>
                  <a:pt x="4675411" y="2041779"/>
                </a:moveTo>
                <a:cubicBezTo>
                  <a:pt x="4679031" y="2041779"/>
                  <a:pt x="4680460" y="2042922"/>
                  <a:pt x="4678745" y="2045017"/>
                </a:cubicBezTo>
                <a:cubicBezTo>
                  <a:pt x="4675289" y="2048189"/>
                  <a:pt x="4671288" y="2050704"/>
                  <a:pt x="4666934" y="2052447"/>
                </a:cubicBezTo>
                <a:lnTo>
                  <a:pt x="4664648" y="2053495"/>
                </a:lnTo>
                <a:lnTo>
                  <a:pt x="4664077" y="2053495"/>
                </a:lnTo>
                <a:lnTo>
                  <a:pt x="4663410" y="2053495"/>
                </a:lnTo>
                <a:lnTo>
                  <a:pt x="4661886" y="2054162"/>
                </a:lnTo>
                <a:lnTo>
                  <a:pt x="4655790" y="2056448"/>
                </a:lnTo>
                <a:cubicBezTo>
                  <a:pt x="4651599" y="2057971"/>
                  <a:pt x="4647217" y="2059496"/>
                  <a:pt x="4642931" y="2060734"/>
                </a:cubicBezTo>
                <a:cubicBezTo>
                  <a:pt x="4625881" y="2065306"/>
                  <a:pt x="4614547" y="2065973"/>
                  <a:pt x="4618642" y="2061686"/>
                </a:cubicBezTo>
                <a:cubicBezTo>
                  <a:pt x="4630873" y="2053552"/>
                  <a:pt x="4644403" y="2047561"/>
                  <a:pt x="4658647" y="2043970"/>
                </a:cubicBezTo>
                <a:lnTo>
                  <a:pt x="4660171" y="2043970"/>
                </a:lnTo>
                <a:lnTo>
                  <a:pt x="4661695" y="2043970"/>
                </a:lnTo>
                <a:cubicBezTo>
                  <a:pt x="4662510" y="2043732"/>
                  <a:pt x="4663337" y="2043541"/>
                  <a:pt x="4664172" y="2043398"/>
                </a:cubicBezTo>
                <a:lnTo>
                  <a:pt x="4668553" y="2042446"/>
                </a:lnTo>
                <a:cubicBezTo>
                  <a:pt x="4670817" y="2042036"/>
                  <a:pt x="4673111" y="2041808"/>
                  <a:pt x="4675411" y="2041779"/>
                </a:cubicBezTo>
                <a:close/>
                <a:moveTo>
                  <a:pt x="214005" y="2040445"/>
                </a:moveTo>
                <a:cubicBezTo>
                  <a:pt x="214767" y="2039016"/>
                  <a:pt x="220196" y="2041778"/>
                  <a:pt x="230293" y="2049017"/>
                </a:cubicBezTo>
                <a:lnTo>
                  <a:pt x="238485" y="2054923"/>
                </a:lnTo>
                <a:lnTo>
                  <a:pt x="248010" y="2061971"/>
                </a:lnTo>
                <a:lnTo>
                  <a:pt x="258678" y="2069972"/>
                </a:lnTo>
                <a:lnTo>
                  <a:pt x="269727" y="2078354"/>
                </a:lnTo>
                <a:cubicBezTo>
                  <a:pt x="284395" y="2089213"/>
                  <a:pt x="299540" y="2100738"/>
                  <a:pt x="309160" y="2108263"/>
                </a:cubicBezTo>
                <a:cubicBezTo>
                  <a:pt x="318780" y="2115788"/>
                  <a:pt x="324781" y="2122074"/>
                  <a:pt x="324019" y="2123503"/>
                </a:cubicBezTo>
                <a:cubicBezTo>
                  <a:pt x="323257" y="2124932"/>
                  <a:pt x="316780" y="2122646"/>
                  <a:pt x="304969" y="2115883"/>
                </a:cubicBezTo>
                <a:cubicBezTo>
                  <a:pt x="299730" y="2112835"/>
                  <a:pt x="293444" y="2109120"/>
                  <a:pt x="286395" y="2104167"/>
                </a:cubicBezTo>
                <a:cubicBezTo>
                  <a:pt x="279347" y="2099214"/>
                  <a:pt x="271917" y="2094071"/>
                  <a:pt x="264488" y="2088546"/>
                </a:cubicBezTo>
                <a:cubicBezTo>
                  <a:pt x="262678" y="2087213"/>
                  <a:pt x="260868" y="2085879"/>
                  <a:pt x="259059" y="2084355"/>
                </a:cubicBezTo>
                <a:lnTo>
                  <a:pt x="253534" y="2079974"/>
                </a:lnTo>
                <a:cubicBezTo>
                  <a:pt x="249914" y="2077116"/>
                  <a:pt x="246486" y="2074259"/>
                  <a:pt x="243152" y="2071496"/>
                </a:cubicBezTo>
                <a:cubicBezTo>
                  <a:pt x="239818" y="2068734"/>
                  <a:pt x="236770" y="2065972"/>
                  <a:pt x="233627" y="2063495"/>
                </a:cubicBezTo>
                <a:cubicBezTo>
                  <a:pt x="230484" y="2061019"/>
                  <a:pt x="228769" y="2058733"/>
                  <a:pt x="226483" y="2056447"/>
                </a:cubicBezTo>
                <a:cubicBezTo>
                  <a:pt x="216958" y="2046922"/>
                  <a:pt x="213243" y="2041874"/>
                  <a:pt x="214005" y="2040445"/>
                </a:cubicBezTo>
                <a:close/>
                <a:moveTo>
                  <a:pt x="3087632" y="2037766"/>
                </a:moveTo>
                <a:cubicBezTo>
                  <a:pt x="3104194" y="2037944"/>
                  <a:pt x="3116459" y="2040826"/>
                  <a:pt x="3121459" y="2046350"/>
                </a:cubicBezTo>
                <a:cubicBezTo>
                  <a:pt x="3131459" y="2057399"/>
                  <a:pt x="3107264" y="2072163"/>
                  <a:pt x="3064879" y="2082355"/>
                </a:cubicBezTo>
                <a:cubicBezTo>
                  <a:pt x="3022492" y="2092547"/>
                  <a:pt x="2983726" y="2092451"/>
                  <a:pt x="2972010" y="2082069"/>
                </a:cubicBezTo>
                <a:cubicBezTo>
                  <a:pt x="2960102" y="2071496"/>
                  <a:pt x="2983632" y="2055971"/>
                  <a:pt x="3028018" y="2045398"/>
                </a:cubicBezTo>
                <a:cubicBezTo>
                  <a:pt x="3050212" y="2040112"/>
                  <a:pt x="3071070" y="2037587"/>
                  <a:pt x="3087632" y="2037766"/>
                </a:cubicBezTo>
                <a:close/>
                <a:moveTo>
                  <a:pt x="4838194" y="2037302"/>
                </a:moveTo>
                <a:cubicBezTo>
                  <a:pt x="4839425" y="2037111"/>
                  <a:pt x="4840679" y="2037111"/>
                  <a:pt x="4841909" y="2037302"/>
                </a:cubicBezTo>
                <a:cubicBezTo>
                  <a:pt x="4843624" y="2037302"/>
                  <a:pt x="4843910" y="2038254"/>
                  <a:pt x="4841909" y="2039588"/>
                </a:cubicBezTo>
                <a:cubicBezTo>
                  <a:pt x="4840811" y="2040331"/>
                  <a:pt x="4839666" y="2040998"/>
                  <a:pt x="4838480" y="2041588"/>
                </a:cubicBezTo>
                <a:cubicBezTo>
                  <a:pt x="4836880" y="2042426"/>
                  <a:pt x="4835226" y="2043160"/>
                  <a:pt x="4833527" y="2043779"/>
                </a:cubicBezTo>
                <a:cubicBezTo>
                  <a:pt x="4829682" y="2045370"/>
                  <a:pt x="4825737" y="2046703"/>
                  <a:pt x="4821716" y="2047779"/>
                </a:cubicBezTo>
                <a:cubicBezTo>
                  <a:pt x="4813715" y="2049494"/>
                  <a:pt x="4808762" y="2049113"/>
                  <a:pt x="4811620" y="2046636"/>
                </a:cubicBezTo>
                <a:cubicBezTo>
                  <a:pt x="4818165" y="2042731"/>
                  <a:pt x="4825310" y="2039931"/>
                  <a:pt x="4832765" y="2038350"/>
                </a:cubicBezTo>
                <a:cubicBezTo>
                  <a:pt x="4834861" y="2038350"/>
                  <a:pt x="4836670" y="2037492"/>
                  <a:pt x="4838194" y="2037302"/>
                </a:cubicBezTo>
                <a:close/>
                <a:moveTo>
                  <a:pt x="4615667" y="2037230"/>
                </a:moveTo>
                <a:cubicBezTo>
                  <a:pt x="4620906" y="2036992"/>
                  <a:pt x="4623073" y="2038111"/>
                  <a:pt x="4620739" y="2040635"/>
                </a:cubicBezTo>
                <a:cubicBezTo>
                  <a:pt x="4606993" y="2049903"/>
                  <a:pt x="4591752" y="2056733"/>
                  <a:pt x="4575685" y="2060829"/>
                </a:cubicBezTo>
                <a:cubicBezTo>
                  <a:pt x="4556635" y="2066448"/>
                  <a:pt x="4542729" y="2067210"/>
                  <a:pt x="4547110" y="2062257"/>
                </a:cubicBezTo>
                <a:cubicBezTo>
                  <a:pt x="4560816" y="2052894"/>
                  <a:pt x="4576068" y="2046027"/>
                  <a:pt x="4592164" y="2041969"/>
                </a:cubicBezTo>
                <a:cubicBezTo>
                  <a:pt x="4602118" y="2039064"/>
                  <a:pt x="4610428" y="2037469"/>
                  <a:pt x="4615667" y="2037230"/>
                </a:cubicBezTo>
                <a:close/>
                <a:moveTo>
                  <a:pt x="118844" y="2036540"/>
                </a:moveTo>
                <a:cubicBezTo>
                  <a:pt x="119130" y="2036159"/>
                  <a:pt x="120559" y="2036540"/>
                  <a:pt x="123035" y="2038445"/>
                </a:cubicBezTo>
                <a:lnTo>
                  <a:pt x="127417" y="2041779"/>
                </a:lnTo>
                <a:cubicBezTo>
                  <a:pt x="129131" y="2043207"/>
                  <a:pt x="131131" y="2044731"/>
                  <a:pt x="133322" y="2046636"/>
                </a:cubicBezTo>
                <a:cubicBezTo>
                  <a:pt x="138371" y="2050732"/>
                  <a:pt x="144276" y="2056161"/>
                  <a:pt x="150563" y="2061305"/>
                </a:cubicBezTo>
                <a:lnTo>
                  <a:pt x="160088" y="2069782"/>
                </a:lnTo>
                <a:cubicBezTo>
                  <a:pt x="161802" y="2071211"/>
                  <a:pt x="163421" y="2072830"/>
                  <a:pt x="165040" y="2074164"/>
                </a:cubicBezTo>
                <a:lnTo>
                  <a:pt x="169898" y="2078355"/>
                </a:lnTo>
                <a:lnTo>
                  <a:pt x="188948" y="2094833"/>
                </a:lnTo>
                <a:lnTo>
                  <a:pt x="197140" y="2102262"/>
                </a:lnTo>
                <a:lnTo>
                  <a:pt x="203807" y="2108454"/>
                </a:lnTo>
                <a:cubicBezTo>
                  <a:pt x="210856" y="2115121"/>
                  <a:pt x="213332" y="2117979"/>
                  <a:pt x="211713" y="2118550"/>
                </a:cubicBezTo>
                <a:cubicBezTo>
                  <a:pt x="205560" y="2116293"/>
                  <a:pt x="199807" y="2113083"/>
                  <a:pt x="194663" y="2109025"/>
                </a:cubicBezTo>
                <a:cubicBezTo>
                  <a:pt x="185138" y="2101977"/>
                  <a:pt x="172661" y="2091975"/>
                  <a:pt x="160945" y="2081879"/>
                </a:cubicBezTo>
                <a:lnTo>
                  <a:pt x="156563" y="2077878"/>
                </a:lnTo>
                <a:lnTo>
                  <a:pt x="152182" y="2073878"/>
                </a:lnTo>
                <a:lnTo>
                  <a:pt x="143895" y="2065972"/>
                </a:lnTo>
                <a:cubicBezTo>
                  <a:pt x="138466" y="2060352"/>
                  <a:pt x="133608" y="2055495"/>
                  <a:pt x="129703" y="2051208"/>
                </a:cubicBezTo>
                <a:lnTo>
                  <a:pt x="126940" y="2048160"/>
                </a:lnTo>
                <a:lnTo>
                  <a:pt x="124559" y="2045398"/>
                </a:lnTo>
                <a:lnTo>
                  <a:pt x="121035" y="2040921"/>
                </a:lnTo>
                <a:cubicBezTo>
                  <a:pt x="119225" y="2038350"/>
                  <a:pt x="118559" y="2036921"/>
                  <a:pt x="118844" y="2036540"/>
                </a:cubicBezTo>
                <a:close/>
                <a:moveTo>
                  <a:pt x="4544646" y="2034433"/>
                </a:moveTo>
                <a:cubicBezTo>
                  <a:pt x="4550706" y="2034207"/>
                  <a:pt x="4553302" y="2035540"/>
                  <a:pt x="4550921" y="2038445"/>
                </a:cubicBezTo>
                <a:cubicBezTo>
                  <a:pt x="4546158" y="2044255"/>
                  <a:pt x="4522917" y="2054733"/>
                  <a:pt x="4500819" y="2061305"/>
                </a:cubicBezTo>
                <a:cubicBezTo>
                  <a:pt x="4478721" y="2067782"/>
                  <a:pt x="4462719" y="2068735"/>
                  <a:pt x="4466053" y="2063400"/>
                </a:cubicBezTo>
                <a:cubicBezTo>
                  <a:pt x="4469387" y="2058067"/>
                  <a:pt x="4494628" y="2046446"/>
                  <a:pt x="4517583" y="2039779"/>
                </a:cubicBezTo>
                <a:cubicBezTo>
                  <a:pt x="4529061" y="2036445"/>
                  <a:pt x="4538586" y="2034659"/>
                  <a:pt x="4544646" y="2034433"/>
                </a:cubicBezTo>
                <a:close/>
                <a:moveTo>
                  <a:pt x="311545" y="2032254"/>
                </a:moveTo>
                <a:cubicBezTo>
                  <a:pt x="313641" y="2031492"/>
                  <a:pt x="315261" y="2032254"/>
                  <a:pt x="319452" y="2034730"/>
                </a:cubicBezTo>
                <a:cubicBezTo>
                  <a:pt x="321547" y="2035683"/>
                  <a:pt x="324119" y="2037016"/>
                  <a:pt x="326975" y="2038636"/>
                </a:cubicBezTo>
                <a:lnTo>
                  <a:pt x="331547" y="2041398"/>
                </a:lnTo>
                <a:lnTo>
                  <a:pt x="336597" y="2044351"/>
                </a:lnTo>
                <a:cubicBezTo>
                  <a:pt x="343169" y="2048161"/>
                  <a:pt x="350217" y="2052542"/>
                  <a:pt x="357646" y="2057209"/>
                </a:cubicBezTo>
                <a:lnTo>
                  <a:pt x="363172" y="2060829"/>
                </a:lnTo>
                <a:lnTo>
                  <a:pt x="368696" y="2064353"/>
                </a:lnTo>
                <a:cubicBezTo>
                  <a:pt x="372411" y="2066639"/>
                  <a:pt x="376125" y="2069020"/>
                  <a:pt x="379744" y="2071497"/>
                </a:cubicBezTo>
                <a:lnTo>
                  <a:pt x="390699" y="2078641"/>
                </a:lnTo>
                <a:lnTo>
                  <a:pt x="396032" y="2082260"/>
                </a:lnTo>
                <a:lnTo>
                  <a:pt x="401081" y="2085594"/>
                </a:lnTo>
                <a:cubicBezTo>
                  <a:pt x="407747" y="2090071"/>
                  <a:pt x="413940" y="2094357"/>
                  <a:pt x="419274" y="2098357"/>
                </a:cubicBezTo>
                <a:cubicBezTo>
                  <a:pt x="422131" y="2100453"/>
                  <a:pt x="424703" y="2102453"/>
                  <a:pt x="426797" y="2104168"/>
                </a:cubicBezTo>
                <a:cubicBezTo>
                  <a:pt x="428893" y="2105882"/>
                  <a:pt x="430512" y="2107216"/>
                  <a:pt x="431750" y="2108454"/>
                </a:cubicBezTo>
                <a:cubicBezTo>
                  <a:pt x="432990" y="2109692"/>
                  <a:pt x="435371" y="2112550"/>
                  <a:pt x="434799" y="2113407"/>
                </a:cubicBezTo>
                <a:cubicBezTo>
                  <a:pt x="434228" y="2114264"/>
                  <a:pt x="432227" y="2114074"/>
                  <a:pt x="428703" y="2113407"/>
                </a:cubicBezTo>
                <a:cubicBezTo>
                  <a:pt x="426503" y="2112788"/>
                  <a:pt x="424340" y="2112064"/>
                  <a:pt x="422225" y="2111216"/>
                </a:cubicBezTo>
                <a:lnTo>
                  <a:pt x="413368" y="2107311"/>
                </a:lnTo>
                <a:cubicBezTo>
                  <a:pt x="406701" y="2104263"/>
                  <a:pt x="399270" y="2100358"/>
                  <a:pt x="391651" y="2096167"/>
                </a:cubicBezTo>
                <a:lnTo>
                  <a:pt x="388697" y="2094452"/>
                </a:lnTo>
                <a:lnTo>
                  <a:pt x="385745" y="2092738"/>
                </a:lnTo>
                <a:lnTo>
                  <a:pt x="379744" y="2089118"/>
                </a:lnTo>
                <a:cubicBezTo>
                  <a:pt x="375648" y="2086642"/>
                  <a:pt x="371649" y="2084070"/>
                  <a:pt x="367648" y="2081403"/>
                </a:cubicBezTo>
                <a:lnTo>
                  <a:pt x="361743" y="2077498"/>
                </a:lnTo>
                <a:lnTo>
                  <a:pt x="355837" y="2073497"/>
                </a:lnTo>
                <a:cubicBezTo>
                  <a:pt x="351931" y="2070735"/>
                  <a:pt x="348122" y="2067877"/>
                  <a:pt x="344503" y="2065115"/>
                </a:cubicBezTo>
                <a:cubicBezTo>
                  <a:pt x="340883" y="2062353"/>
                  <a:pt x="337359" y="2059686"/>
                  <a:pt x="334119" y="2057019"/>
                </a:cubicBezTo>
                <a:lnTo>
                  <a:pt x="329452" y="2053209"/>
                </a:lnTo>
                <a:lnTo>
                  <a:pt x="327262" y="2051304"/>
                </a:lnTo>
                <a:lnTo>
                  <a:pt x="325072" y="2049018"/>
                </a:lnTo>
                <a:cubicBezTo>
                  <a:pt x="313737" y="2038731"/>
                  <a:pt x="309450" y="2033016"/>
                  <a:pt x="311545" y="2032254"/>
                </a:cubicBezTo>
                <a:close/>
                <a:moveTo>
                  <a:pt x="4467326" y="2031575"/>
                </a:moveTo>
                <a:cubicBezTo>
                  <a:pt x="4474482" y="2031325"/>
                  <a:pt x="4477768" y="2032825"/>
                  <a:pt x="4475196" y="2036159"/>
                </a:cubicBezTo>
                <a:cubicBezTo>
                  <a:pt x="4470053" y="2042826"/>
                  <a:pt x="4443192" y="2055018"/>
                  <a:pt x="4418427" y="2062162"/>
                </a:cubicBezTo>
                <a:cubicBezTo>
                  <a:pt x="4393376" y="2069306"/>
                  <a:pt x="4374803" y="2070163"/>
                  <a:pt x="4379089" y="2063876"/>
                </a:cubicBezTo>
                <a:cubicBezTo>
                  <a:pt x="4383375" y="2057590"/>
                  <a:pt x="4410426" y="2044826"/>
                  <a:pt x="4436239" y="2037492"/>
                </a:cubicBezTo>
                <a:cubicBezTo>
                  <a:pt x="4449146" y="2033825"/>
                  <a:pt x="4460171" y="2031825"/>
                  <a:pt x="4467326" y="2031575"/>
                </a:cubicBezTo>
                <a:close/>
                <a:moveTo>
                  <a:pt x="4942397" y="2031492"/>
                </a:moveTo>
                <a:cubicBezTo>
                  <a:pt x="4947064" y="2030444"/>
                  <a:pt x="4949922" y="2031492"/>
                  <a:pt x="4947826" y="2032349"/>
                </a:cubicBezTo>
                <a:cubicBezTo>
                  <a:pt x="4943953" y="2034416"/>
                  <a:pt x="4939821" y="2035950"/>
                  <a:pt x="4935539" y="2036921"/>
                </a:cubicBezTo>
                <a:cubicBezTo>
                  <a:pt x="4930872" y="2038350"/>
                  <a:pt x="4927538" y="2037778"/>
                  <a:pt x="4929253" y="2036445"/>
                </a:cubicBezTo>
                <a:cubicBezTo>
                  <a:pt x="4933384" y="2034197"/>
                  <a:pt x="4937808" y="2032530"/>
                  <a:pt x="4942397" y="2031492"/>
                </a:cubicBezTo>
                <a:close/>
                <a:moveTo>
                  <a:pt x="4787045" y="2030635"/>
                </a:moveTo>
                <a:cubicBezTo>
                  <a:pt x="4798475" y="2027777"/>
                  <a:pt x="4804285" y="2028158"/>
                  <a:pt x="4800665" y="2031587"/>
                </a:cubicBezTo>
                <a:cubicBezTo>
                  <a:pt x="4797760" y="2033835"/>
                  <a:pt x="4794554" y="2035664"/>
                  <a:pt x="4791140" y="2037016"/>
                </a:cubicBezTo>
                <a:cubicBezTo>
                  <a:pt x="4786219" y="2038969"/>
                  <a:pt x="4781195" y="2040655"/>
                  <a:pt x="4776091" y="2042065"/>
                </a:cubicBezTo>
                <a:cubicBezTo>
                  <a:pt x="4764851" y="2045113"/>
                  <a:pt x="4758946" y="2044827"/>
                  <a:pt x="4762375" y="2041398"/>
                </a:cubicBezTo>
                <a:cubicBezTo>
                  <a:pt x="4765235" y="2039064"/>
                  <a:pt x="4768451" y="2037197"/>
                  <a:pt x="4771900" y="2035873"/>
                </a:cubicBezTo>
                <a:cubicBezTo>
                  <a:pt x="4774253" y="2034778"/>
                  <a:pt x="4776670" y="2033816"/>
                  <a:pt x="4779139" y="2033016"/>
                </a:cubicBezTo>
                <a:close/>
                <a:moveTo>
                  <a:pt x="4142679" y="2030063"/>
                </a:moveTo>
                <a:cubicBezTo>
                  <a:pt x="4116104" y="2035969"/>
                  <a:pt x="4105627" y="2033873"/>
                  <a:pt x="4095054" y="2030920"/>
                </a:cubicBezTo>
                <a:cubicBezTo>
                  <a:pt x="4078928" y="2042217"/>
                  <a:pt x="4061207" y="2051047"/>
                  <a:pt x="4042476" y="2057114"/>
                </a:cubicBezTo>
                <a:cubicBezTo>
                  <a:pt x="4050572" y="2056543"/>
                  <a:pt x="4058954" y="2055685"/>
                  <a:pt x="4064860" y="2055685"/>
                </a:cubicBezTo>
                <a:cubicBezTo>
                  <a:pt x="4069991" y="2056057"/>
                  <a:pt x="4075086" y="2056819"/>
                  <a:pt x="4080100" y="2057971"/>
                </a:cubicBezTo>
                <a:cubicBezTo>
                  <a:pt x="4099621" y="2045922"/>
                  <a:pt x="4120667" y="2036531"/>
                  <a:pt x="4142679" y="2030063"/>
                </a:cubicBezTo>
                <a:close/>
                <a:moveTo>
                  <a:pt x="4385280" y="2028658"/>
                </a:moveTo>
                <a:cubicBezTo>
                  <a:pt x="4393686" y="2028301"/>
                  <a:pt x="4397806" y="2029968"/>
                  <a:pt x="4395091" y="2033968"/>
                </a:cubicBezTo>
                <a:cubicBezTo>
                  <a:pt x="4389662" y="2041969"/>
                  <a:pt x="4362706" y="2054066"/>
                  <a:pt x="4334702" y="2062162"/>
                </a:cubicBezTo>
                <a:cubicBezTo>
                  <a:pt x="4306127" y="2070449"/>
                  <a:pt x="4284601" y="2071687"/>
                  <a:pt x="4288982" y="2064067"/>
                </a:cubicBezTo>
                <a:cubicBezTo>
                  <a:pt x="4293364" y="2056447"/>
                  <a:pt x="4320891" y="2043684"/>
                  <a:pt x="4349752" y="2035492"/>
                </a:cubicBezTo>
                <a:cubicBezTo>
                  <a:pt x="4364183" y="2031397"/>
                  <a:pt x="4376875" y="2029015"/>
                  <a:pt x="4385280" y="2028658"/>
                </a:cubicBezTo>
                <a:close/>
                <a:moveTo>
                  <a:pt x="2841991" y="2028539"/>
                </a:moveTo>
                <a:cubicBezTo>
                  <a:pt x="2854871" y="2027758"/>
                  <a:pt x="2867699" y="2030701"/>
                  <a:pt x="2878948" y="2037017"/>
                </a:cubicBezTo>
                <a:cubicBezTo>
                  <a:pt x="2885616" y="2042350"/>
                  <a:pt x="2883714" y="2048732"/>
                  <a:pt x="2874852" y="2055019"/>
                </a:cubicBezTo>
                <a:cubicBezTo>
                  <a:pt x="2860822" y="2063410"/>
                  <a:pt x="2845402" y="2069221"/>
                  <a:pt x="2829323" y="2072164"/>
                </a:cubicBezTo>
                <a:cubicBezTo>
                  <a:pt x="2787795" y="2081689"/>
                  <a:pt x="2746459" y="2080927"/>
                  <a:pt x="2732072" y="2070449"/>
                </a:cubicBezTo>
                <a:cubicBezTo>
                  <a:pt x="2724836" y="2065115"/>
                  <a:pt x="2726550" y="2058543"/>
                  <a:pt x="2735692" y="2052257"/>
                </a:cubicBezTo>
                <a:cubicBezTo>
                  <a:pt x="2750389" y="2043617"/>
                  <a:pt x="2766525" y="2037712"/>
                  <a:pt x="2783316" y="2034826"/>
                </a:cubicBezTo>
                <a:cubicBezTo>
                  <a:pt x="2802567" y="2030444"/>
                  <a:pt x="2822255" y="2028339"/>
                  <a:pt x="2841991" y="2028539"/>
                </a:cubicBezTo>
                <a:close/>
                <a:moveTo>
                  <a:pt x="3971134" y="2028444"/>
                </a:moveTo>
                <a:cubicBezTo>
                  <a:pt x="3961132" y="2038064"/>
                  <a:pt x="3941797" y="2046351"/>
                  <a:pt x="3920175" y="2055209"/>
                </a:cubicBezTo>
                <a:cubicBezTo>
                  <a:pt x="3945130" y="2051494"/>
                  <a:pt x="3955608" y="2053495"/>
                  <a:pt x="3963133" y="2057400"/>
                </a:cubicBezTo>
                <a:cubicBezTo>
                  <a:pt x="3981135" y="2044675"/>
                  <a:pt x="4001122" y="2035016"/>
                  <a:pt x="4022283" y="2028825"/>
                </a:cubicBezTo>
                <a:cubicBezTo>
                  <a:pt x="3994184" y="2034445"/>
                  <a:pt x="3980468" y="2033397"/>
                  <a:pt x="3971134" y="2028444"/>
                </a:cubicBezTo>
                <a:close/>
                <a:moveTo>
                  <a:pt x="1999780" y="2028062"/>
                </a:moveTo>
                <a:cubicBezTo>
                  <a:pt x="2015477" y="2028720"/>
                  <a:pt x="2030927" y="2032177"/>
                  <a:pt x="2045405" y="2038254"/>
                </a:cubicBezTo>
                <a:cubicBezTo>
                  <a:pt x="2055787" y="2043493"/>
                  <a:pt x="2057501" y="2049398"/>
                  <a:pt x="2051786" y="2054732"/>
                </a:cubicBezTo>
                <a:cubicBezTo>
                  <a:pt x="2040423" y="2062295"/>
                  <a:pt x="2027298" y="2066791"/>
                  <a:pt x="2013686" y="2067782"/>
                </a:cubicBezTo>
                <a:cubicBezTo>
                  <a:pt x="1975586" y="2073592"/>
                  <a:pt x="1927962" y="2069496"/>
                  <a:pt x="1907960" y="2058257"/>
                </a:cubicBezTo>
                <a:cubicBezTo>
                  <a:pt x="1898435" y="2052923"/>
                  <a:pt x="1896816" y="2047017"/>
                  <a:pt x="1902721" y="2041874"/>
                </a:cubicBezTo>
                <a:cubicBezTo>
                  <a:pt x="1914285" y="2034711"/>
                  <a:pt x="1927439" y="2030491"/>
                  <a:pt x="1941012" y="2029586"/>
                </a:cubicBezTo>
                <a:cubicBezTo>
                  <a:pt x="1960490" y="2026948"/>
                  <a:pt x="1980197" y="2026434"/>
                  <a:pt x="1999780" y="2028062"/>
                </a:cubicBezTo>
                <a:close/>
                <a:moveTo>
                  <a:pt x="4292924" y="2024931"/>
                </a:moveTo>
                <a:cubicBezTo>
                  <a:pt x="4302079" y="2024681"/>
                  <a:pt x="4306366" y="2026777"/>
                  <a:pt x="4304032" y="2031206"/>
                </a:cubicBezTo>
                <a:cubicBezTo>
                  <a:pt x="4299365" y="2040064"/>
                  <a:pt x="4272314" y="2052732"/>
                  <a:pt x="4240310" y="2062067"/>
                </a:cubicBezTo>
                <a:cubicBezTo>
                  <a:pt x="4208306" y="2071401"/>
                  <a:pt x="4184303" y="2072830"/>
                  <a:pt x="4187256" y="2064734"/>
                </a:cubicBezTo>
                <a:cubicBezTo>
                  <a:pt x="4190208" y="2056352"/>
                  <a:pt x="4218307" y="2042636"/>
                  <a:pt x="4252597" y="2032730"/>
                </a:cubicBezTo>
                <a:cubicBezTo>
                  <a:pt x="4269742" y="2027777"/>
                  <a:pt x="4283768" y="2025181"/>
                  <a:pt x="4292924" y="2024931"/>
                </a:cubicBezTo>
                <a:close/>
                <a:moveTo>
                  <a:pt x="3833497" y="2024634"/>
                </a:moveTo>
                <a:cubicBezTo>
                  <a:pt x="3822448" y="2036540"/>
                  <a:pt x="3798064" y="2047113"/>
                  <a:pt x="3764251" y="2058257"/>
                </a:cubicBezTo>
                <a:cubicBezTo>
                  <a:pt x="3799398" y="2050542"/>
                  <a:pt x="3819400" y="2050161"/>
                  <a:pt x="3830449" y="2054352"/>
                </a:cubicBezTo>
                <a:cubicBezTo>
                  <a:pt x="3839022" y="2049494"/>
                  <a:pt x="3846737" y="2044446"/>
                  <a:pt x="3855976" y="2039969"/>
                </a:cubicBezTo>
                <a:cubicBezTo>
                  <a:pt x="3865216" y="2035492"/>
                  <a:pt x="3877312" y="2031111"/>
                  <a:pt x="3886837" y="2027206"/>
                </a:cubicBezTo>
                <a:cubicBezTo>
                  <a:pt x="3876074" y="2027872"/>
                  <a:pt x="3863406" y="2029111"/>
                  <a:pt x="3854833" y="2029111"/>
                </a:cubicBezTo>
                <a:cubicBezTo>
                  <a:pt x="3847582" y="2028387"/>
                  <a:pt x="3840429" y="2026882"/>
                  <a:pt x="3833497" y="2024634"/>
                </a:cubicBezTo>
                <a:close/>
                <a:moveTo>
                  <a:pt x="4902583" y="2023491"/>
                </a:moveTo>
                <a:cubicBezTo>
                  <a:pt x="4910013" y="2021776"/>
                  <a:pt x="4914013" y="2022157"/>
                  <a:pt x="4912108" y="2024253"/>
                </a:cubicBezTo>
                <a:cubicBezTo>
                  <a:pt x="4906736" y="2027482"/>
                  <a:pt x="4900835" y="2029739"/>
                  <a:pt x="4894677" y="2030920"/>
                </a:cubicBezTo>
                <a:cubicBezTo>
                  <a:pt x="4886867" y="2032635"/>
                  <a:pt x="4882771" y="2032539"/>
                  <a:pt x="4885057" y="2030349"/>
                </a:cubicBezTo>
                <a:cubicBezTo>
                  <a:pt x="4887145" y="2028796"/>
                  <a:pt x="4889458" y="2027577"/>
                  <a:pt x="4891915" y="2026729"/>
                </a:cubicBezTo>
                <a:cubicBezTo>
                  <a:pt x="4895390" y="2025396"/>
                  <a:pt x="4898954" y="2024319"/>
                  <a:pt x="4902583" y="2023491"/>
                </a:cubicBezTo>
                <a:close/>
                <a:moveTo>
                  <a:pt x="4740372" y="2023396"/>
                </a:moveTo>
                <a:cubicBezTo>
                  <a:pt x="4753802" y="2019776"/>
                  <a:pt x="4761041" y="2020157"/>
                  <a:pt x="4757231" y="2024158"/>
                </a:cubicBezTo>
                <a:cubicBezTo>
                  <a:pt x="4748684" y="2030349"/>
                  <a:pt x="4738959" y="2034721"/>
                  <a:pt x="4728656" y="2037016"/>
                </a:cubicBezTo>
                <a:cubicBezTo>
                  <a:pt x="4725354" y="2037902"/>
                  <a:pt x="4722401" y="2038569"/>
                  <a:pt x="4719798" y="2039017"/>
                </a:cubicBezTo>
                <a:cubicBezTo>
                  <a:pt x="4717728" y="2039455"/>
                  <a:pt x="4715625" y="2039702"/>
                  <a:pt x="4713512" y="2039779"/>
                </a:cubicBezTo>
                <a:cubicBezTo>
                  <a:pt x="4710654" y="2039779"/>
                  <a:pt x="4709511" y="2038826"/>
                  <a:pt x="4711035" y="2036826"/>
                </a:cubicBezTo>
                <a:cubicBezTo>
                  <a:pt x="4712235" y="2035549"/>
                  <a:pt x="4713614" y="2034464"/>
                  <a:pt x="4715131" y="2033587"/>
                </a:cubicBezTo>
                <a:cubicBezTo>
                  <a:pt x="4717263" y="2032168"/>
                  <a:pt x="4719528" y="2030958"/>
                  <a:pt x="4721894" y="2029968"/>
                </a:cubicBezTo>
                <a:cubicBezTo>
                  <a:pt x="4727873" y="2027301"/>
                  <a:pt x="4734051" y="2025101"/>
                  <a:pt x="4740372" y="2023396"/>
                </a:cubicBezTo>
                <a:close/>
                <a:moveTo>
                  <a:pt x="2562966" y="2015681"/>
                </a:moveTo>
                <a:cubicBezTo>
                  <a:pt x="2581838" y="2016466"/>
                  <a:pt x="2597530" y="2019586"/>
                  <a:pt x="2605007" y="2024824"/>
                </a:cubicBezTo>
                <a:cubicBezTo>
                  <a:pt x="2619962" y="2035302"/>
                  <a:pt x="2599007" y="2050828"/>
                  <a:pt x="2560716" y="2058829"/>
                </a:cubicBezTo>
                <a:cubicBezTo>
                  <a:pt x="2522426" y="2066830"/>
                  <a:pt x="2475086" y="2065210"/>
                  <a:pt x="2458894" y="2055114"/>
                </a:cubicBezTo>
                <a:cubicBezTo>
                  <a:pt x="2450512" y="2049970"/>
                  <a:pt x="2451274" y="2043398"/>
                  <a:pt x="2458894" y="2037016"/>
                </a:cubicBezTo>
                <a:cubicBezTo>
                  <a:pt x="2471876" y="2028520"/>
                  <a:pt x="2486516" y="2022900"/>
                  <a:pt x="2501852" y="2020538"/>
                </a:cubicBezTo>
                <a:cubicBezTo>
                  <a:pt x="2522044" y="2016443"/>
                  <a:pt x="2544095" y="2014895"/>
                  <a:pt x="2562966" y="2015681"/>
                </a:cubicBezTo>
                <a:close/>
                <a:moveTo>
                  <a:pt x="4864388" y="2013299"/>
                </a:moveTo>
                <a:cubicBezTo>
                  <a:pt x="4873913" y="2011013"/>
                  <a:pt x="4878771" y="2011585"/>
                  <a:pt x="4875151" y="2014633"/>
                </a:cubicBezTo>
                <a:cubicBezTo>
                  <a:pt x="4868498" y="2018814"/>
                  <a:pt x="4861139" y="2021748"/>
                  <a:pt x="4853434" y="2023300"/>
                </a:cubicBezTo>
                <a:cubicBezTo>
                  <a:pt x="4843528" y="2026063"/>
                  <a:pt x="4838575" y="2025777"/>
                  <a:pt x="4841718" y="2022824"/>
                </a:cubicBezTo>
                <a:cubicBezTo>
                  <a:pt x="4848603" y="2018242"/>
                  <a:pt x="4856296" y="2015004"/>
                  <a:pt x="4864388" y="2013299"/>
                </a:cubicBezTo>
                <a:close/>
                <a:moveTo>
                  <a:pt x="4705452" y="2012941"/>
                </a:moveTo>
                <a:cubicBezTo>
                  <a:pt x="4708869" y="2013156"/>
                  <a:pt x="4709797" y="2014537"/>
                  <a:pt x="4707511" y="2017013"/>
                </a:cubicBezTo>
                <a:cubicBezTo>
                  <a:pt x="4697356" y="2024652"/>
                  <a:pt x="4685705" y="2030072"/>
                  <a:pt x="4673317" y="2032920"/>
                </a:cubicBezTo>
                <a:cubicBezTo>
                  <a:pt x="4670024" y="2033854"/>
                  <a:pt x="4666685" y="2034616"/>
                  <a:pt x="4663315" y="2035206"/>
                </a:cubicBezTo>
                <a:cubicBezTo>
                  <a:pt x="4662047" y="2035282"/>
                  <a:pt x="4660774" y="2035282"/>
                  <a:pt x="4659505" y="2035206"/>
                </a:cubicBezTo>
                <a:lnTo>
                  <a:pt x="4657600" y="2035206"/>
                </a:lnTo>
                <a:lnTo>
                  <a:pt x="4655600" y="2035206"/>
                </a:lnTo>
                <a:cubicBezTo>
                  <a:pt x="4651695" y="2036063"/>
                  <a:pt x="4650457" y="2034825"/>
                  <a:pt x="4653028" y="2032253"/>
                </a:cubicBezTo>
                <a:cubicBezTo>
                  <a:pt x="4653775" y="2031463"/>
                  <a:pt x="4654606" y="2030768"/>
                  <a:pt x="4655505" y="2030158"/>
                </a:cubicBezTo>
                <a:lnTo>
                  <a:pt x="4657219" y="2029110"/>
                </a:lnTo>
                <a:lnTo>
                  <a:pt x="4658743" y="2028062"/>
                </a:lnTo>
                <a:cubicBezTo>
                  <a:pt x="4661311" y="2026453"/>
                  <a:pt x="4663984" y="2025024"/>
                  <a:pt x="4666744" y="2023776"/>
                </a:cubicBezTo>
                <a:cubicBezTo>
                  <a:pt x="4673764" y="2020576"/>
                  <a:pt x="4681026" y="2017928"/>
                  <a:pt x="4688461" y="2015870"/>
                </a:cubicBezTo>
                <a:cubicBezTo>
                  <a:pt x="4696129" y="2013680"/>
                  <a:pt x="4702035" y="2012727"/>
                  <a:pt x="4705452" y="2012941"/>
                </a:cubicBezTo>
                <a:close/>
                <a:moveTo>
                  <a:pt x="4973449" y="2009775"/>
                </a:moveTo>
                <a:cubicBezTo>
                  <a:pt x="4979831" y="2008346"/>
                  <a:pt x="4982974" y="2008632"/>
                  <a:pt x="4980878" y="2010346"/>
                </a:cubicBezTo>
                <a:cubicBezTo>
                  <a:pt x="4976479" y="2012975"/>
                  <a:pt x="4971637" y="2014785"/>
                  <a:pt x="4966591" y="2015680"/>
                </a:cubicBezTo>
                <a:cubicBezTo>
                  <a:pt x="4960209" y="2017109"/>
                  <a:pt x="4957066" y="2016823"/>
                  <a:pt x="4959066" y="2015109"/>
                </a:cubicBezTo>
                <a:cubicBezTo>
                  <a:pt x="4963486" y="2012451"/>
                  <a:pt x="4968363" y="2010642"/>
                  <a:pt x="4973449" y="2009775"/>
                </a:cubicBezTo>
                <a:close/>
                <a:moveTo>
                  <a:pt x="414706" y="2008060"/>
                </a:moveTo>
                <a:cubicBezTo>
                  <a:pt x="416039" y="2007394"/>
                  <a:pt x="418706" y="2008060"/>
                  <a:pt x="422992" y="2009299"/>
                </a:cubicBezTo>
                <a:cubicBezTo>
                  <a:pt x="425088" y="2009965"/>
                  <a:pt x="427468" y="2011013"/>
                  <a:pt x="430327" y="2012156"/>
                </a:cubicBezTo>
                <a:cubicBezTo>
                  <a:pt x="433184" y="2013299"/>
                  <a:pt x="436137" y="2014728"/>
                  <a:pt x="439851" y="2016442"/>
                </a:cubicBezTo>
                <a:lnTo>
                  <a:pt x="450996" y="2022157"/>
                </a:lnTo>
                <a:lnTo>
                  <a:pt x="456997" y="2025396"/>
                </a:lnTo>
                <a:lnTo>
                  <a:pt x="460139" y="2027110"/>
                </a:lnTo>
                <a:lnTo>
                  <a:pt x="463188" y="2028730"/>
                </a:lnTo>
                <a:cubicBezTo>
                  <a:pt x="471570" y="2033206"/>
                  <a:pt x="480330" y="2038255"/>
                  <a:pt x="489000" y="2043112"/>
                </a:cubicBezTo>
                <a:cubicBezTo>
                  <a:pt x="497668" y="2047970"/>
                  <a:pt x="505859" y="2052637"/>
                  <a:pt x="513479" y="2057400"/>
                </a:cubicBezTo>
                <a:lnTo>
                  <a:pt x="524052" y="2063972"/>
                </a:lnTo>
                <a:cubicBezTo>
                  <a:pt x="527100" y="2065972"/>
                  <a:pt x="530054" y="2067973"/>
                  <a:pt x="532720" y="2069782"/>
                </a:cubicBezTo>
                <a:cubicBezTo>
                  <a:pt x="543102" y="2077021"/>
                  <a:pt x="547483" y="2081974"/>
                  <a:pt x="545959" y="2083975"/>
                </a:cubicBezTo>
                <a:cubicBezTo>
                  <a:pt x="544436" y="2085975"/>
                  <a:pt x="537292" y="2085022"/>
                  <a:pt x="524719" y="2080546"/>
                </a:cubicBezTo>
                <a:cubicBezTo>
                  <a:pt x="521385" y="2079403"/>
                  <a:pt x="517671" y="2077974"/>
                  <a:pt x="513670" y="2076259"/>
                </a:cubicBezTo>
                <a:cubicBezTo>
                  <a:pt x="509670" y="2074545"/>
                  <a:pt x="505384" y="2072545"/>
                  <a:pt x="500906" y="2070449"/>
                </a:cubicBezTo>
                <a:cubicBezTo>
                  <a:pt x="492047" y="2066163"/>
                  <a:pt x="482809" y="2060924"/>
                  <a:pt x="473379" y="2055876"/>
                </a:cubicBezTo>
                <a:cubicBezTo>
                  <a:pt x="468712" y="2053209"/>
                  <a:pt x="463854" y="2050447"/>
                  <a:pt x="459758" y="2047684"/>
                </a:cubicBezTo>
                <a:lnTo>
                  <a:pt x="453185" y="2043589"/>
                </a:lnTo>
                <a:lnTo>
                  <a:pt x="446806" y="2039302"/>
                </a:lnTo>
                <a:cubicBezTo>
                  <a:pt x="438612" y="2033683"/>
                  <a:pt x="431469" y="2028349"/>
                  <a:pt x="426039" y="2023777"/>
                </a:cubicBezTo>
                <a:lnTo>
                  <a:pt x="422516" y="2020538"/>
                </a:lnTo>
                <a:cubicBezTo>
                  <a:pt x="421468" y="2019662"/>
                  <a:pt x="420477" y="2018700"/>
                  <a:pt x="419562" y="2017681"/>
                </a:cubicBezTo>
                <a:cubicBezTo>
                  <a:pt x="418077" y="2016242"/>
                  <a:pt x="416706" y="2014680"/>
                  <a:pt x="415467" y="2013013"/>
                </a:cubicBezTo>
                <a:cubicBezTo>
                  <a:pt x="413656" y="2010346"/>
                  <a:pt x="413372" y="2008727"/>
                  <a:pt x="414706" y="2008060"/>
                </a:cubicBezTo>
                <a:close/>
                <a:moveTo>
                  <a:pt x="3652391" y="2007775"/>
                </a:moveTo>
                <a:cubicBezTo>
                  <a:pt x="3667358" y="2007561"/>
                  <a:pt x="3677192" y="2010252"/>
                  <a:pt x="3678811" y="2015871"/>
                </a:cubicBezTo>
                <a:cubicBezTo>
                  <a:pt x="3682050" y="2027111"/>
                  <a:pt x="3652903" y="2043589"/>
                  <a:pt x="3610517" y="2055114"/>
                </a:cubicBezTo>
                <a:cubicBezTo>
                  <a:pt x="3568036" y="2066544"/>
                  <a:pt x="3532320" y="2067497"/>
                  <a:pt x="3527083" y="2057019"/>
                </a:cubicBezTo>
                <a:cubicBezTo>
                  <a:pt x="3521844" y="2046542"/>
                  <a:pt x="3550891" y="2029111"/>
                  <a:pt x="3595182" y="2017109"/>
                </a:cubicBezTo>
                <a:cubicBezTo>
                  <a:pt x="3617328" y="2011109"/>
                  <a:pt x="3637425" y="2007989"/>
                  <a:pt x="3652391" y="2007775"/>
                </a:cubicBezTo>
                <a:close/>
                <a:moveTo>
                  <a:pt x="4645980" y="2005489"/>
                </a:moveTo>
                <a:lnTo>
                  <a:pt x="4648457" y="2005489"/>
                </a:lnTo>
                <a:lnTo>
                  <a:pt x="4650457" y="2005489"/>
                </a:lnTo>
                <a:cubicBezTo>
                  <a:pt x="4654743" y="2005489"/>
                  <a:pt x="4656267" y="2007204"/>
                  <a:pt x="4654076" y="2010061"/>
                </a:cubicBezTo>
                <a:cubicBezTo>
                  <a:pt x="4653419" y="2010861"/>
                  <a:pt x="4652686" y="2011595"/>
                  <a:pt x="4651886" y="2012252"/>
                </a:cubicBezTo>
                <a:cubicBezTo>
                  <a:pt x="4650609" y="2013195"/>
                  <a:pt x="4649273" y="2014052"/>
                  <a:pt x="4647885" y="2014823"/>
                </a:cubicBezTo>
                <a:cubicBezTo>
                  <a:pt x="4644284" y="2016938"/>
                  <a:pt x="4640562" y="2018853"/>
                  <a:pt x="4636741" y="2020538"/>
                </a:cubicBezTo>
                <a:cubicBezTo>
                  <a:pt x="4626854" y="2024720"/>
                  <a:pt x="4616704" y="2028254"/>
                  <a:pt x="4606356" y="2031111"/>
                </a:cubicBezTo>
                <a:cubicBezTo>
                  <a:pt x="4584449" y="2037588"/>
                  <a:pt x="4571780" y="2037969"/>
                  <a:pt x="4576829" y="2032159"/>
                </a:cubicBezTo>
                <a:cubicBezTo>
                  <a:pt x="4581877" y="2026349"/>
                  <a:pt x="4602737" y="2016824"/>
                  <a:pt x="4625406" y="2010252"/>
                </a:cubicBezTo>
                <a:cubicBezTo>
                  <a:pt x="4631026" y="2008537"/>
                  <a:pt x="4635979" y="2007299"/>
                  <a:pt x="4640265" y="2006441"/>
                </a:cubicBezTo>
                <a:cubicBezTo>
                  <a:pt x="4642361" y="2006441"/>
                  <a:pt x="4644266" y="2005679"/>
                  <a:pt x="4645980" y="2005489"/>
                </a:cubicBezTo>
                <a:close/>
                <a:moveTo>
                  <a:pt x="4818954" y="2004536"/>
                </a:moveTo>
                <a:cubicBezTo>
                  <a:pt x="4831051" y="2001392"/>
                  <a:pt x="4837051" y="2001964"/>
                  <a:pt x="4833622" y="2005488"/>
                </a:cubicBezTo>
                <a:cubicBezTo>
                  <a:pt x="4830568" y="2008069"/>
                  <a:pt x="4827086" y="2010098"/>
                  <a:pt x="4823335" y="2011489"/>
                </a:cubicBezTo>
                <a:cubicBezTo>
                  <a:pt x="4817870" y="2013822"/>
                  <a:pt x="4812234" y="2015737"/>
                  <a:pt x="4806476" y="2017204"/>
                </a:cubicBezTo>
                <a:cubicBezTo>
                  <a:pt x="4794570" y="2020252"/>
                  <a:pt x="4788950" y="2019966"/>
                  <a:pt x="4791617" y="2016442"/>
                </a:cubicBezTo>
                <a:cubicBezTo>
                  <a:pt x="4799763" y="2010546"/>
                  <a:pt x="4809089" y="2006488"/>
                  <a:pt x="4818954" y="2004536"/>
                </a:cubicBezTo>
                <a:close/>
                <a:moveTo>
                  <a:pt x="3477305" y="2001036"/>
                </a:moveTo>
                <a:cubicBezTo>
                  <a:pt x="3493581" y="2000798"/>
                  <a:pt x="3505556" y="2003251"/>
                  <a:pt x="3509176" y="2008442"/>
                </a:cubicBezTo>
                <a:cubicBezTo>
                  <a:pt x="3516413" y="2018824"/>
                  <a:pt x="3486317" y="2037017"/>
                  <a:pt x="3444985" y="2048256"/>
                </a:cubicBezTo>
                <a:cubicBezTo>
                  <a:pt x="3403661" y="2059496"/>
                  <a:pt x="3362430" y="2059972"/>
                  <a:pt x="3355477" y="2049590"/>
                </a:cubicBezTo>
                <a:cubicBezTo>
                  <a:pt x="3348525" y="2039207"/>
                  <a:pt x="3377665" y="2021110"/>
                  <a:pt x="3419662" y="2009775"/>
                </a:cubicBezTo>
                <a:cubicBezTo>
                  <a:pt x="3440464" y="2004203"/>
                  <a:pt x="3461033" y="2001274"/>
                  <a:pt x="3477305" y="2001036"/>
                </a:cubicBezTo>
                <a:close/>
                <a:moveTo>
                  <a:pt x="4580102" y="2001012"/>
                </a:moveTo>
                <a:cubicBezTo>
                  <a:pt x="4586663" y="2000726"/>
                  <a:pt x="4589449" y="2002203"/>
                  <a:pt x="4586925" y="2005489"/>
                </a:cubicBezTo>
                <a:cubicBezTo>
                  <a:pt x="4581876" y="2012061"/>
                  <a:pt x="4558350" y="2022824"/>
                  <a:pt x="4534251" y="2030063"/>
                </a:cubicBezTo>
                <a:cubicBezTo>
                  <a:pt x="4510153" y="2037302"/>
                  <a:pt x="4493675" y="2038350"/>
                  <a:pt x="4497675" y="2032063"/>
                </a:cubicBezTo>
                <a:cubicBezTo>
                  <a:pt x="4501962" y="2025586"/>
                  <a:pt x="4525488" y="2014632"/>
                  <a:pt x="4550634" y="2007108"/>
                </a:cubicBezTo>
                <a:cubicBezTo>
                  <a:pt x="4563207" y="2003346"/>
                  <a:pt x="4573542" y="2001298"/>
                  <a:pt x="4580102" y="2001012"/>
                </a:cubicBezTo>
                <a:close/>
                <a:moveTo>
                  <a:pt x="4938492" y="1998250"/>
                </a:moveTo>
                <a:cubicBezTo>
                  <a:pt x="4946112" y="1996535"/>
                  <a:pt x="4950970" y="1997107"/>
                  <a:pt x="4948684" y="1999202"/>
                </a:cubicBezTo>
                <a:cubicBezTo>
                  <a:pt x="4946178" y="2000974"/>
                  <a:pt x="4943415" y="2002355"/>
                  <a:pt x="4940492" y="2003298"/>
                </a:cubicBezTo>
                <a:cubicBezTo>
                  <a:pt x="4936423" y="2004870"/>
                  <a:pt x="4932255" y="2006175"/>
                  <a:pt x="4928014" y="2007203"/>
                </a:cubicBezTo>
                <a:cubicBezTo>
                  <a:pt x="4920490" y="2008918"/>
                  <a:pt x="4915537" y="2008537"/>
                  <a:pt x="4917727" y="2006441"/>
                </a:cubicBezTo>
                <a:cubicBezTo>
                  <a:pt x="4924118" y="2002517"/>
                  <a:pt x="4931145" y="1999745"/>
                  <a:pt x="4938492" y="1998250"/>
                </a:cubicBezTo>
                <a:close/>
                <a:moveTo>
                  <a:pt x="4501259" y="1996416"/>
                </a:moveTo>
                <a:cubicBezTo>
                  <a:pt x="4508653" y="1996202"/>
                  <a:pt x="4511963" y="1997916"/>
                  <a:pt x="4509581" y="2001488"/>
                </a:cubicBezTo>
                <a:cubicBezTo>
                  <a:pt x="4504819" y="2008632"/>
                  <a:pt x="4477387" y="2021586"/>
                  <a:pt x="4450240" y="2029491"/>
                </a:cubicBezTo>
                <a:cubicBezTo>
                  <a:pt x="4423094" y="2037397"/>
                  <a:pt x="4404901" y="2038350"/>
                  <a:pt x="4408711" y="2031492"/>
                </a:cubicBezTo>
                <a:cubicBezTo>
                  <a:pt x="4412712" y="2024443"/>
                  <a:pt x="4440525" y="2011203"/>
                  <a:pt x="4468433" y="2002917"/>
                </a:cubicBezTo>
                <a:cubicBezTo>
                  <a:pt x="4482387" y="1998774"/>
                  <a:pt x="4493865" y="1996630"/>
                  <a:pt x="4501259" y="1996416"/>
                </a:cubicBezTo>
                <a:close/>
                <a:moveTo>
                  <a:pt x="5046791" y="1996249"/>
                </a:moveTo>
                <a:cubicBezTo>
                  <a:pt x="5051839" y="1995392"/>
                  <a:pt x="5053840" y="1995678"/>
                  <a:pt x="5051935" y="1997011"/>
                </a:cubicBezTo>
                <a:cubicBezTo>
                  <a:pt x="5048440" y="1998945"/>
                  <a:pt x="5044639" y="2000269"/>
                  <a:pt x="5040695" y="2000917"/>
                </a:cubicBezTo>
                <a:cubicBezTo>
                  <a:pt x="5035647" y="2002250"/>
                  <a:pt x="5033647" y="2002060"/>
                  <a:pt x="5035552" y="2000250"/>
                </a:cubicBezTo>
                <a:cubicBezTo>
                  <a:pt x="5039003" y="1998202"/>
                  <a:pt x="5042820" y="1996840"/>
                  <a:pt x="5046791" y="1996249"/>
                </a:cubicBezTo>
                <a:close/>
                <a:moveTo>
                  <a:pt x="4769900" y="1995964"/>
                </a:moveTo>
                <a:cubicBezTo>
                  <a:pt x="4783711" y="1992535"/>
                  <a:pt x="4791903" y="1993296"/>
                  <a:pt x="4787712" y="1997487"/>
                </a:cubicBezTo>
                <a:cubicBezTo>
                  <a:pt x="4783852" y="2000640"/>
                  <a:pt x="4779511" y="2003145"/>
                  <a:pt x="4774853" y="2004917"/>
                </a:cubicBezTo>
                <a:cubicBezTo>
                  <a:pt x="4768467" y="2007736"/>
                  <a:pt x="4761875" y="2010060"/>
                  <a:pt x="4755136" y="2011870"/>
                </a:cubicBezTo>
                <a:cubicBezTo>
                  <a:pt x="4741706" y="2015490"/>
                  <a:pt x="4733324" y="2015014"/>
                  <a:pt x="4737134" y="2010822"/>
                </a:cubicBezTo>
                <a:cubicBezTo>
                  <a:pt x="4746963" y="2003745"/>
                  <a:pt x="4758101" y="1998697"/>
                  <a:pt x="4769900" y="1995964"/>
                </a:cubicBezTo>
                <a:close/>
                <a:moveTo>
                  <a:pt x="3278713" y="1995583"/>
                </a:moveTo>
                <a:cubicBezTo>
                  <a:pt x="3295762" y="1995583"/>
                  <a:pt x="3308525" y="1998536"/>
                  <a:pt x="3312048" y="2004060"/>
                </a:cubicBezTo>
                <a:cubicBezTo>
                  <a:pt x="3319096" y="2014728"/>
                  <a:pt x="3289952" y="2032635"/>
                  <a:pt x="3250045" y="2043017"/>
                </a:cubicBezTo>
                <a:cubicBezTo>
                  <a:pt x="3240159" y="2045465"/>
                  <a:pt x="3230147" y="2047342"/>
                  <a:pt x="3220041" y="2048637"/>
                </a:cubicBezTo>
                <a:cubicBezTo>
                  <a:pt x="3210821" y="2049837"/>
                  <a:pt x="3201535" y="2050476"/>
                  <a:pt x="3192228" y="2050542"/>
                </a:cubicBezTo>
                <a:cubicBezTo>
                  <a:pt x="3175369" y="2050542"/>
                  <a:pt x="3162320" y="2047875"/>
                  <a:pt x="3157843" y="2042827"/>
                </a:cubicBezTo>
                <a:cubicBezTo>
                  <a:pt x="3148319" y="2032254"/>
                  <a:pt x="3177465" y="2013585"/>
                  <a:pt x="3219278" y="2003108"/>
                </a:cubicBezTo>
                <a:cubicBezTo>
                  <a:pt x="3238709" y="1998174"/>
                  <a:pt x="3258674" y="1995650"/>
                  <a:pt x="3278713" y="1995583"/>
                </a:cubicBezTo>
                <a:close/>
                <a:moveTo>
                  <a:pt x="4413141" y="1993392"/>
                </a:moveTo>
                <a:cubicBezTo>
                  <a:pt x="4421999" y="1993106"/>
                  <a:pt x="4426476" y="1994916"/>
                  <a:pt x="4424237" y="1998821"/>
                </a:cubicBezTo>
                <a:cubicBezTo>
                  <a:pt x="4419760" y="2006632"/>
                  <a:pt x="4389852" y="2021015"/>
                  <a:pt x="4360420" y="2029682"/>
                </a:cubicBezTo>
                <a:cubicBezTo>
                  <a:pt x="4330987" y="2038350"/>
                  <a:pt x="4308223" y="2039303"/>
                  <a:pt x="4311556" y="2031873"/>
                </a:cubicBezTo>
                <a:cubicBezTo>
                  <a:pt x="4314985" y="2024253"/>
                  <a:pt x="4345180" y="2009490"/>
                  <a:pt x="4375755" y="2000536"/>
                </a:cubicBezTo>
                <a:cubicBezTo>
                  <a:pt x="4391043" y="1996059"/>
                  <a:pt x="4404282" y="1993678"/>
                  <a:pt x="4413141" y="1993392"/>
                </a:cubicBezTo>
                <a:close/>
                <a:moveTo>
                  <a:pt x="2245885" y="1990260"/>
                </a:moveTo>
                <a:cubicBezTo>
                  <a:pt x="2264649" y="1991534"/>
                  <a:pt x="2280627" y="1995201"/>
                  <a:pt x="2290200" y="2001011"/>
                </a:cubicBezTo>
                <a:cubicBezTo>
                  <a:pt x="2309345" y="2012632"/>
                  <a:pt x="2292962" y="2024919"/>
                  <a:pt x="2254767" y="2032253"/>
                </a:cubicBezTo>
                <a:cubicBezTo>
                  <a:pt x="2235183" y="2035911"/>
                  <a:pt x="2215219" y="2037159"/>
                  <a:pt x="2195329" y="2035968"/>
                </a:cubicBezTo>
                <a:cubicBezTo>
                  <a:pt x="2179851" y="2035635"/>
                  <a:pt x="2164611" y="2032101"/>
                  <a:pt x="2150562" y="2025586"/>
                </a:cubicBezTo>
                <a:cubicBezTo>
                  <a:pt x="2141038" y="2020061"/>
                  <a:pt x="2139322" y="2013870"/>
                  <a:pt x="2145418" y="2008250"/>
                </a:cubicBezTo>
                <a:cubicBezTo>
                  <a:pt x="2157191" y="2000316"/>
                  <a:pt x="2170736" y="1995373"/>
                  <a:pt x="2184852" y="1993868"/>
                </a:cubicBezTo>
                <a:cubicBezTo>
                  <a:pt x="2205571" y="1990106"/>
                  <a:pt x="2227121" y="1988986"/>
                  <a:pt x="2245885" y="1990260"/>
                </a:cubicBezTo>
                <a:close/>
                <a:moveTo>
                  <a:pt x="1261681" y="1988534"/>
                </a:moveTo>
                <a:cubicBezTo>
                  <a:pt x="1296923" y="1987963"/>
                  <a:pt x="1340643" y="1996440"/>
                  <a:pt x="1363694" y="2008537"/>
                </a:cubicBezTo>
                <a:cubicBezTo>
                  <a:pt x="1374266" y="2014061"/>
                  <a:pt x="1377600" y="2019014"/>
                  <a:pt x="1374266" y="2022920"/>
                </a:cubicBezTo>
                <a:cubicBezTo>
                  <a:pt x="1370932" y="2026825"/>
                  <a:pt x="1361026" y="2029492"/>
                  <a:pt x="1345024" y="2030349"/>
                </a:cubicBezTo>
                <a:cubicBezTo>
                  <a:pt x="1310039" y="2031911"/>
                  <a:pt x="1275168" y="2025387"/>
                  <a:pt x="1243108" y="2011299"/>
                </a:cubicBezTo>
                <a:cubicBezTo>
                  <a:pt x="1217771" y="1998726"/>
                  <a:pt x="1225676" y="1989011"/>
                  <a:pt x="1261681" y="1988534"/>
                </a:cubicBezTo>
                <a:close/>
                <a:moveTo>
                  <a:pt x="4318522" y="1988213"/>
                </a:moveTo>
                <a:cubicBezTo>
                  <a:pt x="4327892" y="1988105"/>
                  <a:pt x="4332179" y="1990487"/>
                  <a:pt x="4329654" y="1995297"/>
                </a:cubicBezTo>
                <a:cubicBezTo>
                  <a:pt x="4324606" y="2004917"/>
                  <a:pt x="4295460" y="2018823"/>
                  <a:pt x="4261170" y="2028634"/>
                </a:cubicBezTo>
                <a:cubicBezTo>
                  <a:pt x="4226880" y="2038445"/>
                  <a:pt x="4204305" y="2039016"/>
                  <a:pt x="4207925" y="2030063"/>
                </a:cubicBezTo>
                <a:cubicBezTo>
                  <a:pt x="4211640" y="2020538"/>
                  <a:pt x="4241262" y="2006346"/>
                  <a:pt x="4276886" y="1996059"/>
                </a:cubicBezTo>
                <a:cubicBezTo>
                  <a:pt x="4294698" y="1990916"/>
                  <a:pt x="4309152" y="1988320"/>
                  <a:pt x="4318522" y="1988213"/>
                </a:cubicBezTo>
                <a:close/>
                <a:moveTo>
                  <a:pt x="4897154" y="1988058"/>
                </a:moveTo>
                <a:cubicBezTo>
                  <a:pt x="4906679" y="1986057"/>
                  <a:pt x="4912394" y="1986915"/>
                  <a:pt x="4908774" y="1989963"/>
                </a:cubicBezTo>
                <a:cubicBezTo>
                  <a:pt x="4905342" y="1992268"/>
                  <a:pt x="4901629" y="1994125"/>
                  <a:pt x="4897725" y="1995487"/>
                </a:cubicBezTo>
                <a:cubicBezTo>
                  <a:pt x="4895249" y="1996440"/>
                  <a:pt x="4892582" y="1997297"/>
                  <a:pt x="4889915" y="1998154"/>
                </a:cubicBezTo>
                <a:lnTo>
                  <a:pt x="4882104" y="2000154"/>
                </a:lnTo>
                <a:cubicBezTo>
                  <a:pt x="4872484" y="2002345"/>
                  <a:pt x="4866959" y="2001583"/>
                  <a:pt x="4870293" y="1998630"/>
                </a:cubicBezTo>
                <a:cubicBezTo>
                  <a:pt x="4873684" y="1996211"/>
                  <a:pt x="4877406" y="1994287"/>
                  <a:pt x="4881342" y="1992915"/>
                </a:cubicBezTo>
                <a:cubicBezTo>
                  <a:pt x="4886480" y="1990896"/>
                  <a:pt x="4891766" y="1989267"/>
                  <a:pt x="4897154" y="1988058"/>
                </a:cubicBezTo>
                <a:close/>
                <a:moveTo>
                  <a:pt x="4178398" y="1987201"/>
                </a:moveTo>
                <a:cubicBezTo>
                  <a:pt x="4139345" y="1996630"/>
                  <a:pt x="4121533" y="1996535"/>
                  <a:pt x="4117152" y="1989296"/>
                </a:cubicBezTo>
                <a:cubicBezTo>
                  <a:pt x="4107151" y="1995392"/>
                  <a:pt x="4099816" y="2000536"/>
                  <a:pt x="4090482" y="2005393"/>
                </a:cubicBezTo>
                <a:cubicBezTo>
                  <a:pt x="4081147" y="2010251"/>
                  <a:pt x="4068955" y="2015109"/>
                  <a:pt x="4056668" y="2020538"/>
                </a:cubicBezTo>
                <a:cubicBezTo>
                  <a:pt x="4081909" y="2016061"/>
                  <a:pt x="4094768" y="2016823"/>
                  <a:pt x="4100102" y="2022348"/>
                </a:cubicBezTo>
                <a:cubicBezTo>
                  <a:pt x="4115723" y="2009870"/>
                  <a:pt x="4140298" y="1999107"/>
                  <a:pt x="4178398" y="1987201"/>
                </a:cubicBezTo>
                <a:close/>
                <a:moveTo>
                  <a:pt x="5010978" y="1985581"/>
                </a:moveTo>
                <a:cubicBezTo>
                  <a:pt x="5017645" y="1984248"/>
                  <a:pt x="5021550" y="1984914"/>
                  <a:pt x="5018979" y="1986819"/>
                </a:cubicBezTo>
                <a:cubicBezTo>
                  <a:pt x="5013720" y="1989639"/>
                  <a:pt x="5008070" y="1991668"/>
                  <a:pt x="5002215" y="1992820"/>
                </a:cubicBezTo>
                <a:cubicBezTo>
                  <a:pt x="4995833" y="1994154"/>
                  <a:pt x="4991261" y="1993677"/>
                  <a:pt x="4993356" y="1991963"/>
                </a:cubicBezTo>
                <a:cubicBezTo>
                  <a:pt x="4998847" y="1988896"/>
                  <a:pt x="5004798" y="1986743"/>
                  <a:pt x="5010978" y="1985581"/>
                </a:cubicBezTo>
                <a:close/>
                <a:moveTo>
                  <a:pt x="3047160" y="1985486"/>
                </a:moveTo>
                <a:cubicBezTo>
                  <a:pt x="3065070" y="1985486"/>
                  <a:pt x="3079071" y="1988629"/>
                  <a:pt x="3084599" y="1994059"/>
                </a:cubicBezTo>
                <a:cubicBezTo>
                  <a:pt x="3090121" y="1999488"/>
                  <a:pt x="3086309" y="2006632"/>
                  <a:pt x="3075833" y="2013775"/>
                </a:cubicBezTo>
                <a:cubicBezTo>
                  <a:pt x="3061174" y="2022815"/>
                  <a:pt x="3045057" y="2029263"/>
                  <a:pt x="3028208" y="2032825"/>
                </a:cubicBezTo>
                <a:cubicBezTo>
                  <a:pt x="2988298" y="2042350"/>
                  <a:pt x="2944291" y="2041588"/>
                  <a:pt x="2932957" y="2031206"/>
                </a:cubicBezTo>
                <a:cubicBezTo>
                  <a:pt x="2921622" y="2020824"/>
                  <a:pt x="2946101" y="2002631"/>
                  <a:pt x="2987442" y="1992630"/>
                </a:cubicBezTo>
                <a:cubicBezTo>
                  <a:pt x="2997690" y="1990106"/>
                  <a:pt x="3008090" y="1988258"/>
                  <a:pt x="3018588" y="1987105"/>
                </a:cubicBezTo>
                <a:cubicBezTo>
                  <a:pt x="3028064" y="1985953"/>
                  <a:pt x="3037608" y="1985410"/>
                  <a:pt x="3047160" y="1985486"/>
                </a:cubicBezTo>
                <a:close/>
                <a:moveTo>
                  <a:pt x="4734134" y="1983843"/>
                </a:moveTo>
                <a:cubicBezTo>
                  <a:pt x="4738087" y="1984105"/>
                  <a:pt x="4739468" y="1985534"/>
                  <a:pt x="4737229" y="1988058"/>
                </a:cubicBezTo>
                <a:cubicBezTo>
                  <a:pt x="4732980" y="1991887"/>
                  <a:pt x="4728076" y="1994916"/>
                  <a:pt x="4722751" y="1997011"/>
                </a:cubicBezTo>
                <a:cubicBezTo>
                  <a:pt x="4719322" y="1998535"/>
                  <a:pt x="4715607" y="2000059"/>
                  <a:pt x="4711702" y="2001488"/>
                </a:cubicBezTo>
                <a:cubicBezTo>
                  <a:pt x="4707797" y="2002917"/>
                  <a:pt x="4703892" y="2004250"/>
                  <a:pt x="4699986" y="2005393"/>
                </a:cubicBezTo>
                <a:cubicBezTo>
                  <a:pt x="4684175" y="2009775"/>
                  <a:pt x="4674650" y="2009775"/>
                  <a:pt x="4678174" y="2004822"/>
                </a:cubicBezTo>
                <a:cubicBezTo>
                  <a:pt x="4682285" y="2000764"/>
                  <a:pt x="4687134" y="1997535"/>
                  <a:pt x="4692462" y="1995297"/>
                </a:cubicBezTo>
                <a:cubicBezTo>
                  <a:pt x="4699868" y="1991639"/>
                  <a:pt x="4707623" y="1988744"/>
                  <a:pt x="4715607" y="1986629"/>
                </a:cubicBezTo>
                <a:cubicBezTo>
                  <a:pt x="4723656" y="1984486"/>
                  <a:pt x="4730181" y="1983581"/>
                  <a:pt x="4734134" y="1983843"/>
                </a:cubicBezTo>
                <a:close/>
                <a:moveTo>
                  <a:pt x="4851339" y="1977294"/>
                </a:moveTo>
                <a:cubicBezTo>
                  <a:pt x="4863816" y="1974437"/>
                  <a:pt x="4870960" y="1975484"/>
                  <a:pt x="4866293" y="1979485"/>
                </a:cubicBezTo>
                <a:cubicBezTo>
                  <a:pt x="4856555" y="1985552"/>
                  <a:pt x="4845815" y="1989848"/>
                  <a:pt x="4834575" y="1992153"/>
                </a:cubicBezTo>
                <a:cubicBezTo>
                  <a:pt x="4832029" y="1992734"/>
                  <a:pt x="4829453" y="1993182"/>
                  <a:pt x="4826859" y="1993487"/>
                </a:cubicBezTo>
                <a:cubicBezTo>
                  <a:pt x="4825086" y="1993668"/>
                  <a:pt x="4823299" y="1993668"/>
                  <a:pt x="4821525" y="1993487"/>
                </a:cubicBezTo>
                <a:cubicBezTo>
                  <a:pt x="4818858" y="1993487"/>
                  <a:pt x="4818096" y="1992058"/>
                  <a:pt x="4819906" y="1990248"/>
                </a:cubicBezTo>
                <a:cubicBezTo>
                  <a:pt x="4821419" y="1988991"/>
                  <a:pt x="4823046" y="1987876"/>
                  <a:pt x="4824764" y="1986914"/>
                </a:cubicBezTo>
                <a:cubicBezTo>
                  <a:pt x="4826955" y="1985676"/>
                  <a:pt x="4829622" y="1984533"/>
                  <a:pt x="4832479" y="1983295"/>
                </a:cubicBezTo>
                <a:cubicBezTo>
                  <a:pt x="4838602" y="1980809"/>
                  <a:pt x="4844906" y="1978809"/>
                  <a:pt x="4851339" y="1977294"/>
                </a:cubicBezTo>
                <a:close/>
                <a:moveTo>
                  <a:pt x="1538958" y="1975961"/>
                </a:moveTo>
                <a:cubicBezTo>
                  <a:pt x="1543530" y="1975961"/>
                  <a:pt x="1548483" y="1975961"/>
                  <a:pt x="1553341" y="1975961"/>
                </a:cubicBezTo>
                <a:cubicBezTo>
                  <a:pt x="1558198" y="1975961"/>
                  <a:pt x="1563342" y="1975961"/>
                  <a:pt x="1568486" y="1975961"/>
                </a:cubicBezTo>
                <a:cubicBezTo>
                  <a:pt x="1578772" y="1976533"/>
                  <a:pt x="1589344" y="1977771"/>
                  <a:pt x="1599251" y="1979295"/>
                </a:cubicBezTo>
                <a:cubicBezTo>
                  <a:pt x="1608472" y="1980676"/>
                  <a:pt x="1617596" y="1982619"/>
                  <a:pt x="1626588" y="1985105"/>
                </a:cubicBezTo>
                <a:cubicBezTo>
                  <a:pt x="1633236" y="1986820"/>
                  <a:pt x="1639637" y="1989382"/>
                  <a:pt x="1645637" y="1992725"/>
                </a:cubicBezTo>
                <a:cubicBezTo>
                  <a:pt x="1654495" y="1998059"/>
                  <a:pt x="1655162" y="2003774"/>
                  <a:pt x="1650209" y="2008441"/>
                </a:cubicBezTo>
                <a:cubicBezTo>
                  <a:pt x="1640256" y="2014709"/>
                  <a:pt x="1628731" y="2018004"/>
                  <a:pt x="1616968" y="2017966"/>
                </a:cubicBezTo>
                <a:cubicBezTo>
                  <a:pt x="1597241" y="2019252"/>
                  <a:pt x="1577430" y="2018290"/>
                  <a:pt x="1557913" y="2015109"/>
                </a:cubicBezTo>
                <a:cubicBezTo>
                  <a:pt x="1541615" y="2013213"/>
                  <a:pt x="1525737" y="2008613"/>
                  <a:pt x="1510955" y="2001488"/>
                </a:cubicBezTo>
                <a:cubicBezTo>
                  <a:pt x="1501430" y="1995773"/>
                  <a:pt x="1499905" y="1989868"/>
                  <a:pt x="1504954" y="1985200"/>
                </a:cubicBezTo>
                <a:cubicBezTo>
                  <a:pt x="1508630" y="1982248"/>
                  <a:pt x="1512936" y="1980171"/>
                  <a:pt x="1517527" y="1979104"/>
                </a:cubicBezTo>
                <a:cubicBezTo>
                  <a:pt x="1524547" y="1977323"/>
                  <a:pt x="1531729" y="1976266"/>
                  <a:pt x="1538958" y="1975961"/>
                </a:cubicBezTo>
                <a:close/>
                <a:moveTo>
                  <a:pt x="5084225" y="1973771"/>
                </a:moveTo>
                <a:cubicBezTo>
                  <a:pt x="5089273" y="1972818"/>
                  <a:pt x="5092226" y="1973771"/>
                  <a:pt x="5090035" y="1975009"/>
                </a:cubicBezTo>
                <a:cubicBezTo>
                  <a:pt x="5085331" y="1977200"/>
                  <a:pt x="5080371" y="1978800"/>
                  <a:pt x="5075272" y="1979771"/>
                </a:cubicBezTo>
                <a:cubicBezTo>
                  <a:pt x="5070985" y="1980438"/>
                  <a:pt x="5068223" y="1979771"/>
                  <a:pt x="5069842" y="1978628"/>
                </a:cubicBezTo>
                <a:cubicBezTo>
                  <a:pt x="5074385" y="1976342"/>
                  <a:pt x="5079226" y="1974704"/>
                  <a:pt x="5084225" y="1973771"/>
                </a:cubicBezTo>
                <a:close/>
                <a:moveTo>
                  <a:pt x="4681699" y="1973699"/>
                </a:moveTo>
                <a:cubicBezTo>
                  <a:pt x="4686128" y="1973985"/>
                  <a:pt x="4687461" y="1975771"/>
                  <a:pt x="4684842" y="1979009"/>
                </a:cubicBezTo>
                <a:cubicBezTo>
                  <a:pt x="4680307" y="1983429"/>
                  <a:pt x="4674974" y="1986953"/>
                  <a:pt x="4669125" y="1989391"/>
                </a:cubicBezTo>
                <a:cubicBezTo>
                  <a:pt x="4665411" y="1991106"/>
                  <a:pt x="4661220" y="1992916"/>
                  <a:pt x="4656838" y="1994535"/>
                </a:cubicBezTo>
                <a:lnTo>
                  <a:pt x="4649980" y="1996916"/>
                </a:lnTo>
                <a:lnTo>
                  <a:pt x="4646075" y="1998059"/>
                </a:lnTo>
                <a:lnTo>
                  <a:pt x="4641693" y="1999393"/>
                </a:lnTo>
                <a:cubicBezTo>
                  <a:pt x="4619214" y="2005869"/>
                  <a:pt x="4606641" y="2006060"/>
                  <a:pt x="4611975" y="1999393"/>
                </a:cubicBezTo>
                <a:cubicBezTo>
                  <a:pt x="4617523" y="1994316"/>
                  <a:pt x="4623988" y="1990334"/>
                  <a:pt x="4631025" y="1987677"/>
                </a:cubicBezTo>
                <a:lnTo>
                  <a:pt x="4638360" y="1984533"/>
                </a:lnTo>
                <a:lnTo>
                  <a:pt x="4645884" y="1981581"/>
                </a:lnTo>
                <a:cubicBezTo>
                  <a:pt x="4650266" y="1980343"/>
                  <a:pt x="4655028" y="1978723"/>
                  <a:pt x="4659981" y="1977390"/>
                </a:cubicBezTo>
                <a:cubicBezTo>
                  <a:pt x="4669745" y="1974628"/>
                  <a:pt x="4677269" y="1973413"/>
                  <a:pt x="4681699" y="1973699"/>
                </a:cubicBezTo>
                <a:close/>
                <a:moveTo>
                  <a:pt x="4973258" y="1973389"/>
                </a:moveTo>
                <a:cubicBezTo>
                  <a:pt x="4982783" y="1971389"/>
                  <a:pt x="4987355" y="1972246"/>
                  <a:pt x="4983450" y="1975104"/>
                </a:cubicBezTo>
                <a:cubicBezTo>
                  <a:pt x="4976541" y="1979104"/>
                  <a:pt x="4969005" y="1981904"/>
                  <a:pt x="4961161" y="1983390"/>
                </a:cubicBezTo>
                <a:cubicBezTo>
                  <a:pt x="4951827" y="1985486"/>
                  <a:pt x="4946683" y="1984819"/>
                  <a:pt x="4949922" y="1982057"/>
                </a:cubicBezTo>
                <a:cubicBezTo>
                  <a:pt x="4957113" y="1977780"/>
                  <a:pt x="4965020" y="1974846"/>
                  <a:pt x="4973258" y="1973389"/>
                </a:cubicBezTo>
                <a:close/>
                <a:moveTo>
                  <a:pt x="954782" y="1972341"/>
                </a:moveTo>
                <a:cubicBezTo>
                  <a:pt x="957735" y="1972341"/>
                  <a:pt x="961068" y="1972341"/>
                  <a:pt x="964784" y="1972341"/>
                </a:cubicBezTo>
                <a:cubicBezTo>
                  <a:pt x="972718" y="1973084"/>
                  <a:pt x="980604" y="1974265"/>
                  <a:pt x="988405" y="1975865"/>
                </a:cubicBezTo>
                <a:cubicBezTo>
                  <a:pt x="996978" y="1977580"/>
                  <a:pt x="1006122" y="1979675"/>
                  <a:pt x="1015266" y="1982056"/>
                </a:cubicBezTo>
                <a:cubicBezTo>
                  <a:pt x="1024409" y="1984438"/>
                  <a:pt x="1033173" y="1987105"/>
                  <a:pt x="1041269" y="1989867"/>
                </a:cubicBezTo>
                <a:cubicBezTo>
                  <a:pt x="1048413" y="1992248"/>
                  <a:pt x="1055413" y="1995049"/>
                  <a:pt x="1062224" y="1998249"/>
                </a:cubicBezTo>
                <a:cubicBezTo>
                  <a:pt x="1085655" y="2009489"/>
                  <a:pt x="1081273" y="2020442"/>
                  <a:pt x="1053936" y="2019966"/>
                </a:cubicBezTo>
                <a:cubicBezTo>
                  <a:pt x="1036306" y="2018928"/>
                  <a:pt x="1018838" y="2015994"/>
                  <a:pt x="1001836" y="2011203"/>
                </a:cubicBezTo>
                <a:cubicBezTo>
                  <a:pt x="997073" y="2009965"/>
                  <a:pt x="992311" y="2008727"/>
                  <a:pt x="987739" y="2007203"/>
                </a:cubicBezTo>
                <a:cubicBezTo>
                  <a:pt x="983167" y="2005679"/>
                  <a:pt x="978690" y="2004250"/>
                  <a:pt x="974404" y="2002726"/>
                </a:cubicBezTo>
                <a:cubicBezTo>
                  <a:pt x="966925" y="2000192"/>
                  <a:pt x="959640" y="1997135"/>
                  <a:pt x="952592" y="1993582"/>
                </a:cubicBezTo>
                <a:cubicBezTo>
                  <a:pt x="940780" y="1987010"/>
                  <a:pt x="936494" y="1981199"/>
                  <a:pt x="938780" y="1977294"/>
                </a:cubicBezTo>
                <a:cubicBezTo>
                  <a:pt x="940818" y="1974779"/>
                  <a:pt x="943827" y="1973255"/>
                  <a:pt x="947067" y="1973103"/>
                </a:cubicBezTo>
                <a:cubicBezTo>
                  <a:pt x="949610" y="1972627"/>
                  <a:pt x="952191" y="1972370"/>
                  <a:pt x="954782" y="1972341"/>
                </a:cubicBezTo>
                <a:close/>
                <a:moveTo>
                  <a:pt x="2793033" y="1969580"/>
                </a:moveTo>
                <a:cubicBezTo>
                  <a:pt x="2811417" y="1970342"/>
                  <a:pt x="2826180" y="1973580"/>
                  <a:pt x="2832562" y="1979105"/>
                </a:cubicBezTo>
                <a:cubicBezTo>
                  <a:pt x="2845039" y="1989677"/>
                  <a:pt x="2822178" y="2006632"/>
                  <a:pt x="2783605" y="2015585"/>
                </a:cubicBezTo>
                <a:cubicBezTo>
                  <a:pt x="2773815" y="2017805"/>
                  <a:pt x="2763887" y="2019395"/>
                  <a:pt x="2753886" y="2020348"/>
                </a:cubicBezTo>
                <a:cubicBezTo>
                  <a:pt x="2744227" y="2021281"/>
                  <a:pt x="2734531" y="2021662"/>
                  <a:pt x="2724832" y="2021491"/>
                </a:cubicBezTo>
                <a:cubicBezTo>
                  <a:pt x="2710545" y="2022082"/>
                  <a:pt x="2696335" y="2019205"/>
                  <a:pt x="2683399" y="2013109"/>
                </a:cubicBezTo>
                <a:cubicBezTo>
                  <a:pt x="2667208" y="2002155"/>
                  <a:pt x="2690449" y="1983962"/>
                  <a:pt x="2732551" y="1975009"/>
                </a:cubicBezTo>
                <a:cubicBezTo>
                  <a:pt x="2752408" y="1970694"/>
                  <a:pt x="2772728" y="1968875"/>
                  <a:pt x="2793033" y="1969580"/>
                </a:cubicBezTo>
                <a:close/>
                <a:moveTo>
                  <a:pt x="522147" y="1968913"/>
                </a:moveTo>
                <a:cubicBezTo>
                  <a:pt x="523671" y="1966150"/>
                  <a:pt x="531102" y="1966912"/>
                  <a:pt x="544245" y="1971961"/>
                </a:cubicBezTo>
                <a:cubicBezTo>
                  <a:pt x="550817" y="1974532"/>
                  <a:pt x="558627" y="1977771"/>
                  <a:pt x="567105" y="1981486"/>
                </a:cubicBezTo>
                <a:cubicBezTo>
                  <a:pt x="571296" y="1983391"/>
                  <a:pt x="575773" y="1985581"/>
                  <a:pt x="580249" y="1987772"/>
                </a:cubicBezTo>
                <a:lnTo>
                  <a:pt x="593586" y="1994249"/>
                </a:lnTo>
                <a:lnTo>
                  <a:pt x="606919" y="2001107"/>
                </a:lnTo>
                <a:lnTo>
                  <a:pt x="619396" y="2007679"/>
                </a:lnTo>
                <a:lnTo>
                  <a:pt x="630639" y="2014061"/>
                </a:lnTo>
                <a:lnTo>
                  <a:pt x="635687" y="2017109"/>
                </a:lnTo>
                <a:lnTo>
                  <a:pt x="640069" y="2019871"/>
                </a:lnTo>
                <a:cubicBezTo>
                  <a:pt x="650832" y="2026920"/>
                  <a:pt x="655404" y="2032254"/>
                  <a:pt x="654070" y="2034921"/>
                </a:cubicBezTo>
                <a:cubicBezTo>
                  <a:pt x="652737" y="2037588"/>
                  <a:pt x="645498" y="2037874"/>
                  <a:pt x="632925" y="2034921"/>
                </a:cubicBezTo>
                <a:cubicBezTo>
                  <a:pt x="631210" y="2034521"/>
                  <a:pt x="629524" y="2034006"/>
                  <a:pt x="627877" y="2033397"/>
                </a:cubicBezTo>
                <a:cubicBezTo>
                  <a:pt x="626159" y="2033397"/>
                  <a:pt x="624351" y="2032254"/>
                  <a:pt x="622444" y="2031587"/>
                </a:cubicBezTo>
                <a:cubicBezTo>
                  <a:pt x="618635" y="2030254"/>
                  <a:pt x="614634" y="2028730"/>
                  <a:pt x="610443" y="2027015"/>
                </a:cubicBezTo>
                <a:lnTo>
                  <a:pt x="604062" y="2024443"/>
                </a:lnTo>
                <a:lnTo>
                  <a:pt x="600823" y="2023015"/>
                </a:lnTo>
                <a:lnTo>
                  <a:pt x="597396" y="2021491"/>
                </a:lnTo>
                <a:cubicBezTo>
                  <a:pt x="592918" y="2019490"/>
                  <a:pt x="588441" y="2017300"/>
                  <a:pt x="583869" y="2015014"/>
                </a:cubicBezTo>
                <a:cubicBezTo>
                  <a:pt x="579296" y="2012728"/>
                  <a:pt x="574915" y="2010537"/>
                  <a:pt x="570534" y="2008156"/>
                </a:cubicBezTo>
                <a:lnTo>
                  <a:pt x="557771" y="2000821"/>
                </a:lnTo>
                <a:lnTo>
                  <a:pt x="546339" y="1993678"/>
                </a:lnTo>
                <a:lnTo>
                  <a:pt x="541293" y="1990153"/>
                </a:lnTo>
                <a:lnTo>
                  <a:pt x="536720" y="1986629"/>
                </a:lnTo>
                <a:cubicBezTo>
                  <a:pt x="525291" y="1977866"/>
                  <a:pt x="520623" y="1971675"/>
                  <a:pt x="522147" y="1968913"/>
                </a:cubicBezTo>
                <a:close/>
                <a:moveTo>
                  <a:pt x="4615404" y="1966329"/>
                </a:moveTo>
                <a:cubicBezTo>
                  <a:pt x="4621786" y="1966198"/>
                  <a:pt x="4624025" y="1967960"/>
                  <a:pt x="4621215" y="1971579"/>
                </a:cubicBezTo>
                <a:cubicBezTo>
                  <a:pt x="4615595" y="1978818"/>
                  <a:pt x="4591211" y="1990629"/>
                  <a:pt x="4564065" y="1998154"/>
                </a:cubicBezTo>
                <a:cubicBezTo>
                  <a:pt x="4536918" y="2005679"/>
                  <a:pt x="4522821" y="2006250"/>
                  <a:pt x="4527584" y="1999392"/>
                </a:cubicBezTo>
                <a:cubicBezTo>
                  <a:pt x="4532537" y="1992153"/>
                  <a:pt x="4557207" y="1980342"/>
                  <a:pt x="4584734" y="1972437"/>
                </a:cubicBezTo>
                <a:cubicBezTo>
                  <a:pt x="4598498" y="1968484"/>
                  <a:pt x="4609023" y="1966460"/>
                  <a:pt x="4615404" y="1966329"/>
                </a:cubicBezTo>
                <a:close/>
                <a:moveTo>
                  <a:pt x="3822507" y="1964364"/>
                </a:moveTo>
                <a:cubicBezTo>
                  <a:pt x="3836450" y="1964436"/>
                  <a:pt x="3844975" y="1967579"/>
                  <a:pt x="3845308" y="1973580"/>
                </a:cubicBezTo>
                <a:cubicBezTo>
                  <a:pt x="3845975" y="1985581"/>
                  <a:pt x="3814828" y="2002155"/>
                  <a:pt x="3772727" y="2013966"/>
                </a:cubicBezTo>
                <a:cubicBezTo>
                  <a:pt x="3730627" y="2025777"/>
                  <a:pt x="3697194" y="2025872"/>
                  <a:pt x="3694622" y="2014728"/>
                </a:cubicBezTo>
                <a:cubicBezTo>
                  <a:pt x="3691955" y="2003393"/>
                  <a:pt x="3723197" y="1986153"/>
                  <a:pt x="3767203" y="1973580"/>
                </a:cubicBezTo>
                <a:cubicBezTo>
                  <a:pt x="3789206" y="1967294"/>
                  <a:pt x="3808565" y="1964293"/>
                  <a:pt x="3822507" y="1964364"/>
                </a:cubicBezTo>
                <a:close/>
                <a:moveTo>
                  <a:pt x="4820954" y="1963293"/>
                </a:moveTo>
                <a:cubicBezTo>
                  <a:pt x="4824573" y="1963293"/>
                  <a:pt x="4825811" y="1964912"/>
                  <a:pt x="4823906" y="1967103"/>
                </a:cubicBezTo>
                <a:cubicBezTo>
                  <a:pt x="4819945" y="1970532"/>
                  <a:pt x="4815438" y="1973266"/>
                  <a:pt x="4810571" y="1975199"/>
                </a:cubicBezTo>
                <a:cubicBezTo>
                  <a:pt x="4803555" y="1978247"/>
                  <a:pt x="4796330" y="1980800"/>
                  <a:pt x="4788950" y="1982819"/>
                </a:cubicBezTo>
                <a:cubicBezTo>
                  <a:pt x="4774186" y="1986629"/>
                  <a:pt x="4764756" y="1986058"/>
                  <a:pt x="4768661" y="1981486"/>
                </a:cubicBezTo>
                <a:cubicBezTo>
                  <a:pt x="4779395" y="1973828"/>
                  <a:pt x="4791583" y="1968446"/>
                  <a:pt x="4804475" y="1965674"/>
                </a:cubicBezTo>
                <a:cubicBezTo>
                  <a:pt x="4809825" y="1964093"/>
                  <a:pt x="4815375" y="1963293"/>
                  <a:pt x="4820954" y="1963293"/>
                </a:cubicBezTo>
                <a:close/>
                <a:moveTo>
                  <a:pt x="4930586" y="1961769"/>
                </a:moveTo>
                <a:cubicBezTo>
                  <a:pt x="4941826" y="1959387"/>
                  <a:pt x="4947731" y="1960340"/>
                  <a:pt x="4943731" y="1963769"/>
                </a:cubicBezTo>
                <a:cubicBezTo>
                  <a:pt x="4940389" y="1966188"/>
                  <a:pt x="4936694" y="1968084"/>
                  <a:pt x="4932777" y="1969389"/>
                </a:cubicBezTo>
                <a:cubicBezTo>
                  <a:pt x="4927418" y="1971503"/>
                  <a:pt x="4921910" y="1973227"/>
                  <a:pt x="4916299" y="1974532"/>
                </a:cubicBezTo>
                <a:cubicBezTo>
                  <a:pt x="4905155" y="1977104"/>
                  <a:pt x="4898678" y="1976532"/>
                  <a:pt x="4902011" y="1973199"/>
                </a:cubicBezTo>
                <a:cubicBezTo>
                  <a:pt x="4910705" y="1967569"/>
                  <a:pt x="4920410" y="1963693"/>
                  <a:pt x="4930586" y="1961769"/>
                </a:cubicBezTo>
                <a:close/>
                <a:moveTo>
                  <a:pt x="5048506" y="1961198"/>
                </a:moveTo>
                <a:cubicBezTo>
                  <a:pt x="5056412" y="1959769"/>
                  <a:pt x="5059841" y="1960626"/>
                  <a:pt x="5056412" y="1962912"/>
                </a:cubicBezTo>
                <a:cubicBezTo>
                  <a:pt x="5053834" y="1964531"/>
                  <a:pt x="5051046" y="1965779"/>
                  <a:pt x="5048125" y="1966627"/>
                </a:cubicBezTo>
                <a:cubicBezTo>
                  <a:pt x="5044338" y="1967808"/>
                  <a:pt x="5040491" y="1968798"/>
                  <a:pt x="5036600" y="1969580"/>
                </a:cubicBezTo>
                <a:cubicBezTo>
                  <a:pt x="5028789" y="1971104"/>
                  <a:pt x="5025265" y="1970342"/>
                  <a:pt x="5028599" y="1967960"/>
                </a:cubicBezTo>
                <a:cubicBezTo>
                  <a:pt x="5031190" y="1966351"/>
                  <a:pt x="5033974" y="1965065"/>
                  <a:pt x="5036886" y="1964150"/>
                </a:cubicBezTo>
                <a:cubicBezTo>
                  <a:pt x="5040662" y="1962817"/>
                  <a:pt x="5044551" y="1961826"/>
                  <a:pt x="5048506" y="1961198"/>
                </a:cubicBezTo>
                <a:close/>
                <a:moveTo>
                  <a:pt x="4533930" y="1960447"/>
                </a:moveTo>
                <a:cubicBezTo>
                  <a:pt x="4541586" y="1960340"/>
                  <a:pt x="4544825" y="1962340"/>
                  <a:pt x="4541872" y="1966436"/>
                </a:cubicBezTo>
                <a:cubicBezTo>
                  <a:pt x="4535966" y="1974627"/>
                  <a:pt x="4508153" y="1987677"/>
                  <a:pt x="4479673" y="1996059"/>
                </a:cubicBezTo>
                <a:cubicBezTo>
                  <a:pt x="4451194" y="2004441"/>
                  <a:pt x="4432048" y="2004917"/>
                  <a:pt x="4436906" y="1997106"/>
                </a:cubicBezTo>
                <a:cubicBezTo>
                  <a:pt x="4441764" y="1989296"/>
                  <a:pt x="4470053" y="1975675"/>
                  <a:pt x="4499485" y="1967103"/>
                </a:cubicBezTo>
                <a:cubicBezTo>
                  <a:pt x="4514202" y="1962769"/>
                  <a:pt x="4526275" y="1960554"/>
                  <a:pt x="4533930" y="1960447"/>
                </a:cubicBezTo>
                <a:close/>
                <a:moveTo>
                  <a:pt x="3655367" y="1959423"/>
                </a:moveTo>
                <a:cubicBezTo>
                  <a:pt x="3670857" y="1959530"/>
                  <a:pt x="3681383" y="1962483"/>
                  <a:pt x="3682621" y="1968246"/>
                </a:cubicBezTo>
                <a:cubicBezTo>
                  <a:pt x="3683859" y="1973865"/>
                  <a:pt x="3676144" y="1981485"/>
                  <a:pt x="3663571" y="1989010"/>
                </a:cubicBezTo>
                <a:cubicBezTo>
                  <a:pt x="3647268" y="1998145"/>
                  <a:pt x="3629851" y="2005117"/>
                  <a:pt x="3611755" y="2009775"/>
                </a:cubicBezTo>
                <a:cubicBezTo>
                  <a:pt x="3571464" y="2019966"/>
                  <a:pt x="3531653" y="2020252"/>
                  <a:pt x="3527556" y="2009775"/>
                </a:cubicBezTo>
                <a:cubicBezTo>
                  <a:pt x="3523082" y="1998726"/>
                  <a:pt x="3556131" y="1978914"/>
                  <a:pt x="3598324" y="1967674"/>
                </a:cubicBezTo>
                <a:cubicBezTo>
                  <a:pt x="3619422" y="1962055"/>
                  <a:pt x="3639877" y="1959316"/>
                  <a:pt x="3655367" y="1959423"/>
                </a:cubicBezTo>
                <a:close/>
                <a:moveTo>
                  <a:pt x="4759994" y="1953101"/>
                </a:moveTo>
                <a:cubicBezTo>
                  <a:pt x="4762782" y="1952844"/>
                  <a:pt x="4765588" y="1952844"/>
                  <a:pt x="4768376" y="1953101"/>
                </a:cubicBezTo>
                <a:cubicBezTo>
                  <a:pt x="4772662" y="1953101"/>
                  <a:pt x="4774186" y="1955101"/>
                  <a:pt x="4771805" y="1957863"/>
                </a:cubicBezTo>
                <a:cubicBezTo>
                  <a:pt x="4770052" y="1959549"/>
                  <a:pt x="4768101" y="1961026"/>
                  <a:pt x="4765995" y="1962245"/>
                </a:cubicBezTo>
                <a:cubicBezTo>
                  <a:pt x="4763423" y="1963769"/>
                  <a:pt x="4760185" y="1965388"/>
                  <a:pt x="4756470" y="1967103"/>
                </a:cubicBezTo>
                <a:cubicBezTo>
                  <a:pt x="4748733" y="1970674"/>
                  <a:pt x="4740741" y="1973665"/>
                  <a:pt x="4732562" y="1976056"/>
                </a:cubicBezTo>
                <a:cubicBezTo>
                  <a:pt x="4716179" y="1980342"/>
                  <a:pt x="4704368" y="1979866"/>
                  <a:pt x="4708178" y="1974627"/>
                </a:cubicBezTo>
                <a:cubicBezTo>
                  <a:pt x="4711988" y="1969389"/>
                  <a:pt x="4731229" y="1960340"/>
                  <a:pt x="4748469" y="1955577"/>
                </a:cubicBezTo>
                <a:cubicBezTo>
                  <a:pt x="4752260" y="1954530"/>
                  <a:pt x="4756108" y="1953701"/>
                  <a:pt x="4759994" y="1953101"/>
                </a:cubicBezTo>
                <a:close/>
                <a:moveTo>
                  <a:pt x="4448693" y="1952804"/>
                </a:moveTo>
                <a:cubicBezTo>
                  <a:pt x="4457789" y="1952697"/>
                  <a:pt x="4462290" y="1954864"/>
                  <a:pt x="4459671" y="1959197"/>
                </a:cubicBezTo>
                <a:cubicBezTo>
                  <a:pt x="4454432" y="1967865"/>
                  <a:pt x="4422999" y="1983105"/>
                  <a:pt x="4392424" y="1992154"/>
                </a:cubicBezTo>
                <a:cubicBezTo>
                  <a:pt x="4361849" y="2001203"/>
                  <a:pt x="4338513" y="2001679"/>
                  <a:pt x="4342513" y="1993487"/>
                </a:cubicBezTo>
                <a:cubicBezTo>
                  <a:pt x="4346514" y="1985296"/>
                  <a:pt x="4378422" y="1969294"/>
                  <a:pt x="4410141" y="1960055"/>
                </a:cubicBezTo>
                <a:cubicBezTo>
                  <a:pt x="4425905" y="1955293"/>
                  <a:pt x="4439597" y="1952911"/>
                  <a:pt x="4448693" y="1952804"/>
                </a:cubicBezTo>
                <a:close/>
                <a:moveTo>
                  <a:pt x="3468439" y="1950506"/>
                </a:moveTo>
                <a:cubicBezTo>
                  <a:pt x="3484103" y="1951054"/>
                  <a:pt x="3494651" y="1954531"/>
                  <a:pt x="3495937" y="1960817"/>
                </a:cubicBezTo>
                <a:cubicBezTo>
                  <a:pt x="3497459" y="1966722"/>
                  <a:pt x="3490507" y="1974152"/>
                  <a:pt x="3478225" y="1981390"/>
                </a:cubicBezTo>
                <a:cubicBezTo>
                  <a:pt x="3462501" y="1989973"/>
                  <a:pt x="3445682" y="1996383"/>
                  <a:pt x="3428227" y="2000440"/>
                </a:cubicBezTo>
                <a:cubicBezTo>
                  <a:pt x="3387281" y="2011490"/>
                  <a:pt x="3347194" y="2010918"/>
                  <a:pt x="3341193" y="1999583"/>
                </a:cubicBezTo>
                <a:cubicBezTo>
                  <a:pt x="3338146" y="1993678"/>
                  <a:pt x="3344621" y="1985963"/>
                  <a:pt x="3357193" y="1978342"/>
                </a:cubicBezTo>
                <a:cubicBezTo>
                  <a:pt x="3373810" y="1969018"/>
                  <a:pt x="3391673" y="1962093"/>
                  <a:pt x="3410232" y="1957769"/>
                </a:cubicBezTo>
                <a:cubicBezTo>
                  <a:pt x="3431991" y="1952340"/>
                  <a:pt x="3452772" y="1949958"/>
                  <a:pt x="3468439" y="1950506"/>
                </a:cubicBezTo>
                <a:close/>
                <a:moveTo>
                  <a:pt x="1864712" y="1950148"/>
                </a:moveTo>
                <a:cubicBezTo>
                  <a:pt x="1880866" y="1951310"/>
                  <a:pt x="1896677" y="1955377"/>
                  <a:pt x="1911384" y="1962150"/>
                </a:cubicBezTo>
                <a:cubicBezTo>
                  <a:pt x="1922528" y="1967960"/>
                  <a:pt x="1925481" y="1973961"/>
                  <a:pt x="1920909" y="1979104"/>
                </a:cubicBezTo>
                <a:cubicBezTo>
                  <a:pt x="1916337" y="1984248"/>
                  <a:pt x="1904526" y="1988629"/>
                  <a:pt x="1885858" y="1991677"/>
                </a:cubicBezTo>
                <a:cubicBezTo>
                  <a:pt x="1881190" y="1992344"/>
                  <a:pt x="1876333" y="1992915"/>
                  <a:pt x="1871665" y="1993392"/>
                </a:cubicBezTo>
                <a:cubicBezTo>
                  <a:pt x="1866998" y="1993868"/>
                  <a:pt x="1862139" y="1993963"/>
                  <a:pt x="1857187" y="1994058"/>
                </a:cubicBezTo>
                <a:cubicBezTo>
                  <a:pt x="1847652" y="1994287"/>
                  <a:pt x="1838109" y="1993944"/>
                  <a:pt x="1828612" y="1993011"/>
                </a:cubicBezTo>
                <a:cubicBezTo>
                  <a:pt x="1812496" y="1991763"/>
                  <a:pt x="1796713" y="1987762"/>
                  <a:pt x="1781940" y="1981200"/>
                </a:cubicBezTo>
                <a:cubicBezTo>
                  <a:pt x="1769748" y="1975104"/>
                  <a:pt x="1766128" y="1968912"/>
                  <a:pt x="1770415" y="1963674"/>
                </a:cubicBezTo>
                <a:cubicBezTo>
                  <a:pt x="1774701" y="1958435"/>
                  <a:pt x="1786798" y="1954149"/>
                  <a:pt x="1806038" y="1951196"/>
                </a:cubicBezTo>
                <a:cubicBezTo>
                  <a:pt x="1825479" y="1948472"/>
                  <a:pt x="1845185" y="1948119"/>
                  <a:pt x="1864712" y="1950148"/>
                </a:cubicBezTo>
                <a:close/>
                <a:moveTo>
                  <a:pt x="2463082" y="1949958"/>
                </a:moveTo>
                <a:cubicBezTo>
                  <a:pt x="2473142" y="1949291"/>
                  <a:pt x="2483219" y="1949291"/>
                  <a:pt x="2493277" y="1949958"/>
                </a:cubicBezTo>
                <a:cubicBezTo>
                  <a:pt x="2508051" y="1949844"/>
                  <a:pt x="2522614" y="1953520"/>
                  <a:pt x="2535567" y="1960626"/>
                </a:cubicBezTo>
                <a:cubicBezTo>
                  <a:pt x="2542998" y="1966246"/>
                  <a:pt x="2541665" y="1973104"/>
                  <a:pt x="2533568" y="1979676"/>
                </a:cubicBezTo>
                <a:cubicBezTo>
                  <a:pt x="2520880" y="1988068"/>
                  <a:pt x="2506507" y="1993592"/>
                  <a:pt x="2491468" y="1995869"/>
                </a:cubicBezTo>
                <a:cubicBezTo>
                  <a:pt x="2471799" y="1999640"/>
                  <a:pt x="2451739" y="2000984"/>
                  <a:pt x="2431746" y="1999869"/>
                </a:cubicBezTo>
                <a:cubicBezTo>
                  <a:pt x="2416791" y="1999812"/>
                  <a:pt x="2402055" y="1996297"/>
                  <a:pt x="2388692" y="1989582"/>
                </a:cubicBezTo>
                <a:cubicBezTo>
                  <a:pt x="2371737" y="1978152"/>
                  <a:pt x="2391549" y="1961579"/>
                  <a:pt x="2431936" y="1953768"/>
                </a:cubicBezTo>
                <a:cubicBezTo>
                  <a:pt x="2442214" y="1951777"/>
                  <a:pt x="2452625" y="1950501"/>
                  <a:pt x="2463082" y="1949958"/>
                </a:cubicBezTo>
                <a:close/>
                <a:moveTo>
                  <a:pt x="5126802" y="1949577"/>
                </a:moveTo>
                <a:cubicBezTo>
                  <a:pt x="5132612" y="1948624"/>
                  <a:pt x="5135089" y="1949577"/>
                  <a:pt x="5132707" y="1950910"/>
                </a:cubicBezTo>
                <a:cubicBezTo>
                  <a:pt x="5127622" y="1953606"/>
                  <a:pt x="5122113" y="1955406"/>
                  <a:pt x="5116420" y="1956244"/>
                </a:cubicBezTo>
                <a:cubicBezTo>
                  <a:pt x="5110038" y="1957292"/>
                  <a:pt x="5106895" y="1956244"/>
                  <a:pt x="5110133" y="1954720"/>
                </a:cubicBezTo>
                <a:cubicBezTo>
                  <a:pt x="5115368" y="1952101"/>
                  <a:pt x="5121000" y="1950358"/>
                  <a:pt x="5126802" y="1949577"/>
                </a:cubicBezTo>
                <a:close/>
                <a:moveTo>
                  <a:pt x="4887820" y="1948433"/>
                </a:moveTo>
                <a:cubicBezTo>
                  <a:pt x="4902202" y="1945195"/>
                  <a:pt x="4909251" y="1946338"/>
                  <a:pt x="4903917" y="1950910"/>
                </a:cubicBezTo>
                <a:cubicBezTo>
                  <a:pt x="4899927" y="1953901"/>
                  <a:pt x="4895491" y="1956244"/>
                  <a:pt x="4890772" y="1957863"/>
                </a:cubicBezTo>
                <a:cubicBezTo>
                  <a:pt x="4887915" y="1959006"/>
                  <a:pt x="4884676" y="1960149"/>
                  <a:pt x="4881247" y="1961197"/>
                </a:cubicBezTo>
                <a:lnTo>
                  <a:pt x="4876199" y="1962626"/>
                </a:lnTo>
                <a:lnTo>
                  <a:pt x="4871151" y="1963959"/>
                </a:lnTo>
                <a:cubicBezTo>
                  <a:pt x="4857054" y="1967388"/>
                  <a:pt x="4849815" y="1966436"/>
                  <a:pt x="4854768" y="1961864"/>
                </a:cubicBezTo>
                <a:cubicBezTo>
                  <a:pt x="4864729" y="1955130"/>
                  <a:pt x="4875987" y="1950558"/>
                  <a:pt x="4887820" y="1948433"/>
                </a:cubicBezTo>
                <a:close/>
                <a:moveTo>
                  <a:pt x="5012502" y="1947005"/>
                </a:moveTo>
                <a:cubicBezTo>
                  <a:pt x="5023360" y="1944814"/>
                  <a:pt x="5028123" y="1945671"/>
                  <a:pt x="5023837" y="1948910"/>
                </a:cubicBezTo>
                <a:cubicBezTo>
                  <a:pt x="5016366" y="1953263"/>
                  <a:pt x="5008170" y="1956235"/>
                  <a:pt x="4999643" y="1957673"/>
                </a:cubicBezTo>
                <a:cubicBezTo>
                  <a:pt x="4988975" y="1959768"/>
                  <a:pt x="4984117" y="1959006"/>
                  <a:pt x="4988213" y="1955768"/>
                </a:cubicBezTo>
                <a:cubicBezTo>
                  <a:pt x="4995696" y="1951367"/>
                  <a:pt x="5003932" y="1948396"/>
                  <a:pt x="5012502" y="1947005"/>
                </a:cubicBezTo>
                <a:close/>
                <a:moveTo>
                  <a:pt x="4350835" y="1946993"/>
                </a:moveTo>
                <a:cubicBezTo>
                  <a:pt x="4360253" y="1947053"/>
                  <a:pt x="4364373" y="1949720"/>
                  <a:pt x="4361753" y="1954815"/>
                </a:cubicBezTo>
                <a:cubicBezTo>
                  <a:pt x="4356514" y="1965007"/>
                  <a:pt x="4325463" y="1980247"/>
                  <a:pt x="4289744" y="1990534"/>
                </a:cubicBezTo>
                <a:cubicBezTo>
                  <a:pt x="4254025" y="2000821"/>
                  <a:pt x="4231832" y="2000726"/>
                  <a:pt x="4235547" y="1991296"/>
                </a:cubicBezTo>
                <a:cubicBezTo>
                  <a:pt x="4239452" y="1981771"/>
                  <a:pt x="4270980" y="1965483"/>
                  <a:pt x="4308127" y="1954815"/>
                </a:cubicBezTo>
                <a:cubicBezTo>
                  <a:pt x="4326701" y="1949481"/>
                  <a:pt x="4341417" y="1946933"/>
                  <a:pt x="4350835" y="1946993"/>
                </a:cubicBezTo>
                <a:close/>
                <a:moveTo>
                  <a:pt x="5199096" y="1941195"/>
                </a:moveTo>
                <a:cubicBezTo>
                  <a:pt x="5204240" y="1940433"/>
                  <a:pt x="5206145" y="1941195"/>
                  <a:pt x="5203668" y="1942433"/>
                </a:cubicBezTo>
                <a:cubicBezTo>
                  <a:pt x="5199646" y="1944328"/>
                  <a:pt x="5195329" y="1945519"/>
                  <a:pt x="5190905" y="1945957"/>
                </a:cubicBezTo>
                <a:cubicBezTo>
                  <a:pt x="5186047" y="1946529"/>
                  <a:pt x="5184428" y="1945957"/>
                  <a:pt x="5187380" y="1944433"/>
                </a:cubicBezTo>
                <a:cubicBezTo>
                  <a:pt x="5191097" y="1942757"/>
                  <a:pt x="5195048" y="1941671"/>
                  <a:pt x="5199096" y="1941195"/>
                </a:cubicBezTo>
                <a:close/>
                <a:moveTo>
                  <a:pt x="4711321" y="1940909"/>
                </a:moveTo>
                <a:cubicBezTo>
                  <a:pt x="4716370" y="1940909"/>
                  <a:pt x="4718465" y="1943100"/>
                  <a:pt x="4716274" y="1946148"/>
                </a:cubicBezTo>
                <a:cubicBezTo>
                  <a:pt x="4711370" y="1950939"/>
                  <a:pt x="4705579" y="1954720"/>
                  <a:pt x="4699225" y="1957292"/>
                </a:cubicBezTo>
                <a:cubicBezTo>
                  <a:pt x="4690175" y="1961712"/>
                  <a:pt x="4680777" y="1965369"/>
                  <a:pt x="4671126" y="1968246"/>
                </a:cubicBezTo>
                <a:cubicBezTo>
                  <a:pt x="4652743" y="1973485"/>
                  <a:pt x="4639789" y="1973008"/>
                  <a:pt x="4643408" y="1967103"/>
                </a:cubicBezTo>
                <a:cubicBezTo>
                  <a:pt x="4647218" y="1961007"/>
                  <a:pt x="4669126" y="1949958"/>
                  <a:pt x="4688842" y="1944338"/>
                </a:cubicBezTo>
                <a:cubicBezTo>
                  <a:pt x="4693087" y="1943081"/>
                  <a:pt x="4697416" y="1942119"/>
                  <a:pt x="4701796" y="1941481"/>
                </a:cubicBezTo>
                <a:cubicBezTo>
                  <a:pt x="4704952" y="1941052"/>
                  <a:pt x="4708136" y="1940862"/>
                  <a:pt x="4711321" y="1940909"/>
                </a:cubicBezTo>
                <a:close/>
                <a:moveTo>
                  <a:pt x="3256619" y="1937349"/>
                </a:moveTo>
                <a:cubicBezTo>
                  <a:pt x="3273619" y="1937599"/>
                  <a:pt x="3286191" y="1940767"/>
                  <a:pt x="3290333" y="1946815"/>
                </a:cubicBezTo>
                <a:cubicBezTo>
                  <a:pt x="3298621" y="1958911"/>
                  <a:pt x="3273096" y="1976152"/>
                  <a:pt x="3231283" y="1986915"/>
                </a:cubicBezTo>
                <a:cubicBezTo>
                  <a:pt x="3189276" y="1997773"/>
                  <a:pt x="3148509" y="1997488"/>
                  <a:pt x="3137937" y="1986248"/>
                </a:cubicBezTo>
                <a:cubicBezTo>
                  <a:pt x="3127363" y="1975009"/>
                  <a:pt x="3152603" y="1956625"/>
                  <a:pt x="3196324" y="1945386"/>
                </a:cubicBezTo>
                <a:cubicBezTo>
                  <a:pt x="3218186" y="1939766"/>
                  <a:pt x="3239615" y="1937099"/>
                  <a:pt x="3256619" y="1937349"/>
                </a:cubicBezTo>
                <a:close/>
                <a:moveTo>
                  <a:pt x="5093369" y="1934147"/>
                </a:moveTo>
                <a:cubicBezTo>
                  <a:pt x="5101751" y="1933004"/>
                  <a:pt x="5104513" y="1934147"/>
                  <a:pt x="5100608" y="1936528"/>
                </a:cubicBezTo>
                <a:cubicBezTo>
                  <a:pt x="5093730" y="1940214"/>
                  <a:pt x="5086245" y="1942633"/>
                  <a:pt x="5078510" y="1943672"/>
                </a:cubicBezTo>
                <a:cubicBezTo>
                  <a:pt x="5068985" y="1945196"/>
                  <a:pt x="5066318" y="1944338"/>
                  <a:pt x="5070699" y="1941386"/>
                </a:cubicBezTo>
                <a:cubicBezTo>
                  <a:pt x="5073697" y="1939614"/>
                  <a:pt x="5076894" y="1938204"/>
                  <a:pt x="5080224" y="1937195"/>
                </a:cubicBezTo>
                <a:cubicBezTo>
                  <a:pt x="5082225" y="1936623"/>
                  <a:pt x="5084415" y="1935956"/>
                  <a:pt x="5086606" y="1935480"/>
                </a:cubicBezTo>
                <a:cubicBezTo>
                  <a:pt x="5088797" y="1935004"/>
                  <a:pt x="5091083" y="1934528"/>
                  <a:pt x="5093369" y="1934147"/>
                </a:cubicBezTo>
                <a:close/>
                <a:moveTo>
                  <a:pt x="4855768" y="1933087"/>
                </a:moveTo>
                <a:cubicBezTo>
                  <a:pt x="4859411" y="1933551"/>
                  <a:pt x="4860292" y="1935194"/>
                  <a:pt x="4857530" y="1937861"/>
                </a:cubicBezTo>
                <a:cubicBezTo>
                  <a:pt x="4845784" y="1945881"/>
                  <a:pt x="4832530" y="1951416"/>
                  <a:pt x="4818573" y="1954149"/>
                </a:cubicBezTo>
                <a:cubicBezTo>
                  <a:pt x="4803428" y="1957864"/>
                  <a:pt x="4794951" y="1956816"/>
                  <a:pt x="4799808" y="1951768"/>
                </a:cubicBezTo>
                <a:cubicBezTo>
                  <a:pt x="4804153" y="1947996"/>
                  <a:pt x="4809115" y="1944996"/>
                  <a:pt x="4814477" y="1942910"/>
                </a:cubicBezTo>
                <a:cubicBezTo>
                  <a:pt x="4821915" y="1939795"/>
                  <a:pt x="4829591" y="1937271"/>
                  <a:pt x="4837432" y="1935385"/>
                </a:cubicBezTo>
                <a:cubicBezTo>
                  <a:pt x="4845719" y="1933337"/>
                  <a:pt x="4852125" y="1932623"/>
                  <a:pt x="4855768" y="1933087"/>
                </a:cubicBezTo>
                <a:close/>
                <a:moveTo>
                  <a:pt x="4120819" y="1932634"/>
                </a:moveTo>
                <a:cubicBezTo>
                  <a:pt x="4131202" y="1933146"/>
                  <a:pt x="4136536" y="1936099"/>
                  <a:pt x="4135059" y="1941290"/>
                </a:cubicBezTo>
                <a:cubicBezTo>
                  <a:pt x="4132106" y="1951672"/>
                  <a:pt x="4105722" y="1966722"/>
                  <a:pt x="4067622" y="1978819"/>
                </a:cubicBezTo>
                <a:cubicBezTo>
                  <a:pt x="4029522" y="1990915"/>
                  <a:pt x="4001614" y="1993011"/>
                  <a:pt x="3988850" y="1984153"/>
                </a:cubicBezTo>
                <a:cubicBezTo>
                  <a:pt x="3981274" y="1989801"/>
                  <a:pt x="3973387" y="1995011"/>
                  <a:pt x="3965228" y="1999774"/>
                </a:cubicBezTo>
                <a:cubicBezTo>
                  <a:pt x="3955417" y="2005012"/>
                  <a:pt x="3942463" y="2010346"/>
                  <a:pt x="3930271" y="2015871"/>
                </a:cubicBezTo>
                <a:cubicBezTo>
                  <a:pt x="3939701" y="2015395"/>
                  <a:pt x="3952084" y="2014347"/>
                  <a:pt x="3960466" y="2014347"/>
                </a:cubicBezTo>
                <a:cubicBezTo>
                  <a:pt x="3966463" y="2014928"/>
                  <a:pt x="3972358" y="2016309"/>
                  <a:pt x="3977992" y="2018443"/>
                </a:cubicBezTo>
                <a:cubicBezTo>
                  <a:pt x="4002798" y="2001507"/>
                  <a:pt x="4030698" y="1989630"/>
                  <a:pt x="4060097" y="1983486"/>
                </a:cubicBezTo>
                <a:cubicBezTo>
                  <a:pt x="4093435" y="1975199"/>
                  <a:pt x="4112294" y="1976152"/>
                  <a:pt x="4118962" y="1985677"/>
                </a:cubicBezTo>
                <a:cubicBezTo>
                  <a:pt x="4126840" y="1976923"/>
                  <a:pt x="4136612" y="1970075"/>
                  <a:pt x="4147537" y="1965674"/>
                </a:cubicBezTo>
                <a:cubicBezTo>
                  <a:pt x="4164172" y="1957711"/>
                  <a:pt x="4181520" y="1951330"/>
                  <a:pt x="4199353" y="1946624"/>
                </a:cubicBezTo>
                <a:cubicBezTo>
                  <a:pt x="4234214" y="1937575"/>
                  <a:pt x="4256122" y="1937575"/>
                  <a:pt x="4255455" y="1946624"/>
                </a:cubicBezTo>
                <a:cubicBezTo>
                  <a:pt x="4254788" y="1955673"/>
                  <a:pt x="4231452" y="1968817"/>
                  <a:pt x="4183827" y="1985962"/>
                </a:cubicBezTo>
                <a:cubicBezTo>
                  <a:pt x="4219165" y="1979390"/>
                  <a:pt x="4238310" y="1980628"/>
                  <a:pt x="4231452" y="1990725"/>
                </a:cubicBezTo>
                <a:cubicBezTo>
                  <a:pt x="4224594" y="2000821"/>
                  <a:pt x="4199924" y="2012442"/>
                  <a:pt x="4163158" y="2024920"/>
                </a:cubicBezTo>
                <a:cubicBezTo>
                  <a:pt x="4197638" y="2018919"/>
                  <a:pt x="4213164" y="2020252"/>
                  <a:pt x="4203639" y="2031397"/>
                </a:cubicBezTo>
                <a:cubicBezTo>
                  <a:pt x="4196590" y="2039398"/>
                  <a:pt x="4169635" y="2051971"/>
                  <a:pt x="4143346" y="2059972"/>
                </a:cubicBezTo>
                <a:cubicBezTo>
                  <a:pt x="4109056" y="2070354"/>
                  <a:pt x="4088196" y="2072354"/>
                  <a:pt x="4075909" y="2068449"/>
                </a:cubicBezTo>
                <a:cubicBezTo>
                  <a:pt x="4059925" y="2077898"/>
                  <a:pt x="4043046" y="2085746"/>
                  <a:pt x="4025521" y="2091880"/>
                </a:cubicBezTo>
                <a:cubicBezTo>
                  <a:pt x="4046286" y="2088832"/>
                  <a:pt x="4059811" y="2088451"/>
                  <a:pt x="4062478" y="2092928"/>
                </a:cubicBezTo>
                <a:cubicBezTo>
                  <a:pt x="4089197" y="2077783"/>
                  <a:pt x="4118122" y="2066925"/>
                  <a:pt x="4148203" y="2060734"/>
                </a:cubicBezTo>
                <a:cubicBezTo>
                  <a:pt x="4172873" y="2055781"/>
                  <a:pt x="4187827" y="2056638"/>
                  <a:pt x="4184875" y="2063782"/>
                </a:cubicBezTo>
                <a:cubicBezTo>
                  <a:pt x="4181922" y="2070925"/>
                  <a:pt x="4160681" y="2081403"/>
                  <a:pt x="4119152" y="2095976"/>
                </a:cubicBezTo>
                <a:cubicBezTo>
                  <a:pt x="4130878" y="2092823"/>
                  <a:pt x="4143029" y="2091538"/>
                  <a:pt x="4155157" y="2092166"/>
                </a:cubicBezTo>
                <a:cubicBezTo>
                  <a:pt x="4159824" y="2093119"/>
                  <a:pt x="4162586" y="2094833"/>
                  <a:pt x="4159824" y="2098262"/>
                </a:cubicBezTo>
                <a:cubicBezTo>
                  <a:pt x="4154014" y="2105120"/>
                  <a:pt x="4134011" y="2115502"/>
                  <a:pt x="4106389" y="2124170"/>
                </a:cubicBezTo>
                <a:cubicBezTo>
                  <a:pt x="4069622" y="2135695"/>
                  <a:pt x="4050001" y="2136743"/>
                  <a:pt x="4039714" y="2132362"/>
                </a:cubicBezTo>
                <a:cubicBezTo>
                  <a:pt x="4023392" y="2142658"/>
                  <a:pt x="4005688" y="2150573"/>
                  <a:pt x="3987136" y="2155888"/>
                </a:cubicBezTo>
                <a:cubicBezTo>
                  <a:pt x="3998374" y="2153298"/>
                  <a:pt x="4009896" y="2152145"/>
                  <a:pt x="4021426" y="2152459"/>
                </a:cubicBezTo>
                <a:cubicBezTo>
                  <a:pt x="4027617" y="2153602"/>
                  <a:pt x="4030760" y="2155603"/>
                  <a:pt x="4024378" y="2160651"/>
                </a:cubicBezTo>
                <a:cubicBezTo>
                  <a:pt x="4006821" y="2171865"/>
                  <a:pt x="3987501" y="2180044"/>
                  <a:pt x="3967228" y="2184844"/>
                </a:cubicBezTo>
                <a:cubicBezTo>
                  <a:pt x="3941606" y="2191988"/>
                  <a:pt x="3919984" y="2194655"/>
                  <a:pt x="3913031" y="2190845"/>
                </a:cubicBezTo>
                <a:cubicBezTo>
                  <a:pt x="3906078" y="2187035"/>
                  <a:pt x="3919222" y="2179034"/>
                  <a:pt x="3959132" y="2163223"/>
                </a:cubicBezTo>
                <a:cubicBezTo>
                  <a:pt x="3946121" y="2166261"/>
                  <a:pt x="3932686" y="2167033"/>
                  <a:pt x="3919413" y="2165509"/>
                </a:cubicBezTo>
                <a:cubicBezTo>
                  <a:pt x="3904753" y="2174470"/>
                  <a:pt x="3889003" y="2181513"/>
                  <a:pt x="3872550" y="2186464"/>
                </a:cubicBezTo>
                <a:cubicBezTo>
                  <a:pt x="3897886" y="2182844"/>
                  <a:pt x="3911698" y="2183416"/>
                  <a:pt x="3906649" y="2190559"/>
                </a:cubicBezTo>
                <a:cubicBezTo>
                  <a:pt x="3901601" y="2197703"/>
                  <a:pt x="3882646" y="2205990"/>
                  <a:pt x="3854548" y="2214848"/>
                </a:cubicBezTo>
                <a:cubicBezTo>
                  <a:pt x="3887409" y="2209324"/>
                  <a:pt x="3901792" y="2209133"/>
                  <a:pt x="3896934" y="2215515"/>
                </a:cubicBezTo>
                <a:cubicBezTo>
                  <a:pt x="3892076" y="2221897"/>
                  <a:pt x="3875026" y="2229898"/>
                  <a:pt x="3849309" y="2237803"/>
                </a:cubicBezTo>
                <a:cubicBezTo>
                  <a:pt x="3835984" y="2242109"/>
                  <a:pt x="3822264" y="2245076"/>
                  <a:pt x="3808351" y="2246662"/>
                </a:cubicBezTo>
                <a:cubicBezTo>
                  <a:pt x="3798255" y="2247328"/>
                  <a:pt x="3791302" y="2246662"/>
                  <a:pt x="3782824" y="2246662"/>
                </a:cubicBezTo>
                <a:cubicBezTo>
                  <a:pt x="3774347" y="2253996"/>
                  <a:pt x="3756154" y="2262187"/>
                  <a:pt x="3726722" y="2269712"/>
                </a:cubicBezTo>
                <a:cubicBezTo>
                  <a:pt x="3694909" y="2277904"/>
                  <a:pt x="3677002" y="2278666"/>
                  <a:pt x="3669572" y="2274379"/>
                </a:cubicBezTo>
                <a:cubicBezTo>
                  <a:pt x="3651556" y="2286357"/>
                  <a:pt x="3631362" y="2294675"/>
                  <a:pt x="3610136" y="2298859"/>
                </a:cubicBezTo>
                <a:cubicBezTo>
                  <a:pt x="3584419" y="2305050"/>
                  <a:pt x="3562607" y="2307241"/>
                  <a:pt x="3555847" y="2303716"/>
                </a:cubicBezTo>
                <a:cubicBezTo>
                  <a:pt x="3549084" y="2300192"/>
                  <a:pt x="3562512" y="2292382"/>
                  <a:pt x="3593944" y="2281142"/>
                </a:cubicBezTo>
                <a:cubicBezTo>
                  <a:pt x="3584609" y="2282190"/>
                  <a:pt x="3574513" y="2284190"/>
                  <a:pt x="3566798" y="2284190"/>
                </a:cubicBezTo>
                <a:cubicBezTo>
                  <a:pt x="3560455" y="2284552"/>
                  <a:pt x="3554095" y="2284552"/>
                  <a:pt x="3547748" y="2284190"/>
                </a:cubicBezTo>
                <a:cubicBezTo>
                  <a:pt x="3539272" y="2291620"/>
                  <a:pt x="3520224" y="2299240"/>
                  <a:pt x="3491650" y="2306860"/>
                </a:cubicBezTo>
                <a:cubicBezTo>
                  <a:pt x="3501270" y="2305240"/>
                  <a:pt x="3511366" y="2303145"/>
                  <a:pt x="3519271" y="2302192"/>
                </a:cubicBezTo>
                <a:cubicBezTo>
                  <a:pt x="3525865" y="2301282"/>
                  <a:pt x="3532533" y="2301027"/>
                  <a:pt x="3539177" y="2301430"/>
                </a:cubicBezTo>
                <a:cubicBezTo>
                  <a:pt x="3543749" y="2302002"/>
                  <a:pt x="3546036" y="2303526"/>
                  <a:pt x="3546036" y="2305526"/>
                </a:cubicBezTo>
                <a:cubicBezTo>
                  <a:pt x="3546036" y="2310955"/>
                  <a:pt x="3525842" y="2320290"/>
                  <a:pt x="3498414" y="2327148"/>
                </a:cubicBezTo>
                <a:cubicBezTo>
                  <a:pt x="3470987" y="2334006"/>
                  <a:pt x="3446033" y="2337435"/>
                  <a:pt x="3436706" y="2334006"/>
                </a:cubicBezTo>
                <a:cubicBezTo>
                  <a:pt x="3427372" y="2330577"/>
                  <a:pt x="3441084" y="2322671"/>
                  <a:pt x="3480414" y="2309622"/>
                </a:cubicBezTo>
                <a:cubicBezTo>
                  <a:pt x="3452226" y="2314765"/>
                  <a:pt x="3434228" y="2315813"/>
                  <a:pt x="3426895" y="2312003"/>
                </a:cubicBezTo>
                <a:cubicBezTo>
                  <a:pt x="3409107" y="2324219"/>
                  <a:pt x="3388855" y="2332381"/>
                  <a:pt x="3367574" y="2335911"/>
                </a:cubicBezTo>
                <a:cubicBezTo>
                  <a:pt x="3339766" y="2342102"/>
                  <a:pt x="3315954" y="2343912"/>
                  <a:pt x="3307189" y="2340673"/>
                </a:cubicBezTo>
                <a:cubicBezTo>
                  <a:pt x="3298430" y="2337435"/>
                  <a:pt x="3311096" y="2329624"/>
                  <a:pt x="3346716" y="2316956"/>
                </a:cubicBezTo>
                <a:cubicBezTo>
                  <a:pt x="3317289" y="2322004"/>
                  <a:pt x="3297002" y="2323052"/>
                  <a:pt x="3289574" y="2318004"/>
                </a:cubicBezTo>
                <a:cubicBezTo>
                  <a:pt x="3284772" y="2324247"/>
                  <a:pt x="3278096" y="2328786"/>
                  <a:pt x="3270525" y="2330958"/>
                </a:cubicBezTo>
                <a:cubicBezTo>
                  <a:pt x="3257635" y="2336201"/>
                  <a:pt x="3244311" y="2340313"/>
                  <a:pt x="3230712" y="2343245"/>
                </a:cubicBezTo>
                <a:cubicBezTo>
                  <a:pt x="3200326" y="2350008"/>
                  <a:pt x="3174989" y="2352008"/>
                  <a:pt x="3164702" y="2348389"/>
                </a:cubicBezTo>
                <a:cubicBezTo>
                  <a:pt x="3158321" y="2346484"/>
                  <a:pt x="3160605" y="2342007"/>
                  <a:pt x="3170513" y="2336959"/>
                </a:cubicBezTo>
                <a:cubicBezTo>
                  <a:pt x="3180416" y="2331910"/>
                  <a:pt x="3194992" y="2327338"/>
                  <a:pt x="3207658" y="2322385"/>
                </a:cubicBezTo>
                <a:cubicBezTo>
                  <a:pt x="3176798" y="2328005"/>
                  <a:pt x="3154699" y="2330196"/>
                  <a:pt x="3146414" y="2324100"/>
                </a:cubicBezTo>
                <a:cubicBezTo>
                  <a:pt x="3138126" y="2318004"/>
                  <a:pt x="3156701" y="2308669"/>
                  <a:pt x="3193183" y="2297716"/>
                </a:cubicBezTo>
                <a:cubicBezTo>
                  <a:pt x="3176958" y="2300528"/>
                  <a:pt x="3160576" y="2302310"/>
                  <a:pt x="3144128" y="2303050"/>
                </a:cubicBezTo>
                <a:cubicBezTo>
                  <a:pt x="3132507" y="2303335"/>
                  <a:pt x="3125173" y="2302002"/>
                  <a:pt x="3122981" y="2299144"/>
                </a:cubicBezTo>
                <a:cubicBezTo>
                  <a:pt x="3117171" y="2292001"/>
                  <a:pt x="3137555" y="2282285"/>
                  <a:pt x="3177178" y="2270569"/>
                </a:cubicBezTo>
                <a:cubicBezTo>
                  <a:pt x="3157368" y="2275042"/>
                  <a:pt x="3137088" y="2277089"/>
                  <a:pt x="3116789" y="2276665"/>
                </a:cubicBezTo>
                <a:cubicBezTo>
                  <a:pt x="3106697" y="2275903"/>
                  <a:pt x="3099453" y="2274189"/>
                  <a:pt x="3098788" y="2270569"/>
                </a:cubicBezTo>
                <a:cubicBezTo>
                  <a:pt x="3098120" y="2266950"/>
                  <a:pt x="3102504" y="2262187"/>
                  <a:pt x="3112029" y="2257425"/>
                </a:cubicBezTo>
                <a:cubicBezTo>
                  <a:pt x="3125745" y="2251190"/>
                  <a:pt x="3140032" y="2246309"/>
                  <a:pt x="3154699" y="2242852"/>
                </a:cubicBezTo>
                <a:cubicBezTo>
                  <a:pt x="3188420" y="2234089"/>
                  <a:pt x="3223947" y="2231707"/>
                  <a:pt x="3238140" y="2236756"/>
                </a:cubicBezTo>
                <a:cubicBezTo>
                  <a:pt x="3252045" y="2241772"/>
                  <a:pt x="3237406" y="2251805"/>
                  <a:pt x="3194230" y="2266855"/>
                </a:cubicBezTo>
                <a:cubicBezTo>
                  <a:pt x="3207088" y="2265426"/>
                  <a:pt x="3221377" y="2263426"/>
                  <a:pt x="3231757" y="2262854"/>
                </a:cubicBezTo>
                <a:cubicBezTo>
                  <a:pt x="3242139" y="2262283"/>
                  <a:pt x="3249760" y="2263616"/>
                  <a:pt x="3260334" y="2263616"/>
                </a:cubicBezTo>
                <a:cubicBezTo>
                  <a:pt x="3268808" y="2255234"/>
                  <a:pt x="3286525" y="2246852"/>
                  <a:pt x="3318334" y="2238565"/>
                </a:cubicBezTo>
                <a:cubicBezTo>
                  <a:pt x="3332537" y="2234774"/>
                  <a:pt x="3346983" y="2231973"/>
                  <a:pt x="3361574" y="2230183"/>
                </a:cubicBezTo>
                <a:cubicBezTo>
                  <a:pt x="3372314" y="2228866"/>
                  <a:pt x="3383158" y="2228611"/>
                  <a:pt x="3393949" y="2229421"/>
                </a:cubicBezTo>
                <a:lnTo>
                  <a:pt x="3432800" y="2210371"/>
                </a:lnTo>
                <a:cubicBezTo>
                  <a:pt x="3426895" y="2210562"/>
                  <a:pt x="3418711" y="2211133"/>
                  <a:pt x="3411948" y="2211133"/>
                </a:cubicBezTo>
                <a:cubicBezTo>
                  <a:pt x="3405471" y="2211133"/>
                  <a:pt x="3400423" y="2210467"/>
                  <a:pt x="3392613" y="2209800"/>
                </a:cubicBezTo>
                <a:cubicBezTo>
                  <a:pt x="3382424" y="2216739"/>
                  <a:pt x="3371466" y="2222461"/>
                  <a:pt x="3359953" y="2226850"/>
                </a:cubicBezTo>
                <a:cubicBezTo>
                  <a:pt x="3344153" y="2232428"/>
                  <a:pt x="3327908" y="2236634"/>
                  <a:pt x="3311382" y="2239423"/>
                </a:cubicBezTo>
                <a:cubicBezTo>
                  <a:pt x="3297668" y="2242141"/>
                  <a:pt x="3283743" y="2243607"/>
                  <a:pt x="3269763" y="2243804"/>
                </a:cubicBezTo>
                <a:cubicBezTo>
                  <a:pt x="3262638" y="2244581"/>
                  <a:pt x="3255476" y="2242864"/>
                  <a:pt x="3249475" y="2238946"/>
                </a:cubicBezTo>
                <a:cubicBezTo>
                  <a:pt x="3242807" y="2232088"/>
                  <a:pt x="3256904" y="2223516"/>
                  <a:pt x="3299192" y="2208657"/>
                </a:cubicBezTo>
                <a:cubicBezTo>
                  <a:pt x="3259096" y="2214753"/>
                  <a:pt x="3230233" y="2215134"/>
                  <a:pt x="3229568" y="2206942"/>
                </a:cubicBezTo>
                <a:cubicBezTo>
                  <a:pt x="3228900" y="2198751"/>
                  <a:pt x="3241093" y="2188940"/>
                  <a:pt x="3283954" y="2176177"/>
                </a:cubicBezTo>
                <a:cubicBezTo>
                  <a:pt x="3314990" y="2166261"/>
                  <a:pt x="3347860" y="2163394"/>
                  <a:pt x="3380140" y="2167795"/>
                </a:cubicBezTo>
                <a:cubicBezTo>
                  <a:pt x="3389758" y="2158270"/>
                  <a:pt x="3407184" y="2148745"/>
                  <a:pt x="3439561" y="2139220"/>
                </a:cubicBezTo>
                <a:lnTo>
                  <a:pt x="3419948" y="2141410"/>
                </a:lnTo>
                <a:cubicBezTo>
                  <a:pt x="3391185" y="2144363"/>
                  <a:pt x="3371380" y="2140839"/>
                  <a:pt x="3374047" y="2133028"/>
                </a:cubicBezTo>
                <a:cubicBezTo>
                  <a:pt x="3377856" y="2122551"/>
                  <a:pt x="3400423" y="2110073"/>
                  <a:pt x="3434991" y="2100548"/>
                </a:cubicBezTo>
                <a:cubicBezTo>
                  <a:pt x="3465845" y="2091023"/>
                  <a:pt x="3500225" y="2087594"/>
                  <a:pt x="3517652" y="2091023"/>
                </a:cubicBezTo>
                <a:cubicBezTo>
                  <a:pt x="3520986" y="2091690"/>
                  <a:pt x="3523652" y="2092547"/>
                  <a:pt x="3528891" y="2093881"/>
                </a:cubicBezTo>
                <a:cubicBezTo>
                  <a:pt x="3540891" y="2080450"/>
                  <a:pt x="3563846" y="2068354"/>
                  <a:pt x="3604040" y="2058162"/>
                </a:cubicBezTo>
                <a:cubicBezTo>
                  <a:pt x="3644236" y="2047970"/>
                  <a:pt x="3669191" y="2048256"/>
                  <a:pt x="3684526" y="2054638"/>
                </a:cubicBezTo>
                <a:cubicBezTo>
                  <a:pt x="3699385" y="2039683"/>
                  <a:pt x="3728056" y="2025967"/>
                  <a:pt x="3768156" y="2016538"/>
                </a:cubicBezTo>
                <a:cubicBezTo>
                  <a:pt x="3808256" y="2007108"/>
                  <a:pt x="3831116" y="2007775"/>
                  <a:pt x="3837974" y="2017300"/>
                </a:cubicBezTo>
                <a:cubicBezTo>
                  <a:pt x="3861858" y="1998554"/>
                  <a:pt x="3889715" y="1985524"/>
                  <a:pt x="3919413" y="1979200"/>
                </a:cubicBezTo>
                <a:cubicBezTo>
                  <a:pt x="3964085" y="1968436"/>
                  <a:pt x="3984373" y="1970627"/>
                  <a:pt x="3989707" y="1980724"/>
                </a:cubicBezTo>
                <a:cubicBezTo>
                  <a:pt x="4004566" y="1963769"/>
                  <a:pt x="4036380" y="1948148"/>
                  <a:pt x="4076290" y="1938623"/>
                </a:cubicBezTo>
                <a:cubicBezTo>
                  <a:pt x="4095007" y="1934051"/>
                  <a:pt x="4110437" y="1932122"/>
                  <a:pt x="4120819" y="1932634"/>
                </a:cubicBezTo>
                <a:close/>
                <a:moveTo>
                  <a:pt x="4980212" y="1930908"/>
                </a:moveTo>
                <a:cubicBezTo>
                  <a:pt x="4981919" y="1930699"/>
                  <a:pt x="4983647" y="1930699"/>
                  <a:pt x="4985355" y="1930908"/>
                </a:cubicBezTo>
                <a:cubicBezTo>
                  <a:pt x="4987641" y="1931384"/>
                  <a:pt x="4987736" y="1932718"/>
                  <a:pt x="4985355" y="1934718"/>
                </a:cubicBezTo>
                <a:cubicBezTo>
                  <a:pt x="4981587" y="1937376"/>
                  <a:pt x="4977446" y="1939462"/>
                  <a:pt x="4973068" y="1940909"/>
                </a:cubicBezTo>
                <a:cubicBezTo>
                  <a:pt x="4967206" y="1943100"/>
                  <a:pt x="4961188" y="1944853"/>
                  <a:pt x="4955066" y="1946148"/>
                </a:cubicBezTo>
                <a:cubicBezTo>
                  <a:pt x="4942397" y="1948720"/>
                  <a:pt x="4936778" y="1947672"/>
                  <a:pt x="4941635" y="1943672"/>
                </a:cubicBezTo>
                <a:cubicBezTo>
                  <a:pt x="4950899" y="1937947"/>
                  <a:pt x="4961185" y="1934061"/>
                  <a:pt x="4971925" y="1932242"/>
                </a:cubicBezTo>
                <a:cubicBezTo>
                  <a:pt x="4975163" y="1931575"/>
                  <a:pt x="4977926" y="1931194"/>
                  <a:pt x="4980212" y="1930908"/>
                </a:cubicBezTo>
                <a:close/>
                <a:moveTo>
                  <a:pt x="4648837" y="1929669"/>
                </a:moveTo>
                <a:cubicBezTo>
                  <a:pt x="4654457" y="1929669"/>
                  <a:pt x="4656457" y="1932241"/>
                  <a:pt x="4653695" y="1936146"/>
                </a:cubicBezTo>
                <a:cubicBezTo>
                  <a:pt x="4648665" y="1941623"/>
                  <a:pt x="4642529" y="1945976"/>
                  <a:pt x="4635693" y="1948910"/>
                </a:cubicBezTo>
                <a:lnTo>
                  <a:pt x="4633978" y="1949672"/>
                </a:lnTo>
                <a:lnTo>
                  <a:pt x="4633026" y="1949672"/>
                </a:lnTo>
                <a:lnTo>
                  <a:pt x="4631978" y="1949672"/>
                </a:lnTo>
                <a:lnTo>
                  <a:pt x="4627597" y="1951577"/>
                </a:lnTo>
                <a:cubicBezTo>
                  <a:pt x="4624644" y="1952815"/>
                  <a:pt x="4621501" y="1954053"/>
                  <a:pt x="4618072" y="1955196"/>
                </a:cubicBezTo>
                <a:cubicBezTo>
                  <a:pt x="4611690" y="1957577"/>
                  <a:pt x="4604832" y="1959864"/>
                  <a:pt x="4597879" y="1961959"/>
                </a:cubicBezTo>
                <a:cubicBezTo>
                  <a:pt x="4570923" y="1969770"/>
                  <a:pt x="4555111" y="1970055"/>
                  <a:pt x="4560541" y="1961959"/>
                </a:cubicBezTo>
                <a:cubicBezTo>
                  <a:pt x="4565970" y="1953863"/>
                  <a:pt x="4591973" y="1943099"/>
                  <a:pt x="4620739" y="1934146"/>
                </a:cubicBezTo>
                <a:lnTo>
                  <a:pt x="4625977" y="1932622"/>
                </a:lnTo>
                <a:lnTo>
                  <a:pt x="4628549" y="1931955"/>
                </a:lnTo>
                <a:lnTo>
                  <a:pt x="4630549" y="1931955"/>
                </a:lnTo>
                <a:lnTo>
                  <a:pt x="4637884" y="1930431"/>
                </a:lnTo>
                <a:cubicBezTo>
                  <a:pt x="4641499" y="1929803"/>
                  <a:pt x="4645169" y="1929545"/>
                  <a:pt x="4648837" y="1929669"/>
                </a:cubicBezTo>
                <a:close/>
                <a:moveTo>
                  <a:pt x="5169950" y="1924812"/>
                </a:moveTo>
                <a:cubicBezTo>
                  <a:pt x="5176904" y="1923859"/>
                  <a:pt x="5179475" y="1924812"/>
                  <a:pt x="5176046" y="1926621"/>
                </a:cubicBezTo>
                <a:cubicBezTo>
                  <a:pt x="5170357" y="1929622"/>
                  <a:pt x="5164153" y="1931536"/>
                  <a:pt x="5157758" y="1932241"/>
                </a:cubicBezTo>
                <a:cubicBezTo>
                  <a:pt x="5149662" y="1933575"/>
                  <a:pt x="5147090" y="1932622"/>
                  <a:pt x="5150900" y="1930336"/>
                </a:cubicBezTo>
                <a:cubicBezTo>
                  <a:pt x="5156854" y="1927336"/>
                  <a:pt x="5163313" y="1925459"/>
                  <a:pt x="5169950" y="1924812"/>
                </a:cubicBezTo>
                <a:close/>
                <a:moveTo>
                  <a:pt x="3983731" y="1924657"/>
                </a:moveTo>
                <a:cubicBezTo>
                  <a:pt x="3996899" y="1924836"/>
                  <a:pt x="4004471" y="1928098"/>
                  <a:pt x="4003423" y="1934432"/>
                </a:cubicBezTo>
                <a:cubicBezTo>
                  <a:pt x="4001328" y="1947100"/>
                  <a:pt x="3969133" y="1963674"/>
                  <a:pt x="3928366" y="1975008"/>
                </a:cubicBezTo>
                <a:cubicBezTo>
                  <a:pt x="3886742" y="1986629"/>
                  <a:pt x="3855024" y="1986629"/>
                  <a:pt x="3855119" y="1975008"/>
                </a:cubicBezTo>
                <a:cubicBezTo>
                  <a:pt x="3855214" y="1963388"/>
                  <a:pt x="3887790" y="1945386"/>
                  <a:pt x="3930462" y="1933384"/>
                </a:cubicBezTo>
                <a:cubicBezTo>
                  <a:pt x="3951798" y="1927383"/>
                  <a:pt x="3970562" y="1924478"/>
                  <a:pt x="3983731" y="1924657"/>
                </a:cubicBezTo>
                <a:close/>
                <a:moveTo>
                  <a:pt x="3013098" y="1924216"/>
                </a:moveTo>
                <a:cubicBezTo>
                  <a:pt x="3030732" y="1924859"/>
                  <a:pt x="3044111" y="1928526"/>
                  <a:pt x="3049733" y="1935099"/>
                </a:cubicBezTo>
                <a:cubicBezTo>
                  <a:pt x="3060971" y="1948243"/>
                  <a:pt x="3036779" y="1963674"/>
                  <a:pt x="2994679" y="1973770"/>
                </a:cubicBezTo>
                <a:cubicBezTo>
                  <a:pt x="2952579" y="1983867"/>
                  <a:pt x="2912574" y="1982724"/>
                  <a:pt x="2899140" y="1971008"/>
                </a:cubicBezTo>
                <a:cubicBezTo>
                  <a:pt x="2885521" y="1958911"/>
                  <a:pt x="2907430" y="1942433"/>
                  <a:pt x="2950959" y="1931479"/>
                </a:cubicBezTo>
                <a:cubicBezTo>
                  <a:pt x="2973582" y="1925954"/>
                  <a:pt x="2995464" y="1923573"/>
                  <a:pt x="3013098" y="1924216"/>
                </a:cubicBezTo>
                <a:close/>
                <a:moveTo>
                  <a:pt x="4802582" y="1920096"/>
                </a:moveTo>
                <a:cubicBezTo>
                  <a:pt x="4806928" y="1920573"/>
                  <a:pt x="4808333" y="1922382"/>
                  <a:pt x="4805714" y="1925383"/>
                </a:cubicBezTo>
                <a:cubicBezTo>
                  <a:pt x="4792634" y="1935061"/>
                  <a:pt x="4777627" y="1941823"/>
                  <a:pt x="4761708" y="1945195"/>
                </a:cubicBezTo>
                <a:cubicBezTo>
                  <a:pt x="4759517" y="1945767"/>
                  <a:pt x="4757422" y="1946148"/>
                  <a:pt x="4755422" y="1946529"/>
                </a:cubicBezTo>
                <a:cubicBezTo>
                  <a:pt x="4753421" y="1946910"/>
                  <a:pt x="4751612" y="1947291"/>
                  <a:pt x="4749897" y="1947576"/>
                </a:cubicBezTo>
                <a:cubicBezTo>
                  <a:pt x="4747143" y="1947891"/>
                  <a:pt x="4744364" y="1947891"/>
                  <a:pt x="4741610" y="1947576"/>
                </a:cubicBezTo>
                <a:cubicBezTo>
                  <a:pt x="4737419" y="1947576"/>
                  <a:pt x="4735991" y="1945386"/>
                  <a:pt x="4738562" y="1942433"/>
                </a:cubicBezTo>
                <a:cubicBezTo>
                  <a:pt x="4743412" y="1937899"/>
                  <a:pt x="4749065" y="1934318"/>
                  <a:pt x="4755231" y="1931860"/>
                </a:cubicBezTo>
                <a:cubicBezTo>
                  <a:pt x="4763837" y="1928145"/>
                  <a:pt x="4772723" y="1925126"/>
                  <a:pt x="4781806" y="1922811"/>
                </a:cubicBezTo>
                <a:cubicBezTo>
                  <a:pt x="4790950" y="1920477"/>
                  <a:pt x="4798237" y="1919620"/>
                  <a:pt x="4802582" y="1920096"/>
                </a:cubicBezTo>
                <a:close/>
                <a:moveTo>
                  <a:pt x="4574435" y="1919882"/>
                </a:moveTo>
                <a:cubicBezTo>
                  <a:pt x="4582091" y="1919906"/>
                  <a:pt x="4584973" y="1922144"/>
                  <a:pt x="4581496" y="1926526"/>
                </a:cubicBezTo>
                <a:cubicBezTo>
                  <a:pt x="4574542" y="1935289"/>
                  <a:pt x="4545491" y="1949386"/>
                  <a:pt x="4515678" y="1958054"/>
                </a:cubicBezTo>
                <a:cubicBezTo>
                  <a:pt x="4485865" y="1966721"/>
                  <a:pt x="4466243" y="1967198"/>
                  <a:pt x="4472053" y="1958625"/>
                </a:cubicBezTo>
                <a:cubicBezTo>
                  <a:pt x="4477864" y="1949862"/>
                  <a:pt x="4507486" y="1935479"/>
                  <a:pt x="4538728" y="1926526"/>
                </a:cubicBezTo>
                <a:cubicBezTo>
                  <a:pt x="4554349" y="1922049"/>
                  <a:pt x="4566779" y="1919858"/>
                  <a:pt x="4574435" y="1919882"/>
                </a:cubicBezTo>
                <a:close/>
                <a:moveTo>
                  <a:pt x="5052125" y="1919192"/>
                </a:moveTo>
                <a:cubicBezTo>
                  <a:pt x="5063650" y="1917287"/>
                  <a:pt x="5069746" y="1918335"/>
                  <a:pt x="5065174" y="1921669"/>
                </a:cubicBezTo>
                <a:cubicBezTo>
                  <a:pt x="5056494" y="1926517"/>
                  <a:pt x="5047005" y="1929746"/>
                  <a:pt x="5037171" y="1931194"/>
                </a:cubicBezTo>
                <a:cubicBezTo>
                  <a:pt x="5033429" y="1932070"/>
                  <a:pt x="5029577" y="1932394"/>
                  <a:pt x="5025741" y="1932146"/>
                </a:cubicBezTo>
                <a:cubicBezTo>
                  <a:pt x="5023455" y="1932146"/>
                  <a:pt x="5022788" y="1930908"/>
                  <a:pt x="5024503" y="1929289"/>
                </a:cubicBezTo>
                <a:cubicBezTo>
                  <a:pt x="5025763" y="1928251"/>
                  <a:pt x="5027137" y="1927355"/>
                  <a:pt x="5028598" y="1926622"/>
                </a:cubicBezTo>
                <a:cubicBezTo>
                  <a:pt x="5030503" y="1925669"/>
                  <a:pt x="5032789" y="1924717"/>
                  <a:pt x="5035266" y="1923764"/>
                </a:cubicBezTo>
                <a:cubicBezTo>
                  <a:pt x="5040762" y="1921812"/>
                  <a:pt x="5046398" y="1920288"/>
                  <a:pt x="5052125" y="1919192"/>
                </a:cubicBezTo>
                <a:close/>
                <a:moveTo>
                  <a:pt x="4925157" y="1918239"/>
                </a:moveTo>
                <a:cubicBezTo>
                  <a:pt x="4940397" y="1915096"/>
                  <a:pt x="4947255" y="1916430"/>
                  <a:pt x="4941540" y="1921383"/>
                </a:cubicBezTo>
                <a:cubicBezTo>
                  <a:pt x="4937225" y="1924583"/>
                  <a:pt x="4932437" y="1927088"/>
                  <a:pt x="4927348" y="1928812"/>
                </a:cubicBezTo>
                <a:cubicBezTo>
                  <a:pt x="4920455" y="1931546"/>
                  <a:pt x="4913352" y="1933708"/>
                  <a:pt x="4906107" y="1935289"/>
                </a:cubicBezTo>
                <a:cubicBezTo>
                  <a:pt x="4891248" y="1938623"/>
                  <a:pt x="4884199" y="1937575"/>
                  <a:pt x="4889438" y="1932622"/>
                </a:cubicBezTo>
                <a:cubicBezTo>
                  <a:pt x="4900218" y="1925402"/>
                  <a:pt x="4912382" y="1920506"/>
                  <a:pt x="4925157" y="1918239"/>
                </a:cubicBezTo>
                <a:close/>
                <a:moveTo>
                  <a:pt x="5246626" y="1916430"/>
                </a:moveTo>
                <a:cubicBezTo>
                  <a:pt x="5251579" y="1916430"/>
                  <a:pt x="5253008" y="1916430"/>
                  <a:pt x="5250245" y="1918145"/>
                </a:cubicBezTo>
                <a:cubicBezTo>
                  <a:pt x="5245596" y="1920211"/>
                  <a:pt x="5240641" y="1921497"/>
                  <a:pt x="5235577" y="1921955"/>
                </a:cubicBezTo>
                <a:cubicBezTo>
                  <a:pt x="5230624" y="1922431"/>
                  <a:pt x="5229100" y="1921859"/>
                  <a:pt x="5231862" y="1920240"/>
                </a:cubicBezTo>
                <a:cubicBezTo>
                  <a:pt x="5236536" y="1918154"/>
                  <a:pt x="5241526" y="1916868"/>
                  <a:pt x="5246626" y="1916430"/>
                </a:cubicBezTo>
                <a:close/>
                <a:moveTo>
                  <a:pt x="3827865" y="1916025"/>
                </a:moveTo>
                <a:cubicBezTo>
                  <a:pt x="3842379" y="1916311"/>
                  <a:pt x="3851642" y="1919525"/>
                  <a:pt x="3851594" y="1925574"/>
                </a:cubicBezTo>
                <a:cubicBezTo>
                  <a:pt x="3851499" y="1937670"/>
                  <a:pt x="3816447" y="1957292"/>
                  <a:pt x="3776918" y="1967960"/>
                </a:cubicBezTo>
                <a:cubicBezTo>
                  <a:pt x="3737390" y="1978628"/>
                  <a:pt x="3699671" y="1978628"/>
                  <a:pt x="3697861" y="1967389"/>
                </a:cubicBezTo>
                <a:cubicBezTo>
                  <a:pt x="3696051" y="1956149"/>
                  <a:pt x="3731103" y="1934813"/>
                  <a:pt x="3772632" y="1924050"/>
                </a:cubicBezTo>
                <a:cubicBezTo>
                  <a:pt x="3793587" y="1918382"/>
                  <a:pt x="3813352" y="1915739"/>
                  <a:pt x="3827865" y="1916025"/>
                </a:cubicBezTo>
                <a:close/>
                <a:moveTo>
                  <a:pt x="2136010" y="1915859"/>
                </a:moveTo>
                <a:cubicBezTo>
                  <a:pt x="2156155" y="1917621"/>
                  <a:pt x="2173942" y="1921669"/>
                  <a:pt x="2183515" y="1927479"/>
                </a:cubicBezTo>
                <a:cubicBezTo>
                  <a:pt x="2202663" y="1939100"/>
                  <a:pt x="2187040" y="1953673"/>
                  <a:pt x="2152846" y="1960531"/>
                </a:cubicBezTo>
                <a:cubicBezTo>
                  <a:pt x="2118651" y="1967389"/>
                  <a:pt x="2065597" y="1963960"/>
                  <a:pt x="2043975" y="1952625"/>
                </a:cubicBezTo>
                <a:cubicBezTo>
                  <a:pt x="2021972" y="1941195"/>
                  <a:pt x="2036355" y="1924622"/>
                  <a:pt x="2074360" y="1917954"/>
                </a:cubicBezTo>
                <a:cubicBezTo>
                  <a:pt x="2093362" y="1914620"/>
                  <a:pt x="2115865" y="1914097"/>
                  <a:pt x="2136010" y="1915859"/>
                </a:cubicBezTo>
                <a:close/>
                <a:moveTo>
                  <a:pt x="4482424" y="1911560"/>
                </a:moveTo>
                <a:cubicBezTo>
                  <a:pt x="4491604" y="1911644"/>
                  <a:pt x="4495676" y="1914191"/>
                  <a:pt x="4491770" y="1919287"/>
                </a:cubicBezTo>
                <a:cubicBezTo>
                  <a:pt x="4482245" y="1931098"/>
                  <a:pt x="4450813" y="1945291"/>
                  <a:pt x="4420142" y="1954244"/>
                </a:cubicBezTo>
                <a:cubicBezTo>
                  <a:pt x="4389472" y="1963198"/>
                  <a:pt x="4366421" y="1963198"/>
                  <a:pt x="4370898" y="1954244"/>
                </a:cubicBezTo>
                <a:cubicBezTo>
                  <a:pt x="4375375" y="1945291"/>
                  <a:pt x="4409665" y="1928146"/>
                  <a:pt x="4442431" y="1918621"/>
                </a:cubicBezTo>
                <a:cubicBezTo>
                  <a:pt x="4458957" y="1913858"/>
                  <a:pt x="4473245" y="1911477"/>
                  <a:pt x="4482424" y="1911560"/>
                </a:cubicBezTo>
                <a:close/>
                <a:moveTo>
                  <a:pt x="636644" y="1909762"/>
                </a:moveTo>
                <a:cubicBezTo>
                  <a:pt x="642930" y="1910543"/>
                  <a:pt x="649121" y="1911944"/>
                  <a:pt x="655122" y="1913953"/>
                </a:cubicBezTo>
                <a:lnTo>
                  <a:pt x="660932" y="1915858"/>
                </a:lnTo>
                <a:lnTo>
                  <a:pt x="667028" y="1918049"/>
                </a:lnTo>
                <a:cubicBezTo>
                  <a:pt x="671124" y="1919478"/>
                  <a:pt x="675410" y="1921192"/>
                  <a:pt x="679792" y="1922907"/>
                </a:cubicBezTo>
                <a:lnTo>
                  <a:pt x="693032" y="1928527"/>
                </a:lnTo>
                <a:lnTo>
                  <a:pt x="706176" y="1934432"/>
                </a:lnTo>
                <a:cubicBezTo>
                  <a:pt x="710558" y="1936432"/>
                  <a:pt x="714844" y="1938623"/>
                  <a:pt x="719034" y="1940719"/>
                </a:cubicBezTo>
                <a:cubicBezTo>
                  <a:pt x="723226" y="1942814"/>
                  <a:pt x="727131" y="1944719"/>
                  <a:pt x="730941" y="1946815"/>
                </a:cubicBezTo>
                <a:cubicBezTo>
                  <a:pt x="737513" y="1950320"/>
                  <a:pt x="743876" y="1954197"/>
                  <a:pt x="749991" y="1958435"/>
                </a:cubicBezTo>
                <a:cubicBezTo>
                  <a:pt x="760183" y="1965674"/>
                  <a:pt x="763231" y="1970913"/>
                  <a:pt x="759516" y="1973389"/>
                </a:cubicBezTo>
                <a:cubicBezTo>
                  <a:pt x="756582" y="1974885"/>
                  <a:pt x="753258" y="1975447"/>
                  <a:pt x="749991" y="1975009"/>
                </a:cubicBezTo>
                <a:cubicBezTo>
                  <a:pt x="747219" y="1974875"/>
                  <a:pt x="744447" y="1974590"/>
                  <a:pt x="741704" y="1974151"/>
                </a:cubicBezTo>
                <a:cubicBezTo>
                  <a:pt x="738656" y="1973675"/>
                  <a:pt x="735132" y="1972913"/>
                  <a:pt x="731322" y="1971961"/>
                </a:cubicBezTo>
                <a:cubicBezTo>
                  <a:pt x="727512" y="1971008"/>
                  <a:pt x="723988" y="1969960"/>
                  <a:pt x="720083" y="1968722"/>
                </a:cubicBezTo>
                <a:cubicBezTo>
                  <a:pt x="716177" y="1967484"/>
                  <a:pt x="712082" y="1966150"/>
                  <a:pt x="707986" y="1964626"/>
                </a:cubicBezTo>
                <a:cubicBezTo>
                  <a:pt x="699699" y="1961483"/>
                  <a:pt x="691317" y="1957959"/>
                  <a:pt x="683030" y="1954149"/>
                </a:cubicBezTo>
                <a:cubicBezTo>
                  <a:pt x="674744" y="1950339"/>
                  <a:pt x="666838" y="1945957"/>
                  <a:pt x="659599" y="1941766"/>
                </a:cubicBezTo>
                <a:lnTo>
                  <a:pt x="656932" y="1940147"/>
                </a:lnTo>
                <a:lnTo>
                  <a:pt x="654360" y="1938528"/>
                </a:lnTo>
                <a:lnTo>
                  <a:pt x="649407" y="1935289"/>
                </a:lnTo>
                <a:cubicBezTo>
                  <a:pt x="646377" y="1933356"/>
                  <a:pt x="643454" y="1931251"/>
                  <a:pt x="640644" y="1929003"/>
                </a:cubicBezTo>
                <a:cubicBezTo>
                  <a:pt x="638139" y="1927126"/>
                  <a:pt x="635748" y="1925088"/>
                  <a:pt x="633500" y="1922907"/>
                </a:cubicBezTo>
                <a:cubicBezTo>
                  <a:pt x="631786" y="1921373"/>
                  <a:pt x="630252" y="1919649"/>
                  <a:pt x="628928" y="1917763"/>
                </a:cubicBezTo>
                <a:cubicBezTo>
                  <a:pt x="626830" y="1914715"/>
                  <a:pt x="626543" y="1912429"/>
                  <a:pt x="627881" y="1911096"/>
                </a:cubicBezTo>
                <a:cubicBezTo>
                  <a:pt x="630500" y="1909486"/>
                  <a:pt x="633662" y="1909010"/>
                  <a:pt x="636644" y="1909762"/>
                </a:cubicBezTo>
                <a:close/>
                <a:moveTo>
                  <a:pt x="5135374" y="1907476"/>
                </a:moveTo>
                <a:cubicBezTo>
                  <a:pt x="5144233" y="1906143"/>
                  <a:pt x="5148995" y="1907476"/>
                  <a:pt x="5144899" y="1910143"/>
                </a:cubicBezTo>
                <a:cubicBezTo>
                  <a:pt x="5141669" y="1911915"/>
                  <a:pt x="5138251" y="1913324"/>
                  <a:pt x="5134708" y="1914334"/>
                </a:cubicBezTo>
                <a:cubicBezTo>
                  <a:pt x="5130250" y="1915811"/>
                  <a:pt x="5125700" y="1916982"/>
                  <a:pt x="5121087" y="1917858"/>
                </a:cubicBezTo>
                <a:cubicBezTo>
                  <a:pt x="5112324" y="1919478"/>
                  <a:pt x="5106894" y="1918430"/>
                  <a:pt x="5110323" y="1915763"/>
                </a:cubicBezTo>
                <a:cubicBezTo>
                  <a:pt x="5113582" y="1913753"/>
                  <a:pt x="5117110" y="1912210"/>
                  <a:pt x="5120801" y="1911191"/>
                </a:cubicBezTo>
                <a:lnTo>
                  <a:pt x="5128135" y="1909000"/>
                </a:lnTo>
                <a:cubicBezTo>
                  <a:pt x="5130612" y="1908333"/>
                  <a:pt x="5133088" y="1907857"/>
                  <a:pt x="5135374" y="1907476"/>
                </a:cubicBezTo>
                <a:close/>
                <a:moveTo>
                  <a:pt x="4744754" y="1904810"/>
                </a:moveTo>
                <a:cubicBezTo>
                  <a:pt x="4746181" y="1904705"/>
                  <a:pt x="4747614" y="1904705"/>
                  <a:pt x="4749041" y="1904810"/>
                </a:cubicBezTo>
                <a:cubicBezTo>
                  <a:pt x="4753994" y="1905572"/>
                  <a:pt x="4755422" y="1907762"/>
                  <a:pt x="4752089" y="1911287"/>
                </a:cubicBezTo>
                <a:cubicBezTo>
                  <a:pt x="4746409" y="1916268"/>
                  <a:pt x="4739980" y="1920316"/>
                  <a:pt x="4733039" y="1923288"/>
                </a:cubicBezTo>
                <a:cubicBezTo>
                  <a:pt x="4723836" y="1927632"/>
                  <a:pt x="4714276" y="1931165"/>
                  <a:pt x="4704464" y="1933861"/>
                </a:cubicBezTo>
                <a:cubicBezTo>
                  <a:pt x="4699415" y="1935194"/>
                  <a:pt x="4694939" y="1936052"/>
                  <a:pt x="4690843" y="1936718"/>
                </a:cubicBezTo>
                <a:cubicBezTo>
                  <a:pt x="4687538" y="1937252"/>
                  <a:pt x="4684186" y="1937442"/>
                  <a:pt x="4680842" y="1937290"/>
                </a:cubicBezTo>
                <a:cubicBezTo>
                  <a:pt x="4675603" y="1937195"/>
                  <a:pt x="4673507" y="1935194"/>
                  <a:pt x="4676174" y="1931765"/>
                </a:cubicBezTo>
                <a:cubicBezTo>
                  <a:pt x="4678211" y="1929384"/>
                  <a:pt x="4680624" y="1927355"/>
                  <a:pt x="4683318" y="1925765"/>
                </a:cubicBezTo>
                <a:cubicBezTo>
                  <a:pt x="4684937" y="1924622"/>
                  <a:pt x="4686747" y="1923574"/>
                  <a:pt x="4688747" y="1922431"/>
                </a:cubicBezTo>
                <a:cubicBezTo>
                  <a:pt x="4690748" y="1921288"/>
                  <a:pt x="4692938" y="1920240"/>
                  <a:pt x="4695224" y="1919097"/>
                </a:cubicBezTo>
                <a:cubicBezTo>
                  <a:pt x="4704929" y="1914497"/>
                  <a:pt x="4715036" y="1910801"/>
                  <a:pt x="4725419" y="1908048"/>
                </a:cubicBezTo>
                <a:cubicBezTo>
                  <a:pt x="4729980" y="1906791"/>
                  <a:pt x="4734628" y="1905867"/>
                  <a:pt x="4739325" y="1905286"/>
                </a:cubicBezTo>
                <a:cubicBezTo>
                  <a:pt x="4741325" y="1905286"/>
                  <a:pt x="4743135" y="1905286"/>
                  <a:pt x="4744754" y="1904810"/>
                </a:cubicBezTo>
                <a:close/>
                <a:moveTo>
                  <a:pt x="3651176" y="1904774"/>
                </a:moveTo>
                <a:cubicBezTo>
                  <a:pt x="3666238" y="1905167"/>
                  <a:pt x="3676144" y="1908619"/>
                  <a:pt x="3677477" y="1915001"/>
                </a:cubicBezTo>
                <a:cubicBezTo>
                  <a:pt x="3680144" y="1927765"/>
                  <a:pt x="3648902" y="1946148"/>
                  <a:pt x="3606897" y="1957292"/>
                </a:cubicBezTo>
                <a:cubicBezTo>
                  <a:pt x="3564893" y="1968437"/>
                  <a:pt x="3528032" y="1967960"/>
                  <a:pt x="3523367" y="1956149"/>
                </a:cubicBezTo>
                <a:cubicBezTo>
                  <a:pt x="3518603" y="1943957"/>
                  <a:pt x="3550035" y="1924621"/>
                  <a:pt x="3593943" y="1912906"/>
                </a:cubicBezTo>
                <a:cubicBezTo>
                  <a:pt x="3615898" y="1907048"/>
                  <a:pt x="3636115" y="1904381"/>
                  <a:pt x="3651176" y="1904774"/>
                </a:cubicBezTo>
                <a:close/>
                <a:moveTo>
                  <a:pt x="4378434" y="1904226"/>
                </a:moveTo>
                <a:cubicBezTo>
                  <a:pt x="4388876" y="1904190"/>
                  <a:pt x="4394091" y="1906857"/>
                  <a:pt x="4391567" y="1912334"/>
                </a:cubicBezTo>
                <a:cubicBezTo>
                  <a:pt x="4386519" y="1923287"/>
                  <a:pt x="4354038" y="1939099"/>
                  <a:pt x="4318701" y="1949481"/>
                </a:cubicBezTo>
                <a:cubicBezTo>
                  <a:pt x="4283363" y="1959863"/>
                  <a:pt x="4257264" y="1960435"/>
                  <a:pt x="4260789" y="1950434"/>
                </a:cubicBezTo>
                <a:cubicBezTo>
                  <a:pt x="4264313" y="1940432"/>
                  <a:pt x="4297174" y="1923002"/>
                  <a:pt x="4333941" y="1912334"/>
                </a:cubicBezTo>
                <a:cubicBezTo>
                  <a:pt x="4352324" y="1907000"/>
                  <a:pt x="4367993" y="1904261"/>
                  <a:pt x="4378434" y="1904226"/>
                </a:cubicBezTo>
                <a:close/>
                <a:moveTo>
                  <a:pt x="2727312" y="1903476"/>
                </a:moveTo>
                <a:cubicBezTo>
                  <a:pt x="2741599" y="1903047"/>
                  <a:pt x="2755695" y="1906781"/>
                  <a:pt x="2767886" y="1914239"/>
                </a:cubicBezTo>
                <a:cubicBezTo>
                  <a:pt x="2782938" y="1926526"/>
                  <a:pt x="2763602" y="1942814"/>
                  <a:pt x="2722831" y="1952339"/>
                </a:cubicBezTo>
                <a:cubicBezTo>
                  <a:pt x="2712686" y="1954653"/>
                  <a:pt x="2702419" y="1956339"/>
                  <a:pt x="2692065" y="1957387"/>
                </a:cubicBezTo>
                <a:cubicBezTo>
                  <a:pt x="2682568" y="1958340"/>
                  <a:pt x="2673026" y="1958663"/>
                  <a:pt x="2663489" y="1958340"/>
                </a:cubicBezTo>
                <a:cubicBezTo>
                  <a:pt x="2648963" y="1958606"/>
                  <a:pt x="2634639" y="1954920"/>
                  <a:pt x="2622055" y="1947672"/>
                </a:cubicBezTo>
                <a:cubicBezTo>
                  <a:pt x="2613389" y="1941576"/>
                  <a:pt x="2613673" y="1934337"/>
                  <a:pt x="2621484" y="1927479"/>
                </a:cubicBezTo>
                <a:cubicBezTo>
                  <a:pt x="2626656" y="1923421"/>
                  <a:pt x="2632448" y="1920201"/>
                  <a:pt x="2638630" y="1917954"/>
                </a:cubicBezTo>
                <a:cubicBezTo>
                  <a:pt x="2647497" y="1914382"/>
                  <a:pt x="2656631" y="1911543"/>
                  <a:pt x="2665965" y="1909476"/>
                </a:cubicBezTo>
                <a:cubicBezTo>
                  <a:pt x="2686064" y="1904809"/>
                  <a:pt x="2706685" y="1902790"/>
                  <a:pt x="2727312" y="1903476"/>
                </a:cubicBezTo>
                <a:close/>
                <a:moveTo>
                  <a:pt x="5013263" y="1902047"/>
                </a:moveTo>
                <a:cubicBezTo>
                  <a:pt x="5026312" y="1899666"/>
                  <a:pt x="5032313" y="1901475"/>
                  <a:pt x="5026217" y="1905762"/>
                </a:cubicBezTo>
                <a:cubicBezTo>
                  <a:pt x="5015987" y="1911572"/>
                  <a:pt x="5004842" y="1915601"/>
                  <a:pt x="4993261" y="1917668"/>
                </a:cubicBezTo>
                <a:cubicBezTo>
                  <a:pt x="4980307" y="1920525"/>
                  <a:pt x="4973544" y="1919097"/>
                  <a:pt x="4978878" y="1914525"/>
                </a:cubicBezTo>
                <a:cubicBezTo>
                  <a:pt x="4989489" y="1908314"/>
                  <a:pt x="5001140" y="1904085"/>
                  <a:pt x="5013263" y="1902047"/>
                </a:cubicBezTo>
                <a:close/>
                <a:moveTo>
                  <a:pt x="4896761" y="1900070"/>
                </a:moveTo>
                <a:cubicBezTo>
                  <a:pt x="4900416" y="1900665"/>
                  <a:pt x="4901107" y="1902475"/>
                  <a:pt x="4898011" y="1905380"/>
                </a:cubicBezTo>
                <a:cubicBezTo>
                  <a:pt x="4893319" y="1909162"/>
                  <a:pt x="4888043" y="1912153"/>
                  <a:pt x="4882390" y="1914239"/>
                </a:cubicBezTo>
                <a:cubicBezTo>
                  <a:pt x="4874707" y="1917363"/>
                  <a:pt x="4866814" y="1919944"/>
                  <a:pt x="4858768" y="1921954"/>
                </a:cubicBezTo>
                <a:cubicBezTo>
                  <a:pt x="4841623" y="1926240"/>
                  <a:pt x="4832002" y="1925288"/>
                  <a:pt x="4837051" y="1919668"/>
                </a:cubicBezTo>
                <a:cubicBezTo>
                  <a:pt x="4841676" y="1915572"/>
                  <a:pt x="4847000" y="1912353"/>
                  <a:pt x="4852767" y="1910143"/>
                </a:cubicBezTo>
                <a:cubicBezTo>
                  <a:pt x="4856482" y="1908524"/>
                  <a:pt x="4860482" y="1907000"/>
                  <a:pt x="4864673" y="1905571"/>
                </a:cubicBezTo>
                <a:cubicBezTo>
                  <a:pt x="4868864" y="1904142"/>
                  <a:pt x="4873341" y="1902999"/>
                  <a:pt x="4877722" y="1902047"/>
                </a:cubicBezTo>
                <a:cubicBezTo>
                  <a:pt x="4886485" y="1900094"/>
                  <a:pt x="4893105" y="1899475"/>
                  <a:pt x="4896761" y="1900070"/>
                </a:cubicBezTo>
                <a:close/>
                <a:moveTo>
                  <a:pt x="5215479" y="1898808"/>
                </a:moveTo>
                <a:cubicBezTo>
                  <a:pt x="5222814" y="1897856"/>
                  <a:pt x="5226147" y="1898808"/>
                  <a:pt x="5222433" y="1901285"/>
                </a:cubicBezTo>
                <a:cubicBezTo>
                  <a:pt x="5215537" y="1904428"/>
                  <a:pt x="5208222" y="1906543"/>
                  <a:pt x="5200716" y="1907571"/>
                </a:cubicBezTo>
                <a:cubicBezTo>
                  <a:pt x="5193572" y="1908429"/>
                  <a:pt x="5190048" y="1907571"/>
                  <a:pt x="5193762" y="1905000"/>
                </a:cubicBezTo>
                <a:cubicBezTo>
                  <a:pt x="5200654" y="1901866"/>
                  <a:pt x="5207973" y="1899780"/>
                  <a:pt x="5215479" y="1898808"/>
                </a:cubicBezTo>
                <a:close/>
                <a:moveTo>
                  <a:pt x="4270695" y="1892963"/>
                </a:moveTo>
                <a:cubicBezTo>
                  <a:pt x="4281839" y="1893308"/>
                  <a:pt x="4287316" y="1896665"/>
                  <a:pt x="4284316" y="1902809"/>
                </a:cubicBezTo>
                <a:cubicBezTo>
                  <a:pt x="4278315" y="1915096"/>
                  <a:pt x="4244787" y="1931384"/>
                  <a:pt x="4207163" y="1942338"/>
                </a:cubicBezTo>
                <a:cubicBezTo>
                  <a:pt x="4169539" y="1953292"/>
                  <a:pt x="4143060" y="1952625"/>
                  <a:pt x="4146394" y="1941576"/>
                </a:cubicBezTo>
                <a:cubicBezTo>
                  <a:pt x="4149918" y="1930336"/>
                  <a:pt x="4183732" y="1913001"/>
                  <a:pt x="4223070" y="1901190"/>
                </a:cubicBezTo>
                <a:cubicBezTo>
                  <a:pt x="4242739" y="1895284"/>
                  <a:pt x="4259551" y="1892617"/>
                  <a:pt x="4270695" y="1892963"/>
                </a:cubicBezTo>
                <a:close/>
                <a:moveTo>
                  <a:pt x="3456736" y="1892033"/>
                </a:moveTo>
                <a:cubicBezTo>
                  <a:pt x="3472795" y="1892426"/>
                  <a:pt x="3483889" y="1895998"/>
                  <a:pt x="3486793" y="1902618"/>
                </a:cubicBezTo>
                <a:cubicBezTo>
                  <a:pt x="3492603" y="1915858"/>
                  <a:pt x="3464986" y="1932812"/>
                  <a:pt x="3423469" y="1943957"/>
                </a:cubicBezTo>
                <a:cubicBezTo>
                  <a:pt x="3380042" y="1955577"/>
                  <a:pt x="3341670" y="1955101"/>
                  <a:pt x="3334052" y="1942623"/>
                </a:cubicBezTo>
                <a:cubicBezTo>
                  <a:pt x="3326431" y="1930145"/>
                  <a:pt x="3353097" y="1912143"/>
                  <a:pt x="3396900" y="1900523"/>
                </a:cubicBezTo>
                <a:cubicBezTo>
                  <a:pt x="3419662" y="1894427"/>
                  <a:pt x="3440679" y="1891641"/>
                  <a:pt x="3456736" y="1892033"/>
                </a:cubicBezTo>
                <a:close/>
                <a:moveTo>
                  <a:pt x="5297585" y="1890902"/>
                </a:moveTo>
                <a:cubicBezTo>
                  <a:pt x="5302538" y="1890331"/>
                  <a:pt x="5305681" y="1890902"/>
                  <a:pt x="5303681" y="1892617"/>
                </a:cubicBezTo>
                <a:cubicBezTo>
                  <a:pt x="5298411" y="1894950"/>
                  <a:pt x="5292827" y="1896493"/>
                  <a:pt x="5287107" y="1897189"/>
                </a:cubicBezTo>
                <a:cubicBezTo>
                  <a:pt x="5281487" y="1898236"/>
                  <a:pt x="5277963" y="1897284"/>
                  <a:pt x="5280440" y="1895474"/>
                </a:cubicBezTo>
                <a:cubicBezTo>
                  <a:pt x="5285908" y="1893141"/>
                  <a:pt x="5291681" y="1891607"/>
                  <a:pt x="5297585" y="1890902"/>
                </a:cubicBezTo>
                <a:close/>
                <a:moveTo>
                  <a:pt x="4684591" y="1890534"/>
                </a:moveTo>
                <a:cubicBezTo>
                  <a:pt x="4690199" y="1891165"/>
                  <a:pt x="4691890" y="1893760"/>
                  <a:pt x="4688556" y="1898047"/>
                </a:cubicBezTo>
                <a:cubicBezTo>
                  <a:pt x="4686457" y="1900571"/>
                  <a:pt x="4683984" y="1902752"/>
                  <a:pt x="4681222" y="1904524"/>
                </a:cubicBezTo>
                <a:cubicBezTo>
                  <a:pt x="4677493" y="1907096"/>
                  <a:pt x="4673577" y="1909391"/>
                  <a:pt x="4669506" y="1911382"/>
                </a:cubicBezTo>
                <a:cubicBezTo>
                  <a:pt x="4659353" y="1916592"/>
                  <a:pt x="4648734" y="1920831"/>
                  <a:pt x="4637788" y="1924050"/>
                </a:cubicBezTo>
                <a:lnTo>
                  <a:pt x="4629310" y="1926336"/>
                </a:lnTo>
                <a:lnTo>
                  <a:pt x="4625119" y="1927289"/>
                </a:lnTo>
                <a:lnTo>
                  <a:pt x="4620738" y="1928146"/>
                </a:lnTo>
                <a:cubicBezTo>
                  <a:pt x="4616231" y="1929136"/>
                  <a:pt x="4611636" y="1929679"/>
                  <a:pt x="4607022" y="1929765"/>
                </a:cubicBezTo>
                <a:cubicBezTo>
                  <a:pt x="4600069" y="1929384"/>
                  <a:pt x="4597497" y="1927289"/>
                  <a:pt x="4600831" y="1922907"/>
                </a:cubicBezTo>
                <a:cubicBezTo>
                  <a:pt x="4603258" y="1920031"/>
                  <a:pt x="4606157" y="1917583"/>
                  <a:pt x="4609403" y="1915668"/>
                </a:cubicBezTo>
                <a:cubicBezTo>
                  <a:pt x="4611403" y="1914335"/>
                  <a:pt x="4613594" y="1913001"/>
                  <a:pt x="4616071" y="1911668"/>
                </a:cubicBezTo>
                <a:lnTo>
                  <a:pt x="4619881" y="1909667"/>
                </a:lnTo>
                <a:lnTo>
                  <a:pt x="4621881" y="1908620"/>
                </a:lnTo>
                <a:lnTo>
                  <a:pt x="4623595" y="1907762"/>
                </a:lnTo>
                <a:cubicBezTo>
                  <a:pt x="4634339" y="1902400"/>
                  <a:pt x="4645565" y="1898066"/>
                  <a:pt x="4657123" y="1894808"/>
                </a:cubicBezTo>
                <a:cubicBezTo>
                  <a:pt x="4669458" y="1891236"/>
                  <a:pt x="4678983" y="1889902"/>
                  <a:pt x="4684591" y="1890534"/>
                </a:cubicBezTo>
                <a:close/>
                <a:moveTo>
                  <a:pt x="5101751" y="1889664"/>
                </a:moveTo>
                <a:cubicBezTo>
                  <a:pt x="5112609" y="1888045"/>
                  <a:pt x="5117467" y="1889664"/>
                  <a:pt x="5112038" y="1893379"/>
                </a:cubicBezTo>
                <a:cubicBezTo>
                  <a:pt x="5102431" y="1898370"/>
                  <a:pt x="5092069" y="1901752"/>
                  <a:pt x="5081367" y="1903380"/>
                </a:cubicBezTo>
                <a:cubicBezTo>
                  <a:pt x="5070509" y="1905190"/>
                  <a:pt x="5064984" y="1903380"/>
                  <a:pt x="5069747" y="1900237"/>
                </a:cubicBezTo>
                <a:cubicBezTo>
                  <a:pt x="5071468" y="1899018"/>
                  <a:pt x="5073320" y="1897989"/>
                  <a:pt x="5075271" y="1897189"/>
                </a:cubicBezTo>
                <a:lnTo>
                  <a:pt x="5079176" y="1895570"/>
                </a:lnTo>
                <a:lnTo>
                  <a:pt x="5083463" y="1894141"/>
                </a:lnTo>
                <a:cubicBezTo>
                  <a:pt x="5089418" y="1892122"/>
                  <a:pt x="5095537" y="1890626"/>
                  <a:pt x="5101751" y="1889664"/>
                </a:cubicBezTo>
                <a:close/>
                <a:moveTo>
                  <a:pt x="4985499" y="1884652"/>
                </a:moveTo>
                <a:cubicBezTo>
                  <a:pt x="4988547" y="1885307"/>
                  <a:pt x="4988833" y="1886997"/>
                  <a:pt x="4985832" y="1889569"/>
                </a:cubicBezTo>
                <a:cubicBezTo>
                  <a:pt x="4981104" y="1893046"/>
                  <a:pt x="4975867" y="1895779"/>
                  <a:pt x="4970306" y="1897665"/>
                </a:cubicBezTo>
                <a:cubicBezTo>
                  <a:pt x="4962761" y="1900561"/>
                  <a:pt x="4954987" y="1902828"/>
                  <a:pt x="4947065" y="1904428"/>
                </a:cubicBezTo>
                <a:cubicBezTo>
                  <a:pt x="4931730" y="1907571"/>
                  <a:pt x="4924872" y="1906047"/>
                  <a:pt x="4930682" y="1900809"/>
                </a:cubicBezTo>
                <a:cubicBezTo>
                  <a:pt x="4942173" y="1893322"/>
                  <a:pt x="4955075" y="1888264"/>
                  <a:pt x="4968592" y="1885950"/>
                </a:cubicBezTo>
                <a:cubicBezTo>
                  <a:pt x="4976641" y="1884378"/>
                  <a:pt x="4982451" y="1883997"/>
                  <a:pt x="4985499" y="1884652"/>
                </a:cubicBezTo>
                <a:close/>
                <a:moveTo>
                  <a:pt x="4844373" y="1883509"/>
                </a:moveTo>
                <a:cubicBezTo>
                  <a:pt x="4848719" y="1884116"/>
                  <a:pt x="4849862" y="1886093"/>
                  <a:pt x="4847052" y="1889284"/>
                </a:cubicBezTo>
                <a:cubicBezTo>
                  <a:pt x="4841762" y="1893989"/>
                  <a:pt x="4835662" y="1897704"/>
                  <a:pt x="4829050" y="1900238"/>
                </a:cubicBezTo>
                <a:cubicBezTo>
                  <a:pt x="4824859" y="1902047"/>
                  <a:pt x="4820287" y="1903857"/>
                  <a:pt x="4815524" y="1905476"/>
                </a:cubicBezTo>
                <a:cubicBezTo>
                  <a:pt x="4810762" y="1907096"/>
                  <a:pt x="4805999" y="1908524"/>
                  <a:pt x="4800951" y="1909763"/>
                </a:cubicBezTo>
                <a:cubicBezTo>
                  <a:pt x="4782377" y="1914525"/>
                  <a:pt x="4771042" y="1913382"/>
                  <a:pt x="4775995" y="1907191"/>
                </a:cubicBezTo>
                <a:cubicBezTo>
                  <a:pt x="4781139" y="1900619"/>
                  <a:pt x="4802475" y="1890522"/>
                  <a:pt x="4822477" y="1885950"/>
                </a:cubicBezTo>
                <a:cubicBezTo>
                  <a:pt x="4832479" y="1883664"/>
                  <a:pt x="4840027" y="1882902"/>
                  <a:pt x="4844373" y="1883509"/>
                </a:cubicBezTo>
                <a:close/>
                <a:moveTo>
                  <a:pt x="4141369" y="1882723"/>
                </a:moveTo>
                <a:cubicBezTo>
                  <a:pt x="4153989" y="1882830"/>
                  <a:pt x="4161109" y="1885949"/>
                  <a:pt x="4159728" y="1892045"/>
                </a:cubicBezTo>
                <a:cubicBezTo>
                  <a:pt x="4156966" y="1904237"/>
                  <a:pt x="4123152" y="1922525"/>
                  <a:pt x="4083528" y="1933860"/>
                </a:cubicBezTo>
                <a:cubicBezTo>
                  <a:pt x="4043904" y="1945195"/>
                  <a:pt x="4012948" y="1945481"/>
                  <a:pt x="4013805" y="1934241"/>
                </a:cubicBezTo>
                <a:cubicBezTo>
                  <a:pt x="4014662" y="1922621"/>
                  <a:pt x="4048762" y="1903380"/>
                  <a:pt x="4090005" y="1891474"/>
                </a:cubicBezTo>
                <a:cubicBezTo>
                  <a:pt x="4110627" y="1885521"/>
                  <a:pt x="4128748" y="1882616"/>
                  <a:pt x="4141369" y="1882723"/>
                </a:cubicBezTo>
                <a:close/>
                <a:moveTo>
                  <a:pt x="5186237" y="1878997"/>
                </a:moveTo>
                <a:cubicBezTo>
                  <a:pt x="5195762" y="1877759"/>
                  <a:pt x="5200049" y="1879663"/>
                  <a:pt x="5194429" y="1882712"/>
                </a:cubicBezTo>
                <a:cubicBezTo>
                  <a:pt x="5190535" y="1884655"/>
                  <a:pt x="5186449" y="1886188"/>
                  <a:pt x="5182237" y="1887284"/>
                </a:cubicBezTo>
                <a:lnTo>
                  <a:pt x="5174617" y="1889188"/>
                </a:lnTo>
                <a:cubicBezTo>
                  <a:pt x="5172237" y="1889817"/>
                  <a:pt x="5169819" y="1890293"/>
                  <a:pt x="5167378" y="1890617"/>
                </a:cubicBezTo>
                <a:cubicBezTo>
                  <a:pt x="5157853" y="1891951"/>
                  <a:pt x="5153567" y="1890617"/>
                  <a:pt x="5158996" y="1887093"/>
                </a:cubicBezTo>
                <a:cubicBezTo>
                  <a:pt x="5162883" y="1885064"/>
                  <a:pt x="5166968" y="1883435"/>
                  <a:pt x="5171188" y="1882235"/>
                </a:cubicBezTo>
                <a:lnTo>
                  <a:pt x="5178903" y="1880235"/>
                </a:lnTo>
                <a:cubicBezTo>
                  <a:pt x="5181475" y="1879663"/>
                  <a:pt x="5183951" y="1879283"/>
                  <a:pt x="5186237" y="1878997"/>
                </a:cubicBezTo>
                <a:close/>
                <a:moveTo>
                  <a:pt x="1369123" y="1878044"/>
                </a:moveTo>
                <a:cubicBezTo>
                  <a:pt x="1378639" y="1877377"/>
                  <a:pt x="1388183" y="1877377"/>
                  <a:pt x="1397698" y="1878044"/>
                </a:cubicBezTo>
                <a:cubicBezTo>
                  <a:pt x="1407509" y="1878730"/>
                  <a:pt x="1417281" y="1880006"/>
                  <a:pt x="1426940" y="1881854"/>
                </a:cubicBezTo>
                <a:cubicBezTo>
                  <a:pt x="1436017" y="1883588"/>
                  <a:pt x="1444980" y="1885845"/>
                  <a:pt x="1453800" y="1888617"/>
                </a:cubicBezTo>
                <a:cubicBezTo>
                  <a:pt x="1461220" y="1891122"/>
                  <a:pt x="1468402" y="1894313"/>
                  <a:pt x="1475231" y="1898142"/>
                </a:cubicBezTo>
                <a:cubicBezTo>
                  <a:pt x="1485803" y="1904333"/>
                  <a:pt x="1488851" y="1910239"/>
                  <a:pt x="1484756" y="1914811"/>
                </a:cubicBezTo>
                <a:cubicBezTo>
                  <a:pt x="1481747" y="1917811"/>
                  <a:pt x="1477946" y="1919887"/>
                  <a:pt x="1473803" y="1920811"/>
                </a:cubicBezTo>
                <a:cubicBezTo>
                  <a:pt x="1467145" y="1922612"/>
                  <a:pt x="1460306" y="1923697"/>
                  <a:pt x="1453419" y="1924050"/>
                </a:cubicBezTo>
                <a:cubicBezTo>
                  <a:pt x="1435303" y="1925088"/>
                  <a:pt x="1417129" y="1923869"/>
                  <a:pt x="1399317" y="1920430"/>
                </a:cubicBezTo>
                <a:cubicBezTo>
                  <a:pt x="1383087" y="1917639"/>
                  <a:pt x="1367361" y="1912467"/>
                  <a:pt x="1352645" y="1905095"/>
                </a:cubicBezTo>
                <a:cubicBezTo>
                  <a:pt x="1340453" y="1898428"/>
                  <a:pt x="1336262" y="1892141"/>
                  <a:pt x="1339215" y="1887283"/>
                </a:cubicBezTo>
                <a:cubicBezTo>
                  <a:pt x="1341644" y="1884292"/>
                  <a:pt x="1344987" y="1882178"/>
                  <a:pt x="1348740" y="1881282"/>
                </a:cubicBezTo>
                <a:cubicBezTo>
                  <a:pt x="1355388" y="1879416"/>
                  <a:pt x="1362227" y="1878330"/>
                  <a:pt x="1369123" y="1878044"/>
                </a:cubicBezTo>
                <a:close/>
                <a:moveTo>
                  <a:pt x="4610928" y="1877568"/>
                </a:moveTo>
                <a:lnTo>
                  <a:pt x="4612356" y="1877568"/>
                </a:lnTo>
                <a:lnTo>
                  <a:pt x="4613595" y="1877568"/>
                </a:lnTo>
                <a:lnTo>
                  <a:pt x="4615595" y="1878044"/>
                </a:lnTo>
                <a:cubicBezTo>
                  <a:pt x="4616647" y="1878321"/>
                  <a:pt x="4617603" y="1878882"/>
                  <a:pt x="4618357" y="1879664"/>
                </a:cubicBezTo>
                <a:cubicBezTo>
                  <a:pt x="4619691" y="1880902"/>
                  <a:pt x="4619691" y="1882712"/>
                  <a:pt x="4618357" y="1884997"/>
                </a:cubicBezTo>
                <a:cubicBezTo>
                  <a:pt x="4617988" y="1885626"/>
                  <a:pt x="4617574" y="1886236"/>
                  <a:pt x="4617119" y="1886807"/>
                </a:cubicBezTo>
                <a:lnTo>
                  <a:pt x="4616357" y="1887664"/>
                </a:lnTo>
                <a:lnTo>
                  <a:pt x="4615309" y="1888617"/>
                </a:lnTo>
                <a:cubicBezTo>
                  <a:pt x="4613518" y="1890160"/>
                  <a:pt x="4611607" y="1891560"/>
                  <a:pt x="4609594" y="1892808"/>
                </a:cubicBezTo>
                <a:cubicBezTo>
                  <a:pt x="4604411" y="1896189"/>
                  <a:pt x="4599000" y="1899218"/>
                  <a:pt x="4593402" y="1901857"/>
                </a:cubicBezTo>
                <a:cubicBezTo>
                  <a:pt x="4579480" y="1908610"/>
                  <a:pt x="4565014" y="1914192"/>
                  <a:pt x="4550158" y="1918526"/>
                </a:cubicBezTo>
                <a:cubicBezTo>
                  <a:pt x="4520440" y="1927193"/>
                  <a:pt x="4500152" y="1927289"/>
                  <a:pt x="4505295" y="1918526"/>
                </a:cubicBezTo>
                <a:cubicBezTo>
                  <a:pt x="4510439" y="1909763"/>
                  <a:pt x="4541871" y="1893951"/>
                  <a:pt x="4573685" y="1884426"/>
                </a:cubicBezTo>
                <a:cubicBezTo>
                  <a:pt x="4585735" y="1880483"/>
                  <a:pt x="4598262" y="1878178"/>
                  <a:pt x="4610928" y="1877568"/>
                </a:cubicBezTo>
                <a:close/>
                <a:moveTo>
                  <a:pt x="3227080" y="1875579"/>
                </a:moveTo>
                <a:cubicBezTo>
                  <a:pt x="3243449" y="1876162"/>
                  <a:pt x="3255570" y="1879710"/>
                  <a:pt x="3260334" y="1886140"/>
                </a:cubicBezTo>
                <a:cubicBezTo>
                  <a:pt x="3269859" y="1898999"/>
                  <a:pt x="3245284" y="1916715"/>
                  <a:pt x="3202421" y="1927669"/>
                </a:cubicBezTo>
                <a:cubicBezTo>
                  <a:pt x="3183247" y="1932908"/>
                  <a:pt x="3163435" y="1935470"/>
                  <a:pt x="3143555" y="1935289"/>
                </a:cubicBezTo>
                <a:cubicBezTo>
                  <a:pt x="3126886" y="1934813"/>
                  <a:pt x="3114314" y="1931479"/>
                  <a:pt x="3108886" y="1925097"/>
                </a:cubicBezTo>
                <a:cubicBezTo>
                  <a:pt x="3097837" y="1912143"/>
                  <a:pt x="3123080" y="1894046"/>
                  <a:pt x="3168321" y="1882806"/>
                </a:cubicBezTo>
                <a:cubicBezTo>
                  <a:pt x="3190087" y="1877377"/>
                  <a:pt x="3210707" y="1874996"/>
                  <a:pt x="3227080" y="1875579"/>
                </a:cubicBezTo>
                <a:close/>
                <a:moveTo>
                  <a:pt x="3997887" y="1873353"/>
                </a:moveTo>
                <a:cubicBezTo>
                  <a:pt x="4011615" y="1873758"/>
                  <a:pt x="4019664" y="1877235"/>
                  <a:pt x="4017711" y="1883759"/>
                </a:cubicBezTo>
                <a:cubicBezTo>
                  <a:pt x="4013139" y="1898999"/>
                  <a:pt x="3976944" y="1916525"/>
                  <a:pt x="3939511" y="1927003"/>
                </a:cubicBezTo>
                <a:cubicBezTo>
                  <a:pt x="3902077" y="1937480"/>
                  <a:pt x="3867216" y="1936528"/>
                  <a:pt x="3866644" y="1925860"/>
                </a:cubicBezTo>
                <a:cubicBezTo>
                  <a:pt x="3866073" y="1915192"/>
                  <a:pt x="3903125" y="1892808"/>
                  <a:pt x="3943987" y="1881378"/>
                </a:cubicBezTo>
                <a:cubicBezTo>
                  <a:pt x="3964752" y="1875615"/>
                  <a:pt x="3984159" y="1872948"/>
                  <a:pt x="3997887" y="1873353"/>
                </a:cubicBezTo>
                <a:close/>
                <a:moveTo>
                  <a:pt x="2398320" y="1872699"/>
                </a:moveTo>
                <a:cubicBezTo>
                  <a:pt x="2416309" y="1874377"/>
                  <a:pt x="2431406" y="1878568"/>
                  <a:pt x="2440121" y="1884998"/>
                </a:cubicBezTo>
                <a:cubicBezTo>
                  <a:pt x="2457552" y="1897856"/>
                  <a:pt x="2440312" y="1913001"/>
                  <a:pt x="2399545" y="1920907"/>
                </a:cubicBezTo>
                <a:cubicBezTo>
                  <a:pt x="2359254" y="1928908"/>
                  <a:pt x="2314867" y="1925098"/>
                  <a:pt x="2296484" y="1912144"/>
                </a:cubicBezTo>
                <a:cubicBezTo>
                  <a:pt x="2286959" y="1905667"/>
                  <a:pt x="2286959" y="1898428"/>
                  <a:pt x="2294674" y="1891856"/>
                </a:cubicBezTo>
                <a:cubicBezTo>
                  <a:pt x="2307981" y="1882912"/>
                  <a:pt x="2323230" y="1877301"/>
                  <a:pt x="2339156" y="1875473"/>
                </a:cubicBezTo>
                <a:cubicBezTo>
                  <a:pt x="2359444" y="1871853"/>
                  <a:pt x="2380328" y="1871020"/>
                  <a:pt x="2398320" y="1872699"/>
                </a:cubicBezTo>
                <a:close/>
                <a:moveTo>
                  <a:pt x="5267486" y="1871662"/>
                </a:moveTo>
                <a:cubicBezTo>
                  <a:pt x="5269262" y="1871538"/>
                  <a:pt x="5271043" y="1871538"/>
                  <a:pt x="5272820" y="1871662"/>
                </a:cubicBezTo>
                <a:cubicBezTo>
                  <a:pt x="5273922" y="1871691"/>
                  <a:pt x="5275013" y="1871881"/>
                  <a:pt x="5276058" y="1872233"/>
                </a:cubicBezTo>
                <a:cubicBezTo>
                  <a:pt x="5277487" y="1872233"/>
                  <a:pt x="5277296" y="1873757"/>
                  <a:pt x="5275106" y="1874900"/>
                </a:cubicBezTo>
                <a:cubicBezTo>
                  <a:pt x="5267922" y="1878072"/>
                  <a:pt x="5260319" y="1880187"/>
                  <a:pt x="5252531" y="1881187"/>
                </a:cubicBezTo>
                <a:cubicBezTo>
                  <a:pt x="5244435" y="1881854"/>
                  <a:pt x="5240530" y="1880425"/>
                  <a:pt x="5244912" y="1877948"/>
                </a:cubicBezTo>
                <a:cubicBezTo>
                  <a:pt x="5252091" y="1874767"/>
                  <a:pt x="5259695" y="1872653"/>
                  <a:pt x="5267486" y="1871662"/>
                </a:cubicBezTo>
                <a:close/>
                <a:moveTo>
                  <a:pt x="5060507" y="1870615"/>
                </a:moveTo>
                <a:cubicBezTo>
                  <a:pt x="5065276" y="1869567"/>
                  <a:pt x="5070216" y="1869567"/>
                  <a:pt x="5074985" y="1870615"/>
                </a:cubicBezTo>
                <a:cubicBezTo>
                  <a:pt x="5077462" y="1871567"/>
                  <a:pt x="5077271" y="1873282"/>
                  <a:pt x="5073747" y="1875663"/>
                </a:cubicBezTo>
                <a:cubicBezTo>
                  <a:pt x="5062107" y="1881692"/>
                  <a:pt x="5049559" y="1885779"/>
                  <a:pt x="5036599" y="1887760"/>
                </a:cubicBezTo>
                <a:cubicBezTo>
                  <a:pt x="5024122" y="1889665"/>
                  <a:pt x="5017549" y="1887855"/>
                  <a:pt x="5023645" y="1883378"/>
                </a:cubicBezTo>
                <a:cubicBezTo>
                  <a:pt x="5035127" y="1877082"/>
                  <a:pt x="5047589" y="1872767"/>
                  <a:pt x="5060507" y="1870615"/>
                </a:cubicBezTo>
                <a:close/>
                <a:moveTo>
                  <a:pt x="1061652" y="1870234"/>
                </a:moveTo>
                <a:cubicBezTo>
                  <a:pt x="1069767" y="1870338"/>
                  <a:pt x="1077854" y="1871110"/>
                  <a:pt x="1085845" y="1872519"/>
                </a:cubicBezTo>
                <a:lnTo>
                  <a:pt x="1092799" y="1873758"/>
                </a:lnTo>
                <a:lnTo>
                  <a:pt x="1100037" y="1875091"/>
                </a:lnTo>
                <a:cubicBezTo>
                  <a:pt x="1104800" y="1876139"/>
                  <a:pt x="1109562" y="1877187"/>
                  <a:pt x="1114611" y="1878425"/>
                </a:cubicBezTo>
                <a:cubicBezTo>
                  <a:pt x="1124136" y="1880902"/>
                  <a:pt x="1133661" y="1883664"/>
                  <a:pt x="1143186" y="1886617"/>
                </a:cubicBezTo>
                <a:cubicBezTo>
                  <a:pt x="1150987" y="1889255"/>
                  <a:pt x="1158597" y="1892436"/>
                  <a:pt x="1165951" y="1896142"/>
                </a:cubicBezTo>
                <a:cubicBezTo>
                  <a:pt x="1188525" y="1908334"/>
                  <a:pt x="1183096" y="1921002"/>
                  <a:pt x="1154616" y="1921478"/>
                </a:cubicBezTo>
                <a:cubicBezTo>
                  <a:pt x="1146320" y="1921440"/>
                  <a:pt x="1138042" y="1920773"/>
                  <a:pt x="1129851" y="1919478"/>
                </a:cubicBezTo>
                <a:cubicBezTo>
                  <a:pt x="1125279" y="1918811"/>
                  <a:pt x="1120326" y="1917954"/>
                  <a:pt x="1115659" y="1916906"/>
                </a:cubicBezTo>
                <a:cubicBezTo>
                  <a:pt x="1110991" y="1915858"/>
                  <a:pt x="1106134" y="1914811"/>
                  <a:pt x="1101180" y="1913572"/>
                </a:cubicBezTo>
                <a:cubicBezTo>
                  <a:pt x="1091817" y="1911229"/>
                  <a:pt x="1082597" y="1908362"/>
                  <a:pt x="1073558" y="1905000"/>
                </a:cubicBezTo>
                <a:cubicBezTo>
                  <a:pt x="1069367" y="1903381"/>
                  <a:pt x="1065367" y="1901761"/>
                  <a:pt x="1061652" y="1900142"/>
                </a:cubicBezTo>
                <a:cubicBezTo>
                  <a:pt x="1057937" y="1898523"/>
                  <a:pt x="1054699" y="1896713"/>
                  <a:pt x="1052127" y="1895094"/>
                </a:cubicBezTo>
                <a:cubicBezTo>
                  <a:pt x="1030410" y="1882140"/>
                  <a:pt x="1034887" y="1870138"/>
                  <a:pt x="1061652" y="1870234"/>
                </a:cubicBezTo>
                <a:close/>
                <a:moveTo>
                  <a:pt x="4784854" y="1867792"/>
                </a:moveTo>
                <a:cubicBezTo>
                  <a:pt x="4790117" y="1868542"/>
                  <a:pt x="4791855" y="1870900"/>
                  <a:pt x="4788569" y="1874710"/>
                </a:cubicBezTo>
                <a:cubicBezTo>
                  <a:pt x="4782701" y="1880006"/>
                  <a:pt x="4775968" y="1884264"/>
                  <a:pt x="4768662" y="1887283"/>
                </a:cubicBezTo>
                <a:cubicBezTo>
                  <a:pt x="4763995" y="1889379"/>
                  <a:pt x="4759137" y="1891474"/>
                  <a:pt x="4753898" y="1893284"/>
                </a:cubicBezTo>
                <a:cubicBezTo>
                  <a:pt x="4748659" y="1895094"/>
                  <a:pt x="4743516" y="1896808"/>
                  <a:pt x="4738372" y="1898237"/>
                </a:cubicBezTo>
                <a:cubicBezTo>
                  <a:pt x="4717132" y="1904047"/>
                  <a:pt x="4703225" y="1902809"/>
                  <a:pt x="4708273" y="1895475"/>
                </a:cubicBezTo>
                <a:cubicBezTo>
                  <a:pt x="4713703" y="1888140"/>
                  <a:pt x="4738372" y="1875758"/>
                  <a:pt x="4759994" y="1870519"/>
                </a:cubicBezTo>
                <a:cubicBezTo>
                  <a:pt x="4770805" y="1867899"/>
                  <a:pt x="4779592" y="1867042"/>
                  <a:pt x="4784854" y="1867792"/>
                </a:cubicBezTo>
                <a:close/>
                <a:moveTo>
                  <a:pt x="4938111" y="1866221"/>
                </a:moveTo>
                <a:cubicBezTo>
                  <a:pt x="4941897" y="1866924"/>
                  <a:pt x="4942493" y="1868900"/>
                  <a:pt x="4939254" y="1872043"/>
                </a:cubicBezTo>
                <a:cubicBezTo>
                  <a:pt x="4926340" y="1880749"/>
                  <a:pt x="4911789" y="1886750"/>
                  <a:pt x="4896487" y="1889665"/>
                </a:cubicBezTo>
                <a:cubicBezTo>
                  <a:pt x="4878104" y="1893475"/>
                  <a:pt x="4868769" y="1892046"/>
                  <a:pt x="4874675" y="1885950"/>
                </a:cubicBezTo>
                <a:cubicBezTo>
                  <a:pt x="4879683" y="1881845"/>
                  <a:pt x="4885352" y="1878625"/>
                  <a:pt x="4891439" y="1876425"/>
                </a:cubicBezTo>
                <a:cubicBezTo>
                  <a:pt x="4895249" y="1874806"/>
                  <a:pt x="4899535" y="1873186"/>
                  <a:pt x="4904012" y="1871758"/>
                </a:cubicBezTo>
                <a:lnTo>
                  <a:pt x="4910775" y="1869757"/>
                </a:lnTo>
                <a:cubicBezTo>
                  <a:pt x="4913061" y="1869091"/>
                  <a:pt x="4915442" y="1868614"/>
                  <a:pt x="4917823" y="1868043"/>
                </a:cubicBezTo>
                <a:cubicBezTo>
                  <a:pt x="4927348" y="1866090"/>
                  <a:pt x="4934325" y="1865519"/>
                  <a:pt x="4938111" y="1866221"/>
                </a:cubicBezTo>
                <a:close/>
                <a:moveTo>
                  <a:pt x="5350354" y="1865566"/>
                </a:moveTo>
                <a:cubicBezTo>
                  <a:pt x="5356355" y="1864995"/>
                  <a:pt x="5358831" y="1866138"/>
                  <a:pt x="5355592" y="1867947"/>
                </a:cubicBezTo>
                <a:cubicBezTo>
                  <a:pt x="5349300" y="1870510"/>
                  <a:pt x="5342649" y="1872081"/>
                  <a:pt x="5335876" y="1872615"/>
                </a:cubicBezTo>
                <a:cubicBezTo>
                  <a:pt x="5330637" y="1872996"/>
                  <a:pt x="5328637" y="1871757"/>
                  <a:pt x="5331875" y="1869948"/>
                </a:cubicBezTo>
                <a:cubicBezTo>
                  <a:pt x="5337787" y="1867595"/>
                  <a:pt x="5344013" y="1866119"/>
                  <a:pt x="5350354" y="1865566"/>
                </a:cubicBezTo>
                <a:close/>
                <a:moveTo>
                  <a:pt x="4522440" y="1865340"/>
                </a:moveTo>
                <a:cubicBezTo>
                  <a:pt x="4531156" y="1865638"/>
                  <a:pt x="4534442" y="1868614"/>
                  <a:pt x="4530822" y="1874043"/>
                </a:cubicBezTo>
                <a:cubicBezTo>
                  <a:pt x="4523583" y="1884902"/>
                  <a:pt x="4493675" y="1900046"/>
                  <a:pt x="4458623" y="1910143"/>
                </a:cubicBezTo>
                <a:cubicBezTo>
                  <a:pt x="4423571" y="1920239"/>
                  <a:pt x="4402901" y="1920144"/>
                  <a:pt x="4408712" y="1909572"/>
                </a:cubicBezTo>
                <a:cubicBezTo>
                  <a:pt x="4414617" y="1898808"/>
                  <a:pt x="4445288" y="1883283"/>
                  <a:pt x="4481483" y="1872710"/>
                </a:cubicBezTo>
                <a:cubicBezTo>
                  <a:pt x="4499581" y="1867423"/>
                  <a:pt x="4513725" y="1865042"/>
                  <a:pt x="4522440" y="1865340"/>
                </a:cubicBezTo>
                <a:close/>
                <a:moveTo>
                  <a:pt x="3839367" y="1858911"/>
                </a:moveTo>
                <a:cubicBezTo>
                  <a:pt x="3853548" y="1859399"/>
                  <a:pt x="3862359" y="1863042"/>
                  <a:pt x="3862549" y="1869662"/>
                </a:cubicBezTo>
                <a:cubicBezTo>
                  <a:pt x="3862930" y="1882902"/>
                  <a:pt x="3830164" y="1901761"/>
                  <a:pt x="3788825" y="1913191"/>
                </a:cubicBezTo>
                <a:cubicBezTo>
                  <a:pt x="3747487" y="1924526"/>
                  <a:pt x="3712625" y="1923954"/>
                  <a:pt x="3710149" y="1911572"/>
                </a:cubicBezTo>
                <a:cubicBezTo>
                  <a:pt x="3707672" y="1899189"/>
                  <a:pt x="3740629" y="1879092"/>
                  <a:pt x="3783967" y="1867090"/>
                </a:cubicBezTo>
                <a:cubicBezTo>
                  <a:pt x="3805637" y="1861090"/>
                  <a:pt x="3825187" y="1858423"/>
                  <a:pt x="3839367" y="1858911"/>
                </a:cubicBezTo>
                <a:close/>
                <a:moveTo>
                  <a:pt x="5150900" y="1858327"/>
                </a:moveTo>
                <a:cubicBezTo>
                  <a:pt x="5162235" y="1856899"/>
                  <a:pt x="5167092" y="1858899"/>
                  <a:pt x="5161187" y="1862709"/>
                </a:cubicBezTo>
                <a:cubicBezTo>
                  <a:pt x="5150460" y="1868100"/>
                  <a:pt x="5138898" y="1871643"/>
                  <a:pt x="5126992" y="1873186"/>
                </a:cubicBezTo>
                <a:cubicBezTo>
                  <a:pt x="5116038" y="1874806"/>
                  <a:pt x="5110990" y="1872901"/>
                  <a:pt x="5116610" y="1869091"/>
                </a:cubicBezTo>
                <a:cubicBezTo>
                  <a:pt x="5127314" y="1863509"/>
                  <a:pt x="5138924" y="1859861"/>
                  <a:pt x="5150900" y="1858327"/>
                </a:cubicBezTo>
                <a:close/>
                <a:moveTo>
                  <a:pt x="2964534" y="1856708"/>
                </a:moveTo>
                <a:cubicBezTo>
                  <a:pt x="2983274" y="1857779"/>
                  <a:pt x="2998011" y="1861803"/>
                  <a:pt x="3003157" y="1868423"/>
                </a:cubicBezTo>
                <a:cubicBezTo>
                  <a:pt x="3008111" y="1874710"/>
                  <a:pt x="3004109" y="1882615"/>
                  <a:pt x="2993630" y="1890045"/>
                </a:cubicBezTo>
                <a:cubicBezTo>
                  <a:pt x="2979678" y="1899265"/>
                  <a:pt x="2964094" y="1905733"/>
                  <a:pt x="2947722" y="1909095"/>
                </a:cubicBezTo>
                <a:cubicBezTo>
                  <a:pt x="2908288" y="1918430"/>
                  <a:pt x="2863234" y="1916334"/>
                  <a:pt x="2850279" y="1904332"/>
                </a:cubicBezTo>
                <a:cubicBezTo>
                  <a:pt x="2843611" y="1898236"/>
                  <a:pt x="2846278" y="1890331"/>
                  <a:pt x="2855708" y="1882711"/>
                </a:cubicBezTo>
                <a:cubicBezTo>
                  <a:pt x="2869577" y="1872948"/>
                  <a:pt x="2885304" y="1866147"/>
                  <a:pt x="2901905" y="1862708"/>
                </a:cubicBezTo>
                <a:cubicBezTo>
                  <a:pt x="2923050" y="1857517"/>
                  <a:pt x="2945791" y="1855636"/>
                  <a:pt x="2964534" y="1856708"/>
                </a:cubicBezTo>
                <a:close/>
                <a:moveTo>
                  <a:pt x="1698405" y="1855375"/>
                </a:moveTo>
                <a:cubicBezTo>
                  <a:pt x="1709064" y="1855775"/>
                  <a:pt x="1719683" y="1856794"/>
                  <a:pt x="1730218" y="1858423"/>
                </a:cubicBezTo>
                <a:cubicBezTo>
                  <a:pt x="1747372" y="1860204"/>
                  <a:pt x="1764041" y="1865186"/>
                  <a:pt x="1779367" y="1873091"/>
                </a:cubicBezTo>
                <a:cubicBezTo>
                  <a:pt x="1797941" y="1885283"/>
                  <a:pt x="1784034" y="1899761"/>
                  <a:pt x="1750221" y="1903572"/>
                </a:cubicBezTo>
                <a:cubicBezTo>
                  <a:pt x="1740887" y="1904543"/>
                  <a:pt x="1731494" y="1904829"/>
                  <a:pt x="1722122" y="1904429"/>
                </a:cubicBezTo>
                <a:cubicBezTo>
                  <a:pt x="1712139" y="1904067"/>
                  <a:pt x="1702196" y="1903181"/>
                  <a:pt x="1692309" y="1901762"/>
                </a:cubicBezTo>
                <a:cubicBezTo>
                  <a:pt x="1675841" y="1899838"/>
                  <a:pt x="1659810" y="1895161"/>
                  <a:pt x="1644875" y="1887951"/>
                </a:cubicBezTo>
                <a:cubicBezTo>
                  <a:pt x="1633921" y="1881664"/>
                  <a:pt x="1631349" y="1874806"/>
                  <a:pt x="1635350" y="1868901"/>
                </a:cubicBezTo>
                <a:cubicBezTo>
                  <a:pt x="1639350" y="1862995"/>
                  <a:pt x="1651257" y="1858423"/>
                  <a:pt x="1668497" y="1856327"/>
                </a:cubicBezTo>
                <a:cubicBezTo>
                  <a:pt x="1678422" y="1855223"/>
                  <a:pt x="1688422" y="1854908"/>
                  <a:pt x="1698405" y="1855375"/>
                </a:cubicBezTo>
                <a:close/>
                <a:moveTo>
                  <a:pt x="4418130" y="1853827"/>
                </a:moveTo>
                <a:cubicBezTo>
                  <a:pt x="4428167" y="1854398"/>
                  <a:pt x="4432620" y="1857756"/>
                  <a:pt x="4428714" y="1863566"/>
                </a:cubicBezTo>
                <a:cubicBezTo>
                  <a:pt x="4420904" y="1875186"/>
                  <a:pt x="4385947" y="1892808"/>
                  <a:pt x="4352514" y="1902523"/>
                </a:cubicBezTo>
                <a:cubicBezTo>
                  <a:pt x="4319081" y="1912239"/>
                  <a:pt x="4290030" y="1912239"/>
                  <a:pt x="4295364" y="1901380"/>
                </a:cubicBezTo>
                <a:cubicBezTo>
                  <a:pt x="4304889" y="1887283"/>
                  <a:pt x="4339370" y="1870900"/>
                  <a:pt x="4374041" y="1860804"/>
                </a:cubicBezTo>
                <a:cubicBezTo>
                  <a:pt x="4392472" y="1855470"/>
                  <a:pt x="4408093" y="1853256"/>
                  <a:pt x="4418130" y="1853827"/>
                </a:cubicBezTo>
                <a:close/>
                <a:moveTo>
                  <a:pt x="4719096" y="1850053"/>
                </a:moveTo>
                <a:cubicBezTo>
                  <a:pt x="4725037" y="1850731"/>
                  <a:pt x="4726847" y="1853470"/>
                  <a:pt x="4723418" y="1858137"/>
                </a:cubicBezTo>
                <a:cubicBezTo>
                  <a:pt x="4717757" y="1864299"/>
                  <a:pt x="4710881" y="1869233"/>
                  <a:pt x="4703225" y="1872615"/>
                </a:cubicBezTo>
                <a:cubicBezTo>
                  <a:pt x="4697958" y="1875224"/>
                  <a:pt x="4692552" y="1877548"/>
                  <a:pt x="4687033" y="1879568"/>
                </a:cubicBezTo>
                <a:lnTo>
                  <a:pt x="4678079" y="1882616"/>
                </a:lnTo>
                <a:lnTo>
                  <a:pt x="4668554" y="1885569"/>
                </a:lnTo>
                <a:cubicBezTo>
                  <a:pt x="4644456" y="1892426"/>
                  <a:pt x="4630454" y="1891283"/>
                  <a:pt x="4635407" y="1882901"/>
                </a:cubicBezTo>
                <a:cubicBezTo>
                  <a:pt x="4640616" y="1876415"/>
                  <a:pt x="4647315" y="1871291"/>
                  <a:pt x="4654933" y="1867947"/>
                </a:cubicBezTo>
                <a:cubicBezTo>
                  <a:pt x="4660264" y="1865166"/>
                  <a:pt x="4665731" y="1862651"/>
                  <a:pt x="4671316" y="1860423"/>
                </a:cubicBezTo>
                <a:cubicBezTo>
                  <a:pt x="4677127" y="1858232"/>
                  <a:pt x="4683413" y="1856136"/>
                  <a:pt x="4689985" y="1854326"/>
                </a:cubicBezTo>
                <a:cubicBezTo>
                  <a:pt x="4703082" y="1850755"/>
                  <a:pt x="4713155" y="1849374"/>
                  <a:pt x="4719096" y="1850053"/>
                </a:cubicBezTo>
                <a:close/>
                <a:moveTo>
                  <a:pt x="5235767" y="1849946"/>
                </a:moveTo>
                <a:cubicBezTo>
                  <a:pt x="5246912" y="1848517"/>
                  <a:pt x="5251674" y="1849946"/>
                  <a:pt x="5246340" y="1853565"/>
                </a:cubicBezTo>
                <a:cubicBezTo>
                  <a:pt x="5242295" y="1855708"/>
                  <a:pt x="5238011" y="1857375"/>
                  <a:pt x="5233577" y="1858518"/>
                </a:cubicBezTo>
                <a:cubicBezTo>
                  <a:pt x="5230910" y="1859280"/>
                  <a:pt x="5228052" y="1860042"/>
                  <a:pt x="5225195" y="1860614"/>
                </a:cubicBezTo>
                <a:cubicBezTo>
                  <a:pt x="5222337" y="1861185"/>
                  <a:pt x="5219480" y="1861757"/>
                  <a:pt x="5216813" y="1862138"/>
                </a:cubicBezTo>
                <a:cubicBezTo>
                  <a:pt x="5207288" y="1863471"/>
                  <a:pt x="5202144" y="1862138"/>
                  <a:pt x="5206526" y="1858899"/>
                </a:cubicBezTo>
                <a:cubicBezTo>
                  <a:pt x="5210346" y="1856632"/>
                  <a:pt x="5214445" y="1854870"/>
                  <a:pt x="5218718" y="1853660"/>
                </a:cubicBezTo>
                <a:lnTo>
                  <a:pt x="5222909" y="1852517"/>
                </a:lnTo>
                <a:lnTo>
                  <a:pt x="5227195" y="1851470"/>
                </a:lnTo>
                <a:cubicBezTo>
                  <a:pt x="5230052" y="1850803"/>
                  <a:pt x="5233005" y="1850327"/>
                  <a:pt x="5235767" y="1849946"/>
                </a:cubicBezTo>
                <a:close/>
                <a:moveTo>
                  <a:pt x="5025361" y="1849278"/>
                </a:moveTo>
                <a:cubicBezTo>
                  <a:pt x="5027637" y="1848993"/>
                  <a:pt x="5029942" y="1848993"/>
                  <a:pt x="5032219" y="1849278"/>
                </a:cubicBezTo>
                <a:cubicBezTo>
                  <a:pt x="5035362" y="1850231"/>
                  <a:pt x="5035743" y="1852136"/>
                  <a:pt x="5032219" y="1854803"/>
                </a:cubicBezTo>
                <a:cubicBezTo>
                  <a:pt x="5029965" y="1856432"/>
                  <a:pt x="5027575" y="1857870"/>
                  <a:pt x="5025075" y="1859089"/>
                </a:cubicBezTo>
                <a:lnTo>
                  <a:pt x="5020217" y="1861185"/>
                </a:lnTo>
                <a:lnTo>
                  <a:pt x="5014693" y="1863375"/>
                </a:lnTo>
                <a:cubicBezTo>
                  <a:pt x="5006905" y="1866585"/>
                  <a:pt x="4998838" y="1869071"/>
                  <a:pt x="4990594" y="1870805"/>
                </a:cubicBezTo>
                <a:cubicBezTo>
                  <a:pt x="4974783" y="1873853"/>
                  <a:pt x="4966496" y="1871853"/>
                  <a:pt x="4972783" y="1866423"/>
                </a:cubicBezTo>
                <a:cubicBezTo>
                  <a:pt x="4985632" y="1858470"/>
                  <a:pt x="4999894" y="1853070"/>
                  <a:pt x="5014788" y="1850517"/>
                </a:cubicBezTo>
                <a:cubicBezTo>
                  <a:pt x="5018268" y="1849793"/>
                  <a:pt x="5021807" y="1849374"/>
                  <a:pt x="5025361" y="1849278"/>
                </a:cubicBezTo>
                <a:close/>
                <a:moveTo>
                  <a:pt x="4885176" y="1846445"/>
                </a:moveTo>
                <a:cubicBezTo>
                  <a:pt x="4889605" y="1847326"/>
                  <a:pt x="4890487" y="1849707"/>
                  <a:pt x="4886772" y="1853374"/>
                </a:cubicBezTo>
                <a:cubicBezTo>
                  <a:pt x="4881126" y="1858184"/>
                  <a:pt x="4874678" y="1861956"/>
                  <a:pt x="4867722" y="1864519"/>
                </a:cubicBezTo>
                <a:cubicBezTo>
                  <a:pt x="4863435" y="1866423"/>
                  <a:pt x="4858768" y="1868138"/>
                  <a:pt x="4853910" y="1869757"/>
                </a:cubicBezTo>
                <a:cubicBezTo>
                  <a:pt x="4849053" y="1871377"/>
                  <a:pt x="4844385" y="1872901"/>
                  <a:pt x="4839051" y="1874139"/>
                </a:cubicBezTo>
                <a:cubicBezTo>
                  <a:pt x="4818763" y="1879187"/>
                  <a:pt x="4806952" y="1877568"/>
                  <a:pt x="4812953" y="1870519"/>
                </a:cubicBezTo>
                <a:cubicBezTo>
                  <a:pt x="4818514" y="1865404"/>
                  <a:pt x="4824972" y="1861375"/>
                  <a:pt x="4832003" y="1858613"/>
                </a:cubicBezTo>
                <a:cubicBezTo>
                  <a:pt x="4836480" y="1856613"/>
                  <a:pt x="4841528" y="1854613"/>
                  <a:pt x="4846576" y="1852898"/>
                </a:cubicBezTo>
                <a:lnTo>
                  <a:pt x="4850386" y="1851564"/>
                </a:lnTo>
                <a:lnTo>
                  <a:pt x="4854387" y="1850422"/>
                </a:lnTo>
                <a:lnTo>
                  <a:pt x="4862292" y="1848517"/>
                </a:lnTo>
                <a:cubicBezTo>
                  <a:pt x="4872770" y="1846183"/>
                  <a:pt x="4880747" y="1845564"/>
                  <a:pt x="4885176" y="1846445"/>
                </a:cubicBezTo>
                <a:close/>
                <a:moveTo>
                  <a:pt x="3652415" y="1843945"/>
                </a:moveTo>
                <a:cubicBezTo>
                  <a:pt x="3667453" y="1844469"/>
                  <a:pt x="3677240" y="1848279"/>
                  <a:pt x="3678811" y="1855279"/>
                </a:cubicBezTo>
                <a:cubicBezTo>
                  <a:pt x="3681955" y="1869281"/>
                  <a:pt x="3653570" y="1886426"/>
                  <a:pt x="3612136" y="1897951"/>
                </a:cubicBezTo>
                <a:cubicBezTo>
                  <a:pt x="3568894" y="1910048"/>
                  <a:pt x="3532416" y="1909667"/>
                  <a:pt x="3526605" y="1896904"/>
                </a:cubicBezTo>
                <a:cubicBezTo>
                  <a:pt x="3520511" y="1883664"/>
                  <a:pt x="3549369" y="1864614"/>
                  <a:pt x="3594515" y="1852327"/>
                </a:cubicBezTo>
                <a:cubicBezTo>
                  <a:pt x="3617090" y="1846183"/>
                  <a:pt x="3637378" y="1843421"/>
                  <a:pt x="3652415" y="1843945"/>
                </a:cubicBezTo>
                <a:close/>
                <a:moveTo>
                  <a:pt x="4298889" y="1843028"/>
                </a:moveTo>
                <a:cubicBezTo>
                  <a:pt x="4310057" y="1843635"/>
                  <a:pt x="4315510" y="1847230"/>
                  <a:pt x="4312128" y="1853564"/>
                </a:cubicBezTo>
                <a:cubicBezTo>
                  <a:pt x="4305366" y="1866232"/>
                  <a:pt x="4269742" y="1884521"/>
                  <a:pt x="4234023" y="1894712"/>
                </a:cubicBezTo>
                <a:cubicBezTo>
                  <a:pt x="4198305" y="1904904"/>
                  <a:pt x="4167063" y="1904999"/>
                  <a:pt x="4171063" y="1893379"/>
                </a:cubicBezTo>
                <a:cubicBezTo>
                  <a:pt x="4178683" y="1878520"/>
                  <a:pt x="4214307" y="1861184"/>
                  <a:pt x="4251359" y="1850421"/>
                </a:cubicBezTo>
                <a:cubicBezTo>
                  <a:pt x="4270838" y="1844802"/>
                  <a:pt x="4287721" y="1842421"/>
                  <a:pt x="4298889" y="1843028"/>
                </a:cubicBezTo>
                <a:close/>
                <a:moveTo>
                  <a:pt x="5323683" y="1842707"/>
                </a:moveTo>
                <a:cubicBezTo>
                  <a:pt x="5333208" y="1841849"/>
                  <a:pt x="5336161" y="1843373"/>
                  <a:pt x="5331113" y="1846136"/>
                </a:cubicBezTo>
                <a:cubicBezTo>
                  <a:pt x="5327612" y="1847802"/>
                  <a:pt x="5323939" y="1849079"/>
                  <a:pt x="5320159" y="1849946"/>
                </a:cubicBezTo>
                <a:cubicBezTo>
                  <a:pt x="5315559" y="1851155"/>
                  <a:pt x="5310880" y="1852051"/>
                  <a:pt x="5306157" y="1852613"/>
                </a:cubicBezTo>
                <a:cubicBezTo>
                  <a:pt x="5296632" y="1853565"/>
                  <a:pt x="5293680" y="1852136"/>
                  <a:pt x="5298537" y="1849374"/>
                </a:cubicBezTo>
                <a:cubicBezTo>
                  <a:pt x="5302006" y="1847564"/>
                  <a:pt x="5305686" y="1846193"/>
                  <a:pt x="5309491" y="1845278"/>
                </a:cubicBezTo>
                <a:lnTo>
                  <a:pt x="5316635" y="1843659"/>
                </a:lnTo>
                <a:cubicBezTo>
                  <a:pt x="5318965" y="1843211"/>
                  <a:pt x="5321317" y="1842888"/>
                  <a:pt x="5323683" y="1842707"/>
                </a:cubicBezTo>
                <a:close/>
                <a:moveTo>
                  <a:pt x="5411694" y="1838706"/>
                </a:moveTo>
                <a:cubicBezTo>
                  <a:pt x="5418076" y="1838706"/>
                  <a:pt x="5420077" y="1839754"/>
                  <a:pt x="5416362" y="1841659"/>
                </a:cubicBezTo>
                <a:cubicBezTo>
                  <a:pt x="5413285" y="1842897"/>
                  <a:pt x="5410094" y="1843859"/>
                  <a:pt x="5406837" y="1844516"/>
                </a:cubicBezTo>
                <a:cubicBezTo>
                  <a:pt x="5403074" y="1845364"/>
                  <a:pt x="5399255" y="1845974"/>
                  <a:pt x="5395407" y="1846326"/>
                </a:cubicBezTo>
                <a:cubicBezTo>
                  <a:pt x="5389025" y="1846707"/>
                  <a:pt x="5386929" y="1845374"/>
                  <a:pt x="5390644" y="1843469"/>
                </a:cubicBezTo>
                <a:cubicBezTo>
                  <a:pt x="5393704" y="1842145"/>
                  <a:pt x="5396897" y="1841154"/>
                  <a:pt x="5400169" y="1840516"/>
                </a:cubicBezTo>
                <a:cubicBezTo>
                  <a:pt x="5403951" y="1839573"/>
                  <a:pt x="5407808" y="1838973"/>
                  <a:pt x="5411694" y="1838706"/>
                </a:cubicBezTo>
                <a:close/>
                <a:moveTo>
                  <a:pt x="5123182" y="1837468"/>
                </a:moveTo>
                <a:cubicBezTo>
                  <a:pt x="5125944" y="1838372"/>
                  <a:pt x="5126039" y="1840182"/>
                  <a:pt x="5122610" y="1842611"/>
                </a:cubicBezTo>
                <a:cubicBezTo>
                  <a:pt x="5110642" y="1849088"/>
                  <a:pt x="5097663" y="1853508"/>
                  <a:pt x="5084224" y="1855660"/>
                </a:cubicBezTo>
                <a:cubicBezTo>
                  <a:pt x="5070127" y="1857946"/>
                  <a:pt x="5062507" y="1855660"/>
                  <a:pt x="5069080" y="1851088"/>
                </a:cubicBezTo>
                <a:cubicBezTo>
                  <a:pt x="5081101" y="1844440"/>
                  <a:pt x="5094186" y="1839925"/>
                  <a:pt x="5107751" y="1837753"/>
                </a:cubicBezTo>
                <a:cubicBezTo>
                  <a:pt x="5114990" y="1836563"/>
                  <a:pt x="5120419" y="1836563"/>
                  <a:pt x="5123182" y="1837468"/>
                </a:cubicBezTo>
                <a:close/>
                <a:moveTo>
                  <a:pt x="5494372" y="1836610"/>
                </a:moveTo>
                <a:cubicBezTo>
                  <a:pt x="5500277" y="1836610"/>
                  <a:pt x="5502373" y="1837372"/>
                  <a:pt x="5498753" y="1838896"/>
                </a:cubicBezTo>
                <a:cubicBezTo>
                  <a:pt x="5493972" y="1840477"/>
                  <a:pt x="5489009" y="1841439"/>
                  <a:pt x="5483989" y="1841753"/>
                </a:cubicBezTo>
                <a:cubicBezTo>
                  <a:pt x="5478941" y="1842039"/>
                  <a:pt x="5477131" y="1841182"/>
                  <a:pt x="5479798" y="1839848"/>
                </a:cubicBezTo>
                <a:cubicBezTo>
                  <a:pt x="5484466" y="1838039"/>
                  <a:pt x="5489381" y="1836943"/>
                  <a:pt x="5494372" y="1836610"/>
                </a:cubicBezTo>
                <a:close/>
                <a:moveTo>
                  <a:pt x="4649159" y="1831622"/>
                </a:moveTo>
                <a:cubicBezTo>
                  <a:pt x="4656362" y="1832396"/>
                  <a:pt x="4659267" y="1835420"/>
                  <a:pt x="4655790" y="1840421"/>
                </a:cubicBezTo>
                <a:cubicBezTo>
                  <a:pt x="4649415" y="1847440"/>
                  <a:pt x="4641668" y="1853088"/>
                  <a:pt x="4633026" y="1856994"/>
                </a:cubicBezTo>
                <a:cubicBezTo>
                  <a:pt x="4627264" y="1860022"/>
                  <a:pt x="4621351" y="1862756"/>
                  <a:pt x="4615309" y="1865185"/>
                </a:cubicBezTo>
                <a:lnTo>
                  <a:pt x="4610547" y="1866995"/>
                </a:lnTo>
                <a:lnTo>
                  <a:pt x="4607880" y="1867947"/>
                </a:lnTo>
                <a:lnTo>
                  <a:pt x="4605022" y="1868995"/>
                </a:lnTo>
                <a:lnTo>
                  <a:pt x="4593592" y="1872615"/>
                </a:lnTo>
                <a:cubicBezTo>
                  <a:pt x="4563303" y="1881282"/>
                  <a:pt x="4541967" y="1880806"/>
                  <a:pt x="4548253" y="1871281"/>
                </a:cubicBezTo>
                <a:cubicBezTo>
                  <a:pt x="4555627" y="1863461"/>
                  <a:pt x="4564547" y="1857270"/>
                  <a:pt x="4574447" y="1853088"/>
                </a:cubicBezTo>
                <a:cubicBezTo>
                  <a:pt x="4580924" y="1849754"/>
                  <a:pt x="4588258" y="1846516"/>
                  <a:pt x="4595973" y="1843563"/>
                </a:cubicBezTo>
                <a:lnTo>
                  <a:pt x="4601784" y="1841373"/>
                </a:lnTo>
                <a:lnTo>
                  <a:pt x="4606737" y="1839563"/>
                </a:lnTo>
                <a:cubicBezTo>
                  <a:pt x="4610070" y="1838325"/>
                  <a:pt x="4613404" y="1837277"/>
                  <a:pt x="4616738" y="1836324"/>
                </a:cubicBezTo>
                <a:cubicBezTo>
                  <a:pt x="4630454" y="1832324"/>
                  <a:pt x="4641956" y="1830847"/>
                  <a:pt x="4649159" y="1831622"/>
                </a:cubicBezTo>
                <a:close/>
                <a:moveTo>
                  <a:pt x="4163122" y="1829538"/>
                </a:moveTo>
                <a:cubicBezTo>
                  <a:pt x="4175279" y="1829871"/>
                  <a:pt x="4181684" y="1833420"/>
                  <a:pt x="4180017" y="1840135"/>
                </a:cubicBezTo>
                <a:cubicBezTo>
                  <a:pt x="4176683" y="1853565"/>
                  <a:pt x="4144965" y="1871091"/>
                  <a:pt x="4104103" y="1882902"/>
                </a:cubicBezTo>
                <a:cubicBezTo>
                  <a:pt x="4062955" y="1894713"/>
                  <a:pt x="4034094" y="1894427"/>
                  <a:pt x="4035523" y="1881949"/>
                </a:cubicBezTo>
                <a:cubicBezTo>
                  <a:pt x="4036951" y="1869472"/>
                  <a:pt x="4069051" y="1850517"/>
                  <a:pt x="4111723" y="1838230"/>
                </a:cubicBezTo>
                <a:cubicBezTo>
                  <a:pt x="4133059" y="1832086"/>
                  <a:pt x="4150966" y="1829205"/>
                  <a:pt x="4163122" y="1829538"/>
                </a:cubicBezTo>
                <a:close/>
                <a:moveTo>
                  <a:pt x="4983665" y="1829097"/>
                </a:moveTo>
                <a:cubicBezTo>
                  <a:pt x="4987213" y="1830110"/>
                  <a:pt x="4987165" y="1832515"/>
                  <a:pt x="4982974" y="1836134"/>
                </a:cubicBezTo>
                <a:cubicBezTo>
                  <a:pt x="4977150" y="1840268"/>
                  <a:pt x="4970724" y="1843478"/>
                  <a:pt x="4963924" y="1845659"/>
                </a:cubicBezTo>
                <a:cubicBezTo>
                  <a:pt x="4955027" y="1849135"/>
                  <a:pt x="4945850" y="1851841"/>
                  <a:pt x="4936492" y="1853755"/>
                </a:cubicBezTo>
                <a:cubicBezTo>
                  <a:pt x="4917632" y="1858327"/>
                  <a:pt x="4909155" y="1856232"/>
                  <a:pt x="4916299" y="1849469"/>
                </a:cubicBezTo>
                <a:cubicBezTo>
                  <a:pt x="4930161" y="1839706"/>
                  <a:pt x="4946051" y="1833191"/>
                  <a:pt x="4962781" y="1830419"/>
                </a:cubicBezTo>
                <a:cubicBezTo>
                  <a:pt x="4972973" y="1828466"/>
                  <a:pt x="4980116" y="1828085"/>
                  <a:pt x="4983665" y="1829097"/>
                </a:cubicBezTo>
                <a:close/>
                <a:moveTo>
                  <a:pt x="3440622" y="1828098"/>
                </a:moveTo>
                <a:cubicBezTo>
                  <a:pt x="3457344" y="1828991"/>
                  <a:pt x="3469369" y="1832944"/>
                  <a:pt x="3471749" y="1839659"/>
                </a:cubicBezTo>
                <a:cubicBezTo>
                  <a:pt x="3476509" y="1853089"/>
                  <a:pt x="3446226" y="1872615"/>
                  <a:pt x="3407090" y="1883188"/>
                </a:cubicBezTo>
                <a:cubicBezTo>
                  <a:pt x="3367954" y="1893761"/>
                  <a:pt x="3323383" y="1892808"/>
                  <a:pt x="3315574" y="1880426"/>
                </a:cubicBezTo>
                <a:cubicBezTo>
                  <a:pt x="3307573" y="1867757"/>
                  <a:pt x="3338909" y="1845945"/>
                  <a:pt x="3381282" y="1834896"/>
                </a:cubicBezTo>
                <a:cubicBezTo>
                  <a:pt x="3402471" y="1829372"/>
                  <a:pt x="3423898" y="1827205"/>
                  <a:pt x="3440622" y="1828098"/>
                </a:cubicBezTo>
                <a:close/>
                <a:moveTo>
                  <a:pt x="747990" y="1827371"/>
                </a:moveTo>
                <a:cubicBezTo>
                  <a:pt x="753943" y="1827361"/>
                  <a:pt x="759877" y="1828161"/>
                  <a:pt x="765611" y="1829752"/>
                </a:cubicBezTo>
                <a:lnTo>
                  <a:pt x="770754" y="1831085"/>
                </a:lnTo>
                <a:lnTo>
                  <a:pt x="776280" y="1832609"/>
                </a:lnTo>
                <a:cubicBezTo>
                  <a:pt x="779993" y="1833657"/>
                  <a:pt x="783804" y="1834895"/>
                  <a:pt x="787804" y="1836324"/>
                </a:cubicBezTo>
                <a:lnTo>
                  <a:pt x="799806" y="1840706"/>
                </a:lnTo>
                <a:lnTo>
                  <a:pt x="811998" y="1845563"/>
                </a:lnTo>
                <a:lnTo>
                  <a:pt x="823904" y="1850897"/>
                </a:lnTo>
                <a:lnTo>
                  <a:pt x="835239" y="1856327"/>
                </a:lnTo>
                <a:cubicBezTo>
                  <a:pt x="838858" y="1858136"/>
                  <a:pt x="842287" y="1860041"/>
                  <a:pt x="845526" y="1861946"/>
                </a:cubicBezTo>
                <a:lnTo>
                  <a:pt x="850288" y="1864709"/>
                </a:lnTo>
                <a:lnTo>
                  <a:pt x="854479" y="1867376"/>
                </a:lnTo>
                <a:cubicBezTo>
                  <a:pt x="866100" y="1874996"/>
                  <a:pt x="870862" y="1881187"/>
                  <a:pt x="869243" y="1885092"/>
                </a:cubicBezTo>
                <a:cubicBezTo>
                  <a:pt x="867624" y="1888997"/>
                  <a:pt x="859718" y="1890521"/>
                  <a:pt x="845621" y="1888616"/>
                </a:cubicBezTo>
                <a:cubicBezTo>
                  <a:pt x="837677" y="1887283"/>
                  <a:pt x="829819" y="1885473"/>
                  <a:pt x="822095" y="1883187"/>
                </a:cubicBezTo>
                <a:cubicBezTo>
                  <a:pt x="817903" y="1881949"/>
                  <a:pt x="813617" y="1880425"/>
                  <a:pt x="809331" y="1878901"/>
                </a:cubicBezTo>
                <a:cubicBezTo>
                  <a:pt x="805045" y="1877377"/>
                  <a:pt x="800663" y="1875662"/>
                  <a:pt x="796376" y="1873853"/>
                </a:cubicBezTo>
                <a:cubicBezTo>
                  <a:pt x="780546" y="1867509"/>
                  <a:pt x="765592" y="1859155"/>
                  <a:pt x="751895" y="1848992"/>
                </a:cubicBezTo>
                <a:cubicBezTo>
                  <a:pt x="747485" y="1845906"/>
                  <a:pt x="743646" y="1842068"/>
                  <a:pt x="740560" y="1837657"/>
                </a:cubicBezTo>
                <a:cubicBezTo>
                  <a:pt x="738560" y="1834419"/>
                  <a:pt x="738179" y="1831943"/>
                  <a:pt x="739512" y="1830133"/>
                </a:cubicBezTo>
                <a:cubicBezTo>
                  <a:pt x="741789" y="1828009"/>
                  <a:pt x="744894" y="1826999"/>
                  <a:pt x="747990" y="1827371"/>
                </a:cubicBezTo>
                <a:close/>
                <a:moveTo>
                  <a:pt x="4828586" y="1826788"/>
                </a:moveTo>
                <a:cubicBezTo>
                  <a:pt x="4833789" y="1827752"/>
                  <a:pt x="4835432" y="1830324"/>
                  <a:pt x="4832193" y="1834229"/>
                </a:cubicBezTo>
                <a:cubicBezTo>
                  <a:pt x="4825594" y="1840106"/>
                  <a:pt x="4817975" y="1844716"/>
                  <a:pt x="4809714" y="1847851"/>
                </a:cubicBezTo>
                <a:cubicBezTo>
                  <a:pt x="4804666" y="1850136"/>
                  <a:pt x="4799141" y="1852327"/>
                  <a:pt x="4793521" y="1854327"/>
                </a:cubicBezTo>
                <a:cubicBezTo>
                  <a:pt x="4788053" y="1856289"/>
                  <a:pt x="4782490" y="1857975"/>
                  <a:pt x="4776853" y="1859375"/>
                </a:cubicBezTo>
                <a:cubicBezTo>
                  <a:pt x="4755707" y="1864519"/>
                  <a:pt x="4742182" y="1862518"/>
                  <a:pt x="4748182" y="1854899"/>
                </a:cubicBezTo>
                <a:cubicBezTo>
                  <a:pt x="4754439" y="1848860"/>
                  <a:pt x="4761817" y="1844107"/>
                  <a:pt x="4769899" y="1840897"/>
                </a:cubicBezTo>
                <a:cubicBezTo>
                  <a:pt x="4775043" y="1838420"/>
                  <a:pt x="4780663" y="1836039"/>
                  <a:pt x="4786378" y="1833943"/>
                </a:cubicBezTo>
                <a:cubicBezTo>
                  <a:pt x="4792026" y="1831962"/>
                  <a:pt x="4797782" y="1830314"/>
                  <a:pt x="4803618" y="1828991"/>
                </a:cubicBezTo>
                <a:cubicBezTo>
                  <a:pt x="4814620" y="1826467"/>
                  <a:pt x="4823383" y="1825824"/>
                  <a:pt x="4828586" y="1826788"/>
                </a:cubicBezTo>
                <a:close/>
                <a:moveTo>
                  <a:pt x="2021256" y="1826347"/>
                </a:moveTo>
                <a:cubicBezTo>
                  <a:pt x="2040520" y="1828728"/>
                  <a:pt x="2057355" y="1833658"/>
                  <a:pt x="2067690" y="1840611"/>
                </a:cubicBezTo>
                <a:cubicBezTo>
                  <a:pt x="2077215" y="1847374"/>
                  <a:pt x="2078738" y="1854422"/>
                  <a:pt x="2072357" y="1860518"/>
                </a:cubicBezTo>
                <a:cubicBezTo>
                  <a:pt x="2067947" y="1864271"/>
                  <a:pt x="2062832" y="1867090"/>
                  <a:pt x="2057308" y="1868805"/>
                </a:cubicBezTo>
                <a:cubicBezTo>
                  <a:pt x="2049097" y="1871548"/>
                  <a:pt x="2040649" y="1873491"/>
                  <a:pt x="2032067" y="1874615"/>
                </a:cubicBezTo>
                <a:cubicBezTo>
                  <a:pt x="2022599" y="1875977"/>
                  <a:pt x="2013055" y="1876673"/>
                  <a:pt x="2003492" y="1876711"/>
                </a:cubicBezTo>
                <a:cubicBezTo>
                  <a:pt x="1993938" y="1876758"/>
                  <a:pt x="1984394" y="1876149"/>
                  <a:pt x="1974917" y="1874901"/>
                </a:cubicBezTo>
                <a:cubicBezTo>
                  <a:pt x="1959344" y="1873443"/>
                  <a:pt x="1944237" y="1868805"/>
                  <a:pt x="1930531" y="1861280"/>
                </a:cubicBezTo>
                <a:cubicBezTo>
                  <a:pt x="1909481" y="1847945"/>
                  <a:pt x="1922053" y="1833562"/>
                  <a:pt x="1960249" y="1827371"/>
                </a:cubicBezTo>
                <a:cubicBezTo>
                  <a:pt x="1980298" y="1824133"/>
                  <a:pt x="2001992" y="1823966"/>
                  <a:pt x="2021256" y="1826347"/>
                </a:cubicBezTo>
                <a:close/>
                <a:moveTo>
                  <a:pt x="5204526" y="1826228"/>
                </a:moveTo>
                <a:cubicBezTo>
                  <a:pt x="5217670" y="1824418"/>
                  <a:pt x="5223576" y="1826228"/>
                  <a:pt x="5217194" y="1830800"/>
                </a:cubicBezTo>
                <a:cubicBezTo>
                  <a:pt x="5206497" y="1836220"/>
                  <a:pt x="5194973" y="1839820"/>
                  <a:pt x="5183095" y="1841468"/>
                </a:cubicBezTo>
                <a:cubicBezTo>
                  <a:pt x="5169950" y="1843278"/>
                  <a:pt x="5163473" y="1841658"/>
                  <a:pt x="5168998" y="1837467"/>
                </a:cubicBezTo>
                <a:cubicBezTo>
                  <a:pt x="5180073" y="1831628"/>
                  <a:pt x="5192106" y="1827818"/>
                  <a:pt x="5204526" y="1826228"/>
                </a:cubicBezTo>
                <a:close/>
                <a:moveTo>
                  <a:pt x="2662343" y="1825181"/>
                </a:moveTo>
                <a:cubicBezTo>
                  <a:pt x="2677498" y="1825142"/>
                  <a:pt x="2692385" y="1829219"/>
                  <a:pt x="2705396" y="1836992"/>
                </a:cubicBezTo>
                <a:cubicBezTo>
                  <a:pt x="2720350" y="1849469"/>
                  <a:pt x="2699206" y="1868138"/>
                  <a:pt x="2660725" y="1876997"/>
                </a:cubicBezTo>
                <a:cubicBezTo>
                  <a:pt x="2650884" y="1879235"/>
                  <a:pt x="2640884" y="1880730"/>
                  <a:pt x="2630815" y="1881473"/>
                </a:cubicBezTo>
                <a:cubicBezTo>
                  <a:pt x="2620919" y="1882188"/>
                  <a:pt x="2610995" y="1882188"/>
                  <a:pt x="2601097" y="1881473"/>
                </a:cubicBezTo>
                <a:cubicBezTo>
                  <a:pt x="2585973" y="1881521"/>
                  <a:pt x="2571074" y="1877797"/>
                  <a:pt x="2557759" y="1870615"/>
                </a:cubicBezTo>
                <a:cubicBezTo>
                  <a:pt x="2549282" y="1864328"/>
                  <a:pt x="2550140" y="1856423"/>
                  <a:pt x="2557759" y="1848898"/>
                </a:cubicBezTo>
                <a:cubicBezTo>
                  <a:pt x="2562865" y="1844488"/>
                  <a:pt x="2568610" y="1840887"/>
                  <a:pt x="2574808" y="1838230"/>
                </a:cubicBezTo>
                <a:cubicBezTo>
                  <a:pt x="2583248" y="1834572"/>
                  <a:pt x="2592020" y="1831734"/>
                  <a:pt x="2601003" y="1829753"/>
                </a:cubicBezTo>
                <a:cubicBezTo>
                  <a:pt x="2621138" y="1825371"/>
                  <a:pt x="2641780" y="1823828"/>
                  <a:pt x="2662343" y="1825181"/>
                </a:cubicBezTo>
                <a:close/>
                <a:moveTo>
                  <a:pt x="5296537" y="1819085"/>
                </a:moveTo>
                <a:cubicBezTo>
                  <a:pt x="5307872" y="1817942"/>
                  <a:pt x="5311967" y="1819847"/>
                  <a:pt x="5306062" y="1823371"/>
                </a:cubicBezTo>
                <a:cubicBezTo>
                  <a:pt x="5296209" y="1828057"/>
                  <a:pt x="5285594" y="1830924"/>
                  <a:pt x="5274725" y="1831848"/>
                </a:cubicBezTo>
                <a:cubicBezTo>
                  <a:pt x="5270849" y="1832524"/>
                  <a:pt x="5266885" y="1832524"/>
                  <a:pt x="5263009" y="1831848"/>
                </a:cubicBezTo>
                <a:cubicBezTo>
                  <a:pt x="5261009" y="1831181"/>
                  <a:pt x="5261104" y="1829943"/>
                  <a:pt x="5263771" y="1828133"/>
                </a:cubicBezTo>
                <a:cubicBezTo>
                  <a:pt x="5265585" y="1827009"/>
                  <a:pt x="5267498" y="1826057"/>
                  <a:pt x="5269486" y="1825276"/>
                </a:cubicBezTo>
                <a:cubicBezTo>
                  <a:pt x="5272096" y="1824247"/>
                  <a:pt x="5274767" y="1823390"/>
                  <a:pt x="5277487" y="1822704"/>
                </a:cubicBezTo>
                <a:cubicBezTo>
                  <a:pt x="5283729" y="1820990"/>
                  <a:pt x="5290100" y="1819780"/>
                  <a:pt x="5296537" y="1819085"/>
                </a:cubicBezTo>
                <a:close/>
                <a:moveTo>
                  <a:pt x="4559934" y="1816715"/>
                </a:moveTo>
                <a:cubicBezTo>
                  <a:pt x="4569208" y="1817108"/>
                  <a:pt x="4572971" y="1820275"/>
                  <a:pt x="4568827" y="1826229"/>
                </a:cubicBezTo>
                <a:cubicBezTo>
                  <a:pt x="4560541" y="1838134"/>
                  <a:pt x="4528346" y="1854136"/>
                  <a:pt x="4493866" y="1864328"/>
                </a:cubicBezTo>
                <a:cubicBezTo>
                  <a:pt x="4459385" y="1874520"/>
                  <a:pt x="4437478" y="1873567"/>
                  <a:pt x="4443478" y="1862709"/>
                </a:cubicBezTo>
                <a:cubicBezTo>
                  <a:pt x="4449574" y="1851469"/>
                  <a:pt x="4482150" y="1834134"/>
                  <a:pt x="4517964" y="1823847"/>
                </a:cubicBezTo>
                <a:cubicBezTo>
                  <a:pt x="4535871" y="1818704"/>
                  <a:pt x="4550659" y="1816323"/>
                  <a:pt x="4559934" y="1816715"/>
                </a:cubicBezTo>
                <a:close/>
                <a:moveTo>
                  <a:pt x="5084808" y="1813632"/>
                </a:moveTo>
                <a:cubicBezTo>
                  <a:pt x="5088272" y="1814656"/>
                  <a:pt x="5088749" y="1816703"/>
                  <a:pt x="5085367" y="1819370"/>
                </a:cubicBezTo>
                <a:cubicBezTo>
                  <a:pt x="5079740" y="1823209"/>
                  <a:pt x="5073578" y="1826190"/>
                  <a:pt x="5067079" y="1828229"/>
                </a:cubicBezTo>
                <a:cubicBezTo>
                  <a:pt x="5058740" y="1831305"/>
                  <a:pt x="5050173" y="1833725"/>
                  <a:pt x="5041457" y="1835468"/>
                </a:cubicBezTo>
                <a:cubicBezTo>
                  <a:pt x="5024598" y="1838325"/>
                  <a:pt x="5015644" y="1836325"/>
                  <a:pt x="5022026" y="1830705"/>
                </a:cubicBezTo>
                <a:cubicBezTo>
                  <a:pt x="5035531" y="1822247"/>
                  <a:pt x="5050590" y="1816580"/>
                  <a:pt x="5066317" y="1814036"/>
                </a:cubicBezTo>
                <a:cubicBezTo>
                  <a:pt x="5074890" y="1812608"/>
                  <a:pt x="5081343" y="1812608"/>
                  <a:pt x="5084808" y="1813632"/>
                </a:cubicBezTo>
                <a:close/>
                <a:moveTo>
                  <a:pt x="5386358" y="1813464"/>
                </a:moveTo>
                <a:cubicBezTo>
                  <a:pt x="5395883" y="1812798"/>
                  <a:pt x="5398741" y="1814607"/>
                  <a:pt x="5393121" y="1817465"/>
                </a:cubicBezTo>
                <a:cubicBezTo>
                  <a:pt x="5384599" y="1820999"/>
                  <a:pt x="5375560" y="1823123"/>
                  <a:pt x="5366356" y="1823751"/>
                </a:cubicBezTo>
                <a:cubicBezTo>
                  <a:pt x="5363364" y="1824199"/>
                  <a:pt x="5360313" y="1823999"/>
                  <a:pt x="5357402" y="1823180"/>
                </a:cubicBezTo>
                <a:cubicBezTo>
                  <a:pt x="5356069" y="1822513"/>
                  <a:pt x="5356735" y="1821370"/>
                  <a:pt x="5359498" y="1819846"/>
                </a:cubicBezTo>
                <a:cubicBezTo>
                  <a:pt x="5368050" y="1816293"/>
                  <a:pt x="5377120" y="1814131"/>
                  <a:pt x="5386358" y="1813464"/>
                </a:cubicBezTo>
                <a:close/>
                <a:moveTo>
                  <a:pt x="4018520" y="1813192"/>
                </a:moveTo>
                <a:cubicBezTo>
                  <a:pt x="4031951" y="1813822"/>
                  <a:pt x="4039761" y="1817656"/>
                  <a:pt x="4038475" y="1824514"/>
                </a:cubicBezTo>
                <a:cubicBezTo>
                  <a:pt x="4035903" y="1838230"/>
                  <a:pt x="4002470" y="1857089"/>
                  <a:pt x="3963227" y="1868424"/>
                </a:cubicBezTo>
                <a:cubicBezTo>
                  <a:pt x="3923984" y="1879759"/>
                  <a:pt x="3888361" y="1879092"/>
                  <a:pt x="3887885" y="1866900"/>
                </a:cubicBezTo>
                <a:cubicBezTo>
                  <a:pt x="3887313" y="1854041"/>
                  <a:pt x="3922460" y="1832991"/>
                  <a:pt x="3964847" y="1821085"/>
                </a:cubicBezTo>
                <a:cubicBezTo>
                  <a:pt x="3986040" y="1815132"/>
                  <a:pt x="4005090" y="1812561"/>
                  <a:pt x="4018520" y="1813192"/>
                </a:cubicBezTo>
                <a:close/>
                <a:moveTo>
                  <a:pt x="5473702" y="1811560"/>
                </a:moveTo>
                <a:cubicBezTo>
                  <a:pt x="5481322" y="1811560"/>
                  <a:pt x="5483227" y="1812894"/>
                  <a:pt x="5477893" y="1815084"/>
                </a:cubicBezTo>
                <a:cubicBezTo>
                  <a:pt x="5471215" y="1817523"/>
                  <a:pt x="5464224" y="1818970"/>
                  <a:pt x="5457128" y="1819370"/>
                </a:cubicBezTo>
                <a:cubicBezTo>
                  <a:pt x="5449413" y="1819752"/>
                  <a:pt x="5446841" y="1818323"/>
                  <a:pt x="5451508" y="1816132"/>
                </a:cubicBezTo>
                <a:cubicBezTo>
                  <a:pt x="5458623" y="1813446"/>
                  <a:pt x="5466110" y="1811903"/>
                  <a:pt x="5473702" y="1811560"/>
                </a:cubicBezTo>
                <a:close/>
                <a:moveTo>
                  <a:pt x="5560475" y="1811369"/>
                </a:moveTo>
                <a:cubicBezTo>
                  <a:pt x="5566381" y="1811369"/>
                  <a:pt x="5567809" y="1812512"/>
                  <a:pt x="5563523" y="1814036"/>
                </a:cubicBezTo>
                <a:cubicBezTo>
                  <a:pt x="5558342" y="1815655"/>
                  <a:pt x="5552950" y="1816551"/>
                  <a:pt x="5547521" y="1816703"/>
                </a:cubicBezTo>
                <a:cubicBezTo>
                  <a:pt x="5542663" y="1816703"/>
                  <a:pt x="5541425" y="1815560"/>
                  <a:pt x="5544664" y="1814227"/>
                </a:cubicBezTo>
                <a:cubicBezTo>
                  <a:pt x="5549760" y="1812503"/>
                  <a:pt x="5555094" y="1811541"/>
                  <a:pt x="5560475" y="1811369"/>
                </a:cubicBezTo>
                <a:close/>
                <a:moveTo>
                  <a:pt x="4934302" y="1806155"/>
                </a:moveTo>
                <a:cubicBezTo>
                  <a:pt x="4938517" y="1807346"/>
                  <a:pt x="4939112" y="1809989"/>
                  <a:pt x="4935064" y="1813751"/>
                </a:cubicBezTo>
                <a:cubicBezTo>
                  <a:pt x="4918762" y="1824666"/>
                  <a:pt x="4900426" y="1832181"/>
                  <a:pt x="4881152" y="1835849"/>
                </a:cubicBezTo>
                <a:cubicBezTo>
                  <a:pt x="4861150" y="1839944"/>
                  <a:pt x="4850767" y="1837087"/>
                  <a:pt x="4858673" y="1829562"/>
                </a:cubicBezTo>
                <a:cubicBezTo>
                  <a:pt x="4865217" y="1824247"/>
                  <a:pt x="4872584" y="1820028"/>
                  <a:pt x="4880485" y="1817084"/>
                </a:cubicBezTo>
                <a:cubicBezTo>
                  <a:pt x="4885343" y="1815084"/>
                  <a:pt x="4890582" y="1813084"/>
                  <a:pt x="4895916" y="1811369"/>
                </a:cubicBezTo>
                <a:lnTo>
                  <a:pt x="4903917" y="1809083"/>
                </a:lnTo>
                <a:lnTo>
                  <a:pt x="4911823" y="1807274"/>
                </a:lnTo>
                <a:cubicBezTo>
                  <a:pt x="4922253" y="1805226"/>
                  <a:pt x="4930087" y="1804964"/>
                  <a:pt x="4934302" y="1806155"/>
                </a:cubicBezTo>
                <a:close/>
                <a:moveTo>
                  <a:pt x="4762316" y="1805703"/>
                </a:moveTo>
                <a:cubicBezTo>
                  <a:pt x="4767947" y="1806822"/>
                  <a:pt x="4769376" y="1809941"/>
                  <a:pt x="4765423" y="1814798"/>
                </a:cubicBezTo>
                <a:cubicBezTo>
                  <a:pt x="4758957" y="1821199"/>
                  <a:pt x="4751327" y="1826305"/>
                  <a:pt x="4742944" y="1829848"/>
                </a:cubicBezTo>
                <a:cubicBezTo>
                  <a:pt x="4737706" y="1832324"/>
                  <a:pt x="4731991" y="1834706"/>
                  <a:pt x="4725990" y="1836897"/>
                </a:cubicBezTo>
                <a:cubicBezTo>
                  <a:pt x="4719989" y="1839087"/>
                  <a:pt x="4713703" y="1841183"/>
                  <a:pt x="4707416" y="1842897"/>
                </a:cubicBezTo>
                <a:cubicBezTo>
                  <a:pt x="4682460" y="1849566"/>
                  <a:pt x="4667887" y="1847661"/>
                  <a:pt x="4674174" y="1838420"/>
                </a:cubicBezTo>
                <a:cubicBezTo>
                  <a:pt x="4680292" y="1831505"/>
                  <a:pt x="4687874" y="1826038"/>
                  <a:pt x="4696367" y="1822418"/>
                </a:cubicBezTo>
                <a:cubicBezTo>
                  <a:pt x="4708368" y="1816456"/>
                  <a:pt x="4720983" y="1811827"/>
                  <a:pt x="4733991" y="1808607"/>
                </a:cubicBezTo>
                <a:cubicBezTo>
                  <a:pt x="4746850" y="1805464"/>
                  <a:pt x="4756684" y="1804584"/>
                  <a:pt x="4762316" y="1805703"/>
                </a:cubicBezTo>
                <a:close/>
                <a:moveTo>
                  <a:pt x="3194219" y="1805488"/>
                </a:moveTo>
                <a:cubicBezTo>
                  <a:pt x="3211803" y="1806631"/>
                  <a:pt x="3225043" y="1810798"/>
                  <a:pt x="3228804" y="1817656"/>
                </a:cubicBezTo>
                <a:cubicBezTo>
                  <a:pt x="3236331" y="1831373"/>
                  <a:pt x="3209756" y="1850327"/>
                  <a:pt x="3170607" y="1860519"/>
                </a:cubicBezTo>
                <a:cubicBezTo>
                  <a:pt x="3131457" y="1870710"/>
                  <a:pt x="3085262" y="1869091"/>
                  <a:pt x="3074499" y="1856423"/>
                </a:cubicBezTo>
                <a:cubicBezTo>
                  <a:pt x="3063352" y="1843373"/>
                  <a:pt x="3091263" y="1821942"/>
                  <a:pt x="3133556" y="1811465"/>
                </a:cubicBezTo>
                <a:cubicBezTo>
                  <a:pt x="3154699" y="1806226"/>
                  <a:pt x="3176634" y="1804345"/>
                  <a:pt x="3194219" y="1805488"/>
                </a:cubicBezTo>
                <a:close/>
                <a:moveTo>
                  <a:pt x="5164425" y="1802416"/>
                </a:moveTo>
                <a:cubicBezTo>
                  <a:pt x="5179570" y="1800320"/>
                  <a:pt x="5186714" y="1803368"/>
                  <a:pt x="5178998" y="1808321"/>
                </a:cubicBezTo>
                <a:cubicBezTo>
                  <a:pt x="5166158" y="1814855"/>
                  <a:pt x="5152367" y="1819323"/>
                  <a:pt x="5138136" y="1821561"/>
                </a:cubicBezTo>
                <a:cubicBezTo>
                  <a:pt x="5123372" y="1823657"/>
                  <a:pt x="5115848" y="1820989"/>
                  <a:pt x="5123087" y="1815941"/>
                </a:cubicBezTo>
                <a:cubicBezTo>
                  <a:pt x="5136018" y="1809169"/>
                  <a:pt x="5149989" y="1804597"/>
                  <a:pt x="5164425" y="1802416"/>
                </a:cubicBezTo>
                <a:close/>
                <a:moveTo>
                  <a:pt x="4451729" y="1801786"/>
                </a:moveTo>
                <a:cubicBezTo>
                  <a:pt x="4461432" y="1802345"/>
                  <a:pt x="4465528" y="1805845"/>
                  <a:pt x="4462147" y="1812131"/>
                </a:cubicBezTo>
                <a:cubicBezTo>
                  <a:pt x="4455384" y="1824704"/>
                  <a:pt x="4421570" y="1842421"/>
                  <a:pt x="4383756" y="1853279"/>
                </a:cubicBezTo>
                <a:cubicBezTo>
                  <a:pt x="4347466" y="1863662"/>
                  <a:pt x="4323653" y="1862804"/>
                  <a:pt x="4328701" y="1850993"/>
                </a:cubicBezTo>
                <a:cubicBezTo>
                  <a:pt x="4334035" y="1838611"/>
                  <a:pt x="4368230" y="1820418"/>
                  <a:pt x="4407664" y="1809083"/>
                </a:cubicBezTo>
                <a:cubicBezTo>
                  <a:pt x="4426714" y="1803607"/>
                  <a:pt x="4442025" y="1801225"/>
                  <a:pt x="4451729" y="1801786"/>
                </a:cubicBezTo>
                <a:close/>
                <a:moveTo>
                  <a:pt x="3846594" y="1797451"/>
                </a:moveTo>
                <a:cubicBezTo>
                  <a:pt x="3860238" y="1798248"/>
                  <a:pt x="3868216" y="1802416"/>
                  <a:pt x="3868263" y="1809749"/>
                </a:cubicBezTo>
                <a:cubicBezTo>
                  <a:pt x="3868358" y="1824418"/>
                  <a:pt x="3837211" y="1842706"/>
                  <a:pt x="3794349" y="1854422"/>
                </a:cubicBezTo>
                <a:cubicBezTo>
                  <a:pt x="3751486" y="1866137"/>
                  <a:pt x="3719101" y="1864804"/>
                  <a:pt x="3716911" y="1851088"/>
                </a:cubicBezTo>
                <a:cubicBezTo>
                  <a:pt x="3714720" y="1837086"/>
                  <a:pt x="3745486" y="1817655"/>
                  <a:pt x="3790920" y="1805368"/>
                </a:cubicBezTo>
                <a:cubicBezTo>
                  <a:pt x="3813637" y="1799225"/>
                  <a:pt x="3832949" y="1796653"/>
                  <a:pt x="3846594" y="1797451"/>
                </a:cubicBezTo>
                <a:close/>
                <a:moveTo>
                  <a:pt x="5261866" y="1792700"/>
                </a:moveTo>
                <a:cubicBezTo>
                  <a:pt x="5275487" y="1791176"/>
                  <a:pt x="5280916" y="1793844"/>
                  <a:pt x="5274153" y="1798225"/>
                </a:cubicBezTo>
                <a:cubicBezTo>
                  <a:pt x="5262656" y="1803673"/>
                  <a:pt x="5250381" y="1807302"/>
                  <a:pt x="5237768" y="1808988"/>
                </a:cubicBezTo>
                <a:cubicBezTo>
                  <a:pt x="5224242" y="1810797"/>
                  <a:pt x="5217575" y="1808511"/>
                  <a:pt x="5223766" y="1804225"/>
                </a:cubicBezTo>
                <a:cubicBezTo>
                  <a:pt x="5235679" y="1798148"/>
                  <a:pt x="5248582" y="1794243"/>
                  <a:pt x="5261866" y="1792700"/>
                </a:cubicBezTo>
                <a:close/>
                <a:moveTo>
                  <a:pt x="5036945" y="1790224"/>
                </a:moveTo>
                <a:cubicBezTo>
                  <a:pt x="5040339" y="1791510"/>
                  <a:pt x="5040124" y="1794082"/>
                  <a:pt x="5035647" y="1797559"/>
                </a:cubicBezTo>
                <a:cubicBezTo>
                  <a:pt x="5029312" y="1802026"/>
                  <a:pt x="5022346" y="1805531"/>
                  <a:pt x="5014978" y="1807940"/>
                </a:cubicBezTo>
                <a:cubicBezTo>
                  <a:pt x="5010501" y="1809559"/>
                  <a:pt x="5005453" y="1811178"/>
                  <a:pt x="5000881" y="1812607"/>
                </a:cubicBezTo>
                <a:cubicBezTo>
                  <a:pt x="4996309" y="1814036"/>
                  <a:pt x="4991356" y="1815179"/>
                  <a:pt x="4986022" y="1816037"/>
                </a:cubicBezTo>
                <a:cubicBezTo>
                  <a:pt x="4966877" y="1819752"/>
                  <a:pt x="4958304" y="1817084"/>
                  <a:pt x="4966496" y="1809750"/>
                </a:cubicBezTo>
                <a:cubicBezTo>
                  <a:pt x="4972692" y="1805055"/>
                  <a:pt x="4979607" y="1801388"/>
                  <a:pt x="4986975" y="1798892"/>
                </a:cubicBezTo>
                <a:cubicBezTo>
                  <a:pt x="4991451" y="1797177"/>
                  <a:pt x="4996500" y="1795557"/>
                  <a:pt x="5001357" y="1794033"/>
                </a:cubicBezTo>
                <a:lnTo>
                  <a:pt x="5008977" y="1792129"/>
                </a:lnTo>
                <a:lnTo>
                  <a:pt x="5016597" y="1790605"/>
                </a:lnTo>
                <a:cubicBezTo>
                  <a:pt x="5026551" y="1788939"/>
                  <a:pt x="5033552" y="1788939"/>
                  <a:pt x="5036945" y="1790224"/>
                </a:cubicBezTo>
                <a:close/>
                <a:moveTo>
                  <a:pt x="5355402" y="1787175"/>
                </a:moveTo>
                <a:cubicBezTo>
                  <a:pt x="5368261" y="1786128"/>
                  <a:pt x="5372452" y="1788509"/>
                  <a:pt x="5364927" y="1792414"/>
                </a:cubicBezTo>
                <a:cubicBezTo>
                  <a:pt x="5362844" y="1793481"/>
                  <a:pt x="5360678" y="1794367"/>
                  <a:pt x="5358450" y="1795081"/>
                </a:cubicBezTo>
                <a:cubicBezTo>
                  <a:pt x="5355878" y="1796034"/>
                  <a:pt x="5353021" y="1796796"/>
                  <a:pt x="5350068" y="1797558"/>
                </a:cubicBezTo>
                <a:cubicBezTo>
                  <a:pt x="5344080" y="1799177"/>
                  <a:pt x="5337961" y="1800263"/>
                  <a:pt x="5331780" y="1800796"/>
                </a:cubicBezTo>
                <a:cubicBezTo>
                  <a:pt x="5320350" y="1801844"/>
                  <a:pt x="5316254" y="1800225"/>
                  <a:pt x="5322350" y="1796034"/>
                </a:cubicBezTo>
                <a:cubicBezTo>
                  <a:pt x="5332759" y="1791157"/>
                  <a:pt x="5343948" y="1788156"/>
                  <a:pt x="5355402" y="1787175"/>
                </a:cubicBezTo>
                <a:close/>
                <a:moveTo>
                  <a:pt x="4334358" y="1786021"/>
                </a:moveTo>
                <a:cubicBezTo>
                  <a:pt x="4345061" y="1786772"/>
                  <a:pt x="4349800" y="1790653"/>
                  <a:pt x="4346895" y="1797177"/>
                </a:cubicBezTo>
                <a:cubicBezTo>
                  <a:pt x="4341085" y="1810226"/>
                  <a:pt x="4307461" y="1828800"/>
                  <a:pt x="4268980" y="1839944"/>
                </a:cubicBezTo>
                <a:cubicBezTo>
                  <a:pt x="4230404" y="1851279"/>
                  <a:pt x="4202877" y="1850612"/>
                  <a:pt x="4206020" y="1838325"/>
                </a:cubicBezTo>
                <a:cubicBezTo>
                  <a:pt x="4209163" y="1826038"/>
                  <a:pt x="4244120" y="1805654"/>
                  <a:pt x="4286030" y="1793654"/>
                </a:cubicBezTo>
                <a:cubicBezTo>
                  <a:pt x="4306985" y="1787653"/>
                  <a:pt x="4323654" y="1785271"/>
                  <a:pt x="4334358" y="1786021"/>
                </a:cubicBezTo>
                <a:close/>
                <a:moveTo>
                  <a:pt x="5635627" y="1785747"/>
                </a:moveTo>
                <a:cubicBezTo>
                  <a:pt x="5640961" y="1785747"/>
                  <a:pt x="5642485" y="1786985"/>
                  <a:pt x="5639056" y="1788414"/>
                </a:cubicBezTo>
                <a:cubicBezTo>
                  <a:pt x="5633140" y="1790262"/>
                  <a:pt x="5626968" y="1791167"/>
                  <a:pt x="5620768" y="1791081"/>
                </a:cubicBezTo>
                <a:cubicBezTo>
                  <a:pt x="5615815" y="1790700"/>
                  <a:pt x="5614862" y="1789652"/>
                  <a:pt x="5618767" y="1788224"/>
                </a:cubicBezTo>
                <a:cubicBezTo>
                  <a:pt x="5624244" y="1786633"/>
                  <a:pt x="5629921" y="1785804"/>
                  <a:pt x="5635627" y="1785747"/>
                </a:cubicBezTo>
                <a:close/>
                <a:moveTo>
                  <a:pt x="4685497" y="1783914"/>
                </a:moveTo>
                <a:cubicBezTo>
                  <a:pt x="4692653" y="1784820"/>
                  <a:pt x="4695463" y="1787986"/>
                  <a:pt x="4692367" y="1793178"/>
                </a:cubicBezTo>
                <a:cubicBezTo>
                  <a:pt x="4686175" y="1803559"/>
                  <a:pt x="4658934" y="1817465"/>
                  <a:pt x="4631788" y="1825847"/>
                </a:cubicBezTo>
                <a:cubicBezTo>
                  <a:pt x="4621144" y="1829419"/>
                  <a:pt x="4609962" y="1831134"/>
                  <a:pt x="4598736" y="1830896"/>
                </a:cubicBezTo>
                <a:cubicBezTo>
                  <a:pt x="4589973" y="1830896"/>
                  <a:pt x="4586163" y="1827848"/>
                  <a:pt x="4589782" y="1822418"/>
                </a:cubicBezTo>
                <a:cubicBezTo>
                  <a:pt x="4590882" y="1820847"/>
                  <a:pt x="4592160" y="1819409"/>
                  <a:pt x="4593592" y="1818132"/>
                </a:cubicBezTo>
                <a:lnTo>
                  <a:pt x="4596069" y="1815846"/>
                </a:lnTo>
                <a:lnTo>
                  <a:pt x="4598736" y="1813655"/>
                </a:lnTo>
                <a:cubicBezTo>
                  <a:pt x="4603293" y="1810131"/>
                  <a:pt x="4608100" y="1806950"/>
                  <a:pt x="4613119" y="1804130"/>
                </a:cubicBezTo>
                <a:cubicBezTo>
                  <a:pt x="4625674" y="1797472"/>
                  <a:pt x="4638890" y="1792139"/>
                  <a:pt x="4652552" y="1788225"/>
                </a:cubicBezTo>
                <a:cubicBezTo>
                  <a:pt x="4666840" y="1784367"/>
                  <a:pt x="4678341" y="1783010"/>
                  <a:pt x="4685497" y="1783914"/>
                </a:cubicBezTo>
                <a:close/>
                <a:moveTo>
                  <a:pt x="5545330" y="1783556"/>
                </a:moveTo>
                <a:cubicBezTo>
                  <a:pt x="5552569" y="1783556"/>
                  <a:pt x="5554855" y="1784985"/>
                  <a:pt x="5550188" y="1787080"/>
                </a:cubicBezTo>
                <a:cubicBezTo>
                  <a:pt x="5546825" y="1788395"/>
                  <a:pt x="5543349" y="1789385"/>
                  <a:pt x="5539806" y="1790033"/>
                </a:cubicBezTo>
                <a:lnTo>
                  <a:pt x="5533329" y="1790985"/>
                </a:lnTo>
                <a:lnTo>
                  <a:pt x="5526947" y="1791557"/>
                </a:lnTo>
                <a:cubicBezTo>
                  <a:pt x="5518850" y="1791938"/>
                  <a:pt x="5516469" y="1790700"/>
                  <a:pt x="5521613" y="1788033"/>
                </a:cubicBezTo>
                <a:cubicBezTo>
                  <a:pt x="5525099" y="1786575"/>
                  <a:pt x="5528747" y="1785528"/>
                  <a:pt x="5532471" y="1784890"/>
                </a:cubicBezTo>
                <a:cubicBezTo>
                  <a:pt x="5536719" y="1784127"/>
                  <a:pt x="5541015" y="1783689"/>
                  <a:pt x="5545330" y="1783556"/>
                </a:cubicBezTo>
                <a:close/>
                <a:moveTo>
                  <a:pt x="5447890" y="1783556"/>
                </a:moveTo>
                <a:lnTo>
                  <a:pt x="5451795" y="1783556"/>
                </a:lnTo>
                <a:cubicBezTo>
                  <a:pt x="5462463" y="1783556"/>
                  <a:pt x="5464368" y="1785461"/>
                  <a:pt x="5456367" y="1788795"/>
                </a:cubicBezTo>
                <a:cubicBezTo>
                  <a:pt x="5447185" y="1792138"/>
                  <a:pt x="5437555" y="1794091"/>
                  <a:pt x="5427792" y="1794605"/>
                </a:cubicBezTo>
                <a:cubicBezTo>
                  <a:pt x="5417600" y="1794795"/>
                  <a:pt x="5415886" y="1792795"/>
                  <a:pt x="5422744" y="1789557"/>
                </a:cubicBezTo>
                <a:cubicBezTo>
                  <a:pt x="5427011" y="1787766"/>
                  <a:pt x="5431450" y="1786394"/>
                  <a:pt x="5435983" y="1785461"/>
                </a:cubicBezTo>
                <a:cubicBezTo>
                  <a:pt x="5438555" y="1784890"/>
                  <a:pt x="5441222" y="1784413"/>
                  <a:pt x="5443889" y="1784032"/>
                </a:cubicBezTo>
                <a:close/>
                <a:moveTo>
                  <a:pt x="2296483" y="1782129"/>
                </a:moveTo>
                <a:cubicBezTo>
                  <a:pt x="2313313" y="1782748"/>
                  <a:pt x="2329782" y="1787139"/>
                  <a:pt x="2344679" y="1794987"/>
                </a:cubicBezTo>
                <a:cubicBezTo>
                  <a:pt x="2354204" y="1801369"/>
                  <a:pt x="2355442" y="1809083"/>
                  <a:pt x="2349156" y="1816227"/>
                </a:cubicBezTo>
                <a:cubicBezTo>
                  <a:pt x="2338373" y="1825685"/>
                  <a:pt x="2325067" y="1831772"/>
                  <a:pt x="2310865" y="1833753"/>
                </a:cubicBezTo>
                <a:cubicBezTo>
                  <a:pt x="2273814" y="1841468"/>
                  <a:pt x="2223807" y="1836896"/>
                  <a:pt x="2203900" y="1823752"/>
                </a:cubicBezTo>
                <a:cubicBezTo>
                  <a:pt x="2194373" y="1817370"/>
                  <a:pt x="2192944" y="1809845"/>
                  <a:pt x="2198565" y="1802893"/>
                </a:cubicBezTo>
                <a:cubicBezTo>
                  <a:pt x="2208662" y="1793463"/>
                  <a:pt x="2221445" y="1787405"/>
                  <a:pt x="2235142" y="1785558"/>
                </a:cubicBezTo>
                <a:cubicBezTo>
                  <a:pt x="2255316" y="1781443"/>
                  <a:pt x="2275975" y="1780281"/>
                  <a:pt x="2296483" y="1782129"/>
                </a:cubicBezTo>
                <a:close/>
                <a:moveTo>
                  <a:pt x="4874496" y="1782033"/>
                </a:moveTo>
                <a:cubicBezTo>
                  <a:pt x="4879580" y="1783176"/>
                  <a:pt x="4880438" y="1786176"/>
                  <a:pt x="4876104" y="1790796"/>
                </a:cubicBezTo>
                <a:cubicBezTo>
                  <a:pt x="4869781" y="1796539"/>
                  <a:pt x="4862493" y="1801121"/>
                  <a:pt x="4854577" y="1804320"/>
                </a:cubicBezTo>
                <a:cubicBezTo>
                  <a:pt x="4849719" y="1806416"/>
                  <a:pt x="4844385" y="1808416"/>
                  <a:pt x="4838766" y="1810416"/>
                </a:cubicBezTo>
                <a:cubicBezTo>
                  <a:pt x="4833146" y="1812417"/>
                  <a:pt x="4827431" y="1814036"/>
                  <a:pt x="4821525" y="1815560"/>
                </a:cubicBezTo>
                <a:cubicBezTo>
                  <a:pt x="4796665" y="1821561"/>
                  <a:pt x="4783521" y="1819275"/>
                  <a:pt x="4790474" y="1810702"/>
                </a:cubicBezTo>
                <a:cubicBezTo>
                  <a:pt x="4796537" y="1804463"/>
                  <a:pt x="4803837" y="1799568"/>
                  <a:pt x="4811905" y="1796319"/>
                </a:cubicBezTo>
                <a:cubicBezTo>
                  <a:pt x="4816953" y="1794033"/>
                  <a:pt x="4822573" y="1791748"/>
                  <a:pt x="4828479" y="1789653"/>
                </a:cubicBezTo>
                <a:cubicBezTo>
                  <a:pt x="4831431" y="1788605"/>
                  <a:pt x="4834479" y="1787653"/>
                  <a:pt x="4838004" y="1786795"/>
                </a:cubicBezTo>
                <a:lnTo>
                  <a:pt x="4847529" y="1784414"/>
                </a:lnTo>
                <a:cubicBezTo>
                  <a:pt x="4860102" y="1781604"/>
                  <a:pt x="4869413" y="1780890"/>
                  <a:pt x="4874496" y="1782033"/>
                </a:cubicBezTo>
                <a:close/>
                <a:moveTo>
                  <a:pt x="3647414" y="1776807"/>
                </a:moveTo>
                <a:cubicBezTo>
                  <a:pt x="3663214" y="1777724"/>
                  <a:pt x="3674049" y="1781938"/>
                  <a:pt x="3675382" y="1789177"/>
                </a:cubicBezTo>
                <a:cubicBezTo>
                  <a:pt x="3678049" y="1803654"/>
                  <a:pt x="3646807" y="1823180"/>
                  <a:pt x="3607278" y="1834324"/>
                </a:cubicBezTo>
                <a:cubicBezTo>
                  <a:pt x="3588991" y="1839630"/>
                  <a:pt x="3570027" y="1842230"/>
                  <a:pt x="3550988" y="1842040"/>
                </a:cubicBezTo>
                <a:cubicBezTo>
                  <a:pt x="3534986" y="1841754"/>
                  <a:pt x="3523177" y="1838325"/>
                  <a:pt x="3520223" y="1831848"/>
                </a:cubicBezTo>
                <a:cubicBezTo>
                  <a:pt x="3514222" y="1818703"/>
                  <a:pt x="3547273" y="1796130"/>
                  <a:pt x="3589657" y="1784223"/>
                </a:cubicBezTo>
                <a:cubicBezTo>
                  <a:pt x="3610850" y="1778271"/>
                  <a:pt x="3631615" y="1775891"/>
                  <a:pt x="3647414" y="1776807"/>
                </a:cubicBezTo>
                <a:close/>
                <a:moveTo>
                  <a:pt x="5139637" y="1775949"/>
                </a:moveTo>
                <a:cubicBezTo>
                  <a:pt x="5142613" y="1777151"/>
                  <a:pt x="5142042" y="1779557"/>
                  <a:pt x="5137374" y="1782985"/>
                </a:cubicBezTo>
                <a:cubicBezTo>
                  <a:pt x="5131464" y="1786824"/>
                  <a:pt x="5125053" y="1789843"/>
                  <a:pt x="5118324" y="1791938"/>
                </a:cubicBezTo>
                <a:cubicBezTo>
                  <a:pt x="5114228" y="1793176"/>
                  <a:pt x="5109942" y="1794606"/>
                  <a:pt x="5105465" y="1795653"/>
                </a:cubicBezTo>
                <a:cubicBezTo>
                  <a:pt x="5100989" y="1796701"/>
                  <a:pt x="5096512" y="1797749"/>
                  <a:pt x="5092035" y="1798510"/>
                </a:cubicBezTo>
                <a:cubicBezTo>
                  <a:pt x="5073652" y="1801558"/>
                  <a:pt x="5066222" y="1798510"/>
                  <a:pt x="5074795" y="1792225"/>
                </a:cubicBezTo>
                <a:cubicBezTo>
                  <a:pt x="5080651" y="1788148"/>
                  <a:pt x="5087068" y="1784938"/>
                  <a:pt x="5093845" y="1782701"/>
                </a:cubicBezTo>
                <a:cubicBezTo>
                  <a:pt x="5102542" y="1779680"/>
                  <a:pt x="5111503" y="1777480"/>
                  <a:pt x="5120610" y="1776128"/>
                </a:cubicBezTo>
                <a:cubicBezTo>
                  <a:pt x="5130135" y="1774747"/>
                  <a:pt x="5136660" y="1774747"/>
                  <a:pt x="5139637" y="1775949"/>
                </a:cubicBezTo>
                <a:close/>
                <a:moveTo>
                  <a:pt x="2916940" y="1773853"/>
                </a:moveTo>
                <a:cubicBezTo>
                  <a:pt x="2935073" y="1775604"/>
                  <a:pt x="2949148" y="1780366"/>
                  <a:pt x="2954099" y="1787652"/>
                </a:cubicBezTo>
                <a:cubicBezTo>
                  <a:pt x="2964006" y="1802225"/>
                  <a:pt x="2939431" y="1820132"/>
                  <a:pt x="2901141" y="1829276"/>
                </a:cubicBezTo>
                <a:cubicBezTo>
                  <a:pt x="2881557" y="1833905"/>
                  <a:pt x="2861403" y="1835600"/>
                  <a:pt x="2841322" y="1834324"/>
                </a:cubicBezTo>
                <a:cubicBezTo>
                  <a:pt x="2823036" y="1832705"/>
                  <a:pt x="2807796" y="1828800"/>
                  <a:pt x="2801698" y="1821942"/>
                </a:cubicBezTo>
                <a:cubicBezTo>
                  <a:pt x="2795033" y="1814989"/>
                  <a:pt x="2797888" y="1806416"/>
                  <a:pt x="2807796" y="1798321"/>
                </a:cubicBezTo>
                <a:cubicBezTo>
                  <a:pt x="2821996" y="1788186"/>
                  <a:pt x="2838256" y="1781290"/>
                  <a:pt x="2855419" y="1778127"/>
                </a:cubicBezTo>
                <a:cubicBezTo>
                  <a:pt x="2876612" y="1773365"/>
                  <a:pt x="2898808" y="1772103"/>
                  <a:pt x="2916940" y="1773853"/>
                </a:cubicBezTo>
                <a:close/>
                <a:moveTo>
                  <a:pt x="4192828" y="1768664"/>
                </a:moveTo>
                <a:cubicBezTo>
                  <a:pt x="4205877" y="1769295"/>
                  <a:pt x="4213355" y="1773175"/>
                  <a:pt x="4211259" y="1780128"/>
                </a:cubicBezTo>
                <a:cubicBezTo>
                  <a:pt x="4207068" y="1794035"/>
                  <a:pt x="4170968" y="1814036"/>
                  <a:pt x="4132582" y="1825181"/>
                </a:cubicBezTo>
                <a:cubicBezTo>
                  <a:pt x="4094196" y="1836325"/>
                  <a:pt x="4062192" y="1835277"/>
                  <a:pt x="4063431" y="1822895"/>
                </a:cubicBezTo>
                <a:cubicBezTo>
                  <a:pt x="4064574" y="1810227"/>
                  <a:pt x="4100578" y="1788795"/>
                  <a:pt x="4140964" y="1776699"/>
                </a:cubicBezTo>
                <a:cubicBezTo>
                  <a:pt x="4161157" y="1770652"/>
                  <a:pt x="4179779" y="1768033"/>
                  <a:pt x="4192828" y="1768664"/>
                </a:cubicBezTo>
                <a:close/>
                <a:moveTo>
                  <a:pt x="5226433" y="1764222"/>
                </a:moveTo>
                <a:cubicBezTo>
                  <a:pt x="5241292" y="1762794"/>
                  <a:pt x="5247292" y="1766127"/>
                  <a:pt x="5239196" y="1771271"/>
                </a:cubicBezTo>
                <a:cubicBezTo>
                  <a:pt x="5232715" y="1774776"/>
                  <a:pt x="5225840" y="1777491"/>
                  <a:pt x="5218717" y="1779366"/>
                </a:cubicBezTo>
                <a:cubicBezTo>
                  <a:pt x="5214431" y="1780604"/>
                  <a:pt x="5210050" y="1781843"/>
                  <a:pt x="5205763" y="1782795"/>
                </a:cubicBezTo>
                <a:cubicBezTo>
                  <a:pt x="5201773" y="1783719"/>
                  <a:pt x="5197735" y="1784414"/>
                  <a:pt x="5193667" y="1784891"/>
                </a:cubicBezTo>
                <a:cubicBezTo>
                  <a:pt x="5179474" y="1786510"/>
                  <a:pt x="5172807" y="1783366"/>
                  <a:pt x="5180427" y="1778318"/>
                </a:cubicBezTo>
                <a:cubicBezTo>
                  <a:pt x="5186873" y="1774604"/>
                  <a:pt x="5193751" y="1771689"/>
                  <a:pt x="5200906" y="1769651"/>
                </a:cubicBezTo>
                <a:cubicBezTo>
                  <a:pt x="5205192" y="1768413"/>
                  <a:pt x="5209669" y="1767080"/>
                  <a:pt x="5214050" y="1766222"/>
                </a:cubicBezTo>
                <a:cubicBezTo>
                  <a:pt x="5218138" y="1765328"/>
                  <a:pt x="5222271" y="1764660"/>
                  <a:pt x="5226433" y="1764222"/>
                </a:cubicBezTo>
                <a:close/>
                <a:moveTo>
                  <a:pt x="4597878" y="1763937"/>
                </a:moveTo>
                <a:cubicBezTo>
                  <a:pt x="4606165" y="1764889"/>
                  <a:pt x="4610070" y="1768319"/>
                  <a:pt x="4607403" y="1774032"/>
                </a:cubicBezTo>
                <a:cubicBezTo>
                  <a:pt x="4605188" y="1777729"/>
                  <a:pt x="4602277" y="1780966"/>
                  <a:pt x="4598830" y="1783557"/>
                </a:cubicBezTo>
                <a:cubicBezTo>
                  <a:pt x="4596830" y="1785177"/>
                  <a:pt x="4594449" y="1786796"/>
                  <a:pt x="4591877" y="1788510"/>
                </a:cubicBezTo>
                <a:cubicBezTo>
                  <a:pt x="4590592" y="1789415"/>
                  <a:pt x="4589257" y="1790234"/>
                  <a:pt x="4587877" y="1790986"/>
                </a:cubicBezTo>
                <a:lnTo>
                  <a:pt x="4585495" y="1792414"/>
                </a:lnTo>
                <a:lnTo>
                  <a:pt x="4582828" y="1793749"/>
                </a:lnTo>
                <a:cubicBezTo>
                  <a:pt x="4567347" y="1801806"/>
                  <a:pt x="4551148" y="1808407"/>
                  <a:pt x="4534441" y="1813465"/>
                </a:cubicBezTo>
                <a:cubicBezTo>
                  <a:pt x="4500723" y="1823085"/>
                  <a:pt x="4475863" y="1822228"/>
                  <a:pt x="4481578" y="1811179"/>
                </a:cubicBezTo>
                <a:cubicBezTo>
                  <a:pt x="4487388" y="1799939"/>
                  <a:pt x="4523869" y="1780319"/>
                  <a:pt x="4559016" y="1769842"/>
                </a:cubicBezTo>
                <a:cubicBezTo>
                  <a:pt x="4563397" y="1768509"/>
                  <a:pt x="4567588" y="1767366"/>
                  <a:pt x="4571589" y="1766509"/>
                </a:cubicBezTo>
                <a:cubicBezTo>
                  <a:pt x="4575129" y="1765585"/>
                  <a:pt x="4578724" y="1764889"/>
                  <a:pt x="4582352" y="1764414"/>
                </a:cubicBezTo>
                <a:cubicBezTo>
                  <a:pt x="4587488" y="1763613"/>
                  <a:pt x="4592703" y="1763452"/>
                  <a:pt x="4597878" y="1763937"/>
                </a:cubicBezTo>
                <a:close/>
                <a:moveTo>
                  <a:pt x="4983462" y="1763603"/>
                </a:moveTo>
                <a:cubicBezTo>
                  <a:pt x="4988046" y="1764913"/>
                  <a:pt x="4988832" y="1767746"/>
                  <a:pt x="4984593" y="1771747"/>
                </a:cubicBezTo>
                <a:cubicBezTo>
                  <a:pt x="4976116" y="1779747"/>
                  <a:pt x="4950874" y="1789748"/>
                  <a:pt x="4929443" y="1794320"/>
                </a:cubicBezTo>
                <a:cubicBezTo>
                  <a:pt x="4908393" y="1798701"/>
                  <a:pt x="4896201" y="1795749"/>
                  <a:pt x="4903726" y="1788033"/>
                </a:cubicBezTo>
                <a:cubicBezTo>
                  <a:pt x="4910421" y="1782385"/>
                  <a:pt x="4918064" y="1777965"/>
                  <a:pt x="4926300" y="1774985"/>
                </a:cubicBezTo>
                <a:cubicBezTo>
                  <a:pt x="4931443" y="1772793"/>
                  <a:pt x="4936968" y="1770699"/>
                  <a:pt x="4942683" y="1768889"/>
                </a:cubicBezTo>
                <a:lnTo>
                  <a:pt x="4946874" y="1767556"/>
                </a:lnTo>
                <a:lnTo>
                  <a:pt x="4951160" y="1766413"/>
                </a:lnTo>
                <a:cubicBezTo>
                  <a:pt x="4954018" y="1765746"/>
                  <a:pt x="4956780" y="1765079"/>
                  <a:pt x="4959542" y="1764604"/>
                </a:cubicBezTo>
                <a:cubicBezTo>
                  <a:pt x="4970496" y="1762508"/>
                  <a:pt x="4978878" y="1762294"/>
                  <a:pt x="4983462" y="1763603"/>
                </a:cubicBezTo>
                <a:close/>
                <a:moveTo>
                  <a:pt x="5713542" y="1759743"/>
                </a:moveTo>
                <a:cubicBezTo>
                  <a:pt x="5720019" y="1759743"/>
                  <a:pt x="5721257" y="1761458"/>
                  <a:pt x="5716113" y="1763077"/>
                </a:cubicBezTo>
                <a:cubicBezTo>
                  <a:pt x="5710237" y="1764591"/>
                  <a:pt x="5704179" y="1765258"/>
                  <a:pt x="5698111" y="1765077"/>
                </a:cubicBezTo>
                <a:cubicBezTo>
                  <a:pt x="5695444" y="1765077"/>
                  <a:pt x="5693825" y="1764601"/>
                  <a:pt x="5693349" y="1764029"/>
                </a:cubicBezTo>
                <a:cubicBezTo>
                  <a:pt x="5692872" y="1763458"/>
                  <a:pt x="5693825" y="1763077"/>
                  <a:pt x="5695635" y="1762124"/>
                </a:cubicBezTo>
                <a:cubicBezTo>
                  <a:pt x="5701454" y="1760467"/>
                  <a:pt x="5707493" y="1759657"/>
                  <a:pt x="5713542" y="1759743"/>
                </a:cubicBezTo>
                <a:close/>
                <a:moveTo>
                  <a:pt x="4804654" y="1758067"/>
                </a:moveTo>
                <a:cubicBezTo>
                  <a:pt x="4810857" y="1759246"/>
                  <a:pt x="4812857" y="1762412"/>
                  <a:pt x="4809142" y="1767270"/>
                </a:cubicBezTo>
                <a:cubicBezTo>
                  <a:pt x="4802397" y="1774214"/>
                  <a:pt x="4794290" y="1779699"/>
                  <a:pt x="4785330" y="1783366"/>
                </a:cubicBezTo>
                <a:cubicBezTo>
                  <a:pt x="4782472" y="1784700"/>
                  <a:pt x="4779520" y="1786033"/>
                  <a:pt x="4776472" y="1787272"/>
                </a:cubicBezTo>
                <a:lnTo>
                  <a:pt x="4766947" y="1791081"/>
                </a:lnTo>
                <a:cubicBezTo>
                  <a:pt x="4760551" y="1793463"/>
                  <a:pt x="4754033" y="1795491"/>
                  <a:pt x="4747420" y="1797177"/>
                </a:cubicBezTo>
                <a:cubicBezTo>
                  <a:pt x="4738017" y="1800034"/>
                  <a:pt x="4728169" y="1801129"/>
                  <a:pt x="4718369" y="1800416"/>
                </a:cubicBezTo>
                <a:cubicBezTo>
                  <a:pt x="4711987" y="1800225"/>
                  <a:pt x="4709511" y="1797081"/>
                  <a:pt x="4712749" y="1792320"/>
                </a:cubicBezTo>
                <a:cubicBezTo>
                  <a:pt x="4719204" y="1785109"/>
                  <a:pt x="4727173" y="1779423"/>
                  <a:pt x="4736086" y="1775651"/>
                </a:cubicBezTo>
                <a:cubicBezTo>
                  <a:pt x="4742290" y="1772623"/>
                  <a:pt x="4748649" y="1769918"/>
                  <a:pt x="4755136" y="1767556"/>
                </a:cubicBezTo>
                <a:lnTo>
                  <a:pt x="4765232" y="1764032"/>
                </a:lnTo>
                <a:lnTo>
                  <a:pt x="4769899" y="1762127"/>
                </a:lnTo>
                <a:lnTo>
                  <a:pt x="4774948" y="1760793"/>
                </a:lnTo>
                <a:cubicBezTo>
                  <a:pt x="4788045" y="1757698"/>
                  <a:pt x="4798451" y="1756889"/>
                  <a:pt x="4804654" y="1758067"/>
                </a:cubicBezTo>
                <a:close/>
                <a:moveTo>
                  <a:pt x="5325303" y="1757650"/>
                </a:moveTo>
                <a:cubicBezTo>
                  <a:pt x="5338638" y="1756507"/>
                  <a:pt x="5344353" y="1759269"/>
                  <a:pt x="5337304" y="1763555"/>
                </a:cubicBezTo>
                <a:cubicBezTo>
                  <a:pt x="5331824" y="1766556"/>
                  <a:pt x="5325960" y="1768804"/>
                  <a:pt x="5319874" y="1770223"/>
                </a:cubicBezTo>
                <a:cubicBezTo>
                  <a:pt x="5316159" y="1771270"/>
                  <a:pt x="5312254" y="1772128"/>
                  <a:pt x="5308444" y="1772984"/>
                </a:cubicBezTo>
                <a:cubicBezTo>
                  <a:pt x="5304634" y="1773842"/>
                  <a:pt x="5300729" y="1774413"/>
                  <a:pt x="5297204" y="1774794"/>
                </a:cubicBezTo>
                <a:cubicBezTo>
                  <a:pt x="5283107" y="1776413"/>
                  <a:pt x="5276916" y="1773651"/>
                  <a:pt x="5284250" y="1769079"/>
                </a:cubicBezTo>
                <a:cubicBezTo>
                  <a:pt x="5289919" y="1765956"/>
                  <a:pt x="5295971" y="1763584"/>
                  <a:pt x="5302252" y="1762031"/>
                </a:cubicBezTo>
                <a:lnTo>
                  <a:pt x="5308063" y="1760412"/>
                </a:lnTo>
                <a:cubicBezTo>
                  <a:pt x="5310063" y="1760412"/>
                  <a:pt x="5311968" y="1759555"/>
                  <a:pt x="5313968" y="1759269"/>
                </a:cubicBezTo>
                <a:cubicBezTo>
                  <a:pt x="5317714" y="1758526"/>
                  <a:pt x="5321498" y="1757983"/>
                  <a:pt x="5325303" y="1757650"/>
                </a:cubicBezTo>
                <a:close/>
                <a:moveTo>
                  <a:pt x="5615719" y="1754409"/>
                </a:moveTo>
                <a:cubicBezTo>
                  <a:pt x="5617939" y="1754266"/>
                  <a:pt x="5620168" y="1754266"/>
                  <a:pt x="5622387" y="1754409"/>
                </a:cubicBezTo>
                <a:cubicBezTo>
                  <a:pt x="5630769" y="1754409"/>
                  <a:pt x="5631912" y="1756409"/>
                  <a:pt x="5626197" y="1758695"/>
                </a:cubicBezTo>
                <a:cubicBezTo>
                  <a:pt x="5622625" y="1759877"/>
                  <a:pt x="5618958" y="1760762"/>
                  <a:pt x="5615243" y="1761362"/>
                </a:cubicBezTo>
                <a:cubicBezTo>
                  <a:pt x="5611052" y="1762048"/>
                  <a:pt x="5606823" y="1762458"/>
                  <a:pt x="5602575" y="1762601"/>
                </a:cubicBezTo>
                <a:cubicBezTo>
                  <a:pt x="5594002" y="1762124"/>
                  <a:pt x="5591526" y="1760791"/>
                  <a:pt x="5597050" y="1758410"/>
                </a:cubicBezTo>
                <a:cubicBezTo>
                  <a:pt x="5600813" y="1757000"/>
                  <a:pt x="5604708" y="1755981"/>
                  <a:pt x="5608671" y="1755362"/>
                </a:cubicBezTo>
                <a:close/>
                <a:moveTo>
                  <a:pt x="5429887" y="1752695"/>
                </a:moveTo>
                <a:cubicBezTo>
                  <a:pt x="5442270" y="1752029"/>
                  <a:pt x="5445889" y="1754791"/>
                  <a:pt x="5437888" y="1758696"/>
                </a:cubicBezTo>
                <a:cubicBezTo>
                  <a:pt x="5426925" y="1763182"/>
                  <a:pt x="5415314" y="1765888"/>
                  <a:pt x="5403503" y="1766697"/>
                </a:cubicBezTo>
                <a:cubicBezTo>
                  <a:pt x="5390739" y="1767650"/>
                  <a:pt x="5386167" y="1765269"/>
                  <a:pt x="5393311" y="1761268"/>
                </a:cubicBezTo>
                <a:cubicBezTo>
                  <a:pt x="5395586" y="1760115"/>
                  <a:pt x="5397941" y="1759125"/>
                  <a:pt x="5400360" y="1758315"/>
                </a:cubicBezTo>
                <a:cubicBezTo>
                  <a:pt x="5403122" y="1757363"/>
                  <a:pt x="5406265" y="1756506"/>
                  <a:pt x="5409885" y="1755744"/>
                </a:cubicBezTo>
                <a:cubicBezTo>
                  <a:pt x="5416466" y="1754210"/>
                  <a:pt x="5423153" y="1753191"/>
                  <a:pt x="5429887" y="1752695"/>
                </a:cubicBezTo>
                <a:close/>
                <a:moveTo>
                  <a:pt x="5526185" y="1752600"/>
                </a:moveTo>
                <a:cubicBezTo>
                  <a:pt x="5529424" y="1752066"/>
                  <a:pt x="5532748" y="1752533"/>
                  <a:pt x="5535710" y="1753933"/>
                </a:cubicBezTo>
                <a:cubicBezTo>
                  <a:pt x="5536663" y="1754981"/>
                  <a:pt x="5535710" y="1756219"/>
                  <a:pt x="5531900" y="1757743"/>
                </a:cubicBezTo>
                <a:cubicBezTo>
                  <a:pt x="5522108" y="1761401"/>
                  <a:pt x="5511774" y="1763430"/>
                  <a:pt x="5501325" y="1763744"/>
                </a:cubicBezTo>
                <a:cubicBezTo>
                  <a:pt x="5491800" y="1763744"/>
                  <a:pt x="5488847" y="1761648"/>
                  <a:pt x="5495705" y="1758600"/>
                </a:cubicBezTo>
                <a:cubicBezTo>
                  <a:pt x="5505487" y="1755000"/>
                  <a:pt x="5515774" y="1752981"/>
                  <a:pt x="5526185" y="1752600"/>
                </a:cubicBezTo>
                <a:close/>
                <a:moveTo>
                  <a:pt x="1192523" y="1752218"/>
                </a:moveTo>
                <a:cubicBezTo>
                  <a:pt x="1201086" y="1752056"/>
                  <a:pt x="1209648" y="1752504"/>
                  <a:pt x="1218145" y="1753552"/>
                </a:cubicBezTo>
                <a:cubicBezTo>
                  <a:pt x="1226994" y="1754657"/>
                  <a:pt x="1235776" y="1756276"/>
                  <a:pt x="1244434" y="1758410"/>
                </a:cubicBezTo>
                <a:cubicBezTo>
                  <a:pt x="1252825" y="1760524"/>
                  <a:pt x="1261093" y="1763096"/>
                  <a:pt x="1269199" y="1766125"/>
                </a:cubicBezTo>
                <a:cubicBezTo>
                  <a:pt x="1276600" y="1769001"/>
                  <a:pt x="1283763" y="1772440"/>
                  <a:pt x="1290630" y="1776412"/>
                </a:cubicBezTo>
                <a:cubicBezTo>
                  <a:pt x="1303108" y="1783841"/>
                  <a:pt x="1308251" y="1790414"/>
                  <a:pt x="1306156" y="1795462"/>
                </a:cubicBezTo>
                <a:cubicBezTo>
                  <a:pt x="1304327" y="1798548"/>
                  <a:pt x="1301289" y="1800729"/>
                  <a:pt x="1297774" y="1801463"/>
                </a:cubicBezTo>
                <a:cubicBezTo>
                  <a:pt x="1295097" y="1802329"/>
                  <a:pt x="1292364" y="1802967"/>
                  <a:pt x="1289582" y="1803368"/>
                </a:cubicBezTo>
                <a:cubicBezTo>
                  <a:pt x="1286049" y="1803949"/>
                  <a:pt x="1282486" y="1804301"/>
                  <a:pt x="1278914" y="1804415"/>
                </a:cubicBezTo>
                <a:cubicBezTo>
                  <a:pt x="1270466" y="1804768"/>
                  <a:pt x="1261998" y="1804520"/>
                  <a:pt x="1253578" y="1803653"/>
                </a:cubicBezTo>
                <a:cubicBezTo>
                  <a:pt x="1244825" y="1802644"/>
                  <a:pt x="1236147" y="1801120"/>
                  <a:pt x="1227575" y="1799081"/>
                </a:cubicBezTo>
                <a:cubicBezTo>
                  <a:pt x="1219173" y="1797072"/>
                  <a:pt x="1210934" y="1794462"/>
                  <a:pt x="1202905" y="1791271"/>
                </a:cubicBezTo>
                <a:cubicBezTo>
                  <a:pt x="1195505" y="1788337"/>
                  <a:pt x="1188360" y="1784765"/>
                  <a:pt x="1181569" y="1780603"/>
                </a:cubicBezTo>
                <a:cubicBezTo>
                  <a:pt x="1168520" y="1772506"/>
                  <a:pt x="1163186" y="1765553"/>
                  <a:pt x="1165091" y="1760505"/>
                </a:cubicBezTo>
                <a:cubicBezTo>
                  <a:pt x="1166996" y="1755457"/>
                  <a:pt x="1176235" y="1752599"/>
                  <a:pt x="1192523" y="1752218"/>
                </a:cubicBezTo>
                <a:close/>
                <a:moveTo>
                  <a:pt x="3426503" y="1750400"/>
                </a:moveTo>
                <a:cubicBezTo>
                  <a:pt x="3442872" y="1751483"/>
                  <a:pt x="3454701" y="1755746"/>
                  <a:pt x="3457845" y="1762890"/>
                </a:cubicBezTo>
                <a:cubicBezTo>
                  <a:pt x="3464129" y="1777176"/>
                  <a:pt x="3433276" y="1798893"/>
                  <a:pt x="3391185" y="1809560"/>
                </a:cubicBezTo>
                <a:cubicBezTo>
                  <a:pt x="3350428" y="1819847"/>
                  <a:pt x="3310427" y="1817180"/>
                  <a:pt x="3303379" y="1803464"/>
                </a:cubicBezTo>
                <a:cubicBezTo>
                  <a:pt x="3296334" y="1789749"/>
                  <a:pt x="3325478" y="1768128"/>
                  <a:pt x="3367954" y="1756984"/>
                </a:cubicBezTo>
                <a:cubicBezTo>
                  <a:pt x="3389234" y="1751411"/>
                  <a:pt x="3410137" y="1749317"/>
                  <a:pt x="3426503" y="1750400"/>
                </a:cubicBezTo>
                <a:close/>
                <a:moveTo>
                  <a:pt x="4034891" y="1748613"/>
                </a:moveTo>
                <a:cubicBezTo>
                  <a:pt x="4047714" y="1749363"/>
                  <a:pt x="4055049" y="1753411"/>
                  <a:pt x="4054477" y="1760602"/>
                </a:cubicBezTo>
                <a:cubicBezTo>
                  <a:pt x="4053334" y="1774985"/>
                  <a:pt x="4021140" y="1794606"/>
                  <a:pt x="3979325" y="1806606"/>
                </a:cubicBezTo>
                <a:cubicBezTo>
                  <a:pt x="3936939" y="1818798"/>
                  <a:pt x="3905506" y="1817560"/>
                  <a:pt x="3905411" y="1803463"/>
                </a:cubicBezTo>
                <a:cubicBezTo>
                  <a:pt x="3905316" y="1789367"/>
                  <a:pt x="3937986" y="1768984"/>
                  <a:pt x="3982373" y="1756411"/>
                </a:cubicBezTo>
                <a:cubicBezTo>
                  <a:pt x="4003757" y="1750411"/>
                  <a:pt x="4022068" y="1747863"/>
                  <a:pt x="4034891" y="1748613"/>
                </a:cubicBezTo>
                <a:close/>
                <a:moveTo>
                  <a:pt x="5092738" y="1747267"/>
                </a:moveTo>
                <a:cubicBezTo>
                  <a:pt x="5096631" y="1748553"/>
                  <a:pt x="5096941" y="1751126"/>
                  <a:pt x="5092797" y="1754603"/>
                </a:cubicBezTo>
                <a:cubicBezTo>
                  <a:pt x="5086212" y="1759469"/>
                  <a:pt x="5078877" y="1763231"/>
                  <a:pt x="5071080" y="1765746"/>
                </a:cubicBezTo>
                <a:cubicBezTo>
                  <a:pt x="5066318" y="1767556"/>
                  <a:pt x="5061555" y="1769079"/>
                  <a:pt x="5056031" y="1770604"/>
                </a:cubicBezTo>
                <a:cubicBezTo>
                  <a:pt x="5050506" y="1772128"/>
                  <a:pt x="5045553" y="1773270"/>
                  <a:pt x="5040410" y="1774223"/>
                </a:cubicBezTo>
                <a:cubicBezTo>
                  <a:pt x="5020693" y="1777747"/>
                  <a:pt x="5010882" y="1774985"/>
                  <a:pt x="5018312" y="1767937"/>
                </a:cubicBezTo>
                <a:cubicBezTo>
                  <a:pt x="5024738" y="1762869"/>
                  <a:pt x="5031987" y="1758936"/>
                  <a:pt x="5039743" y="1756316"/>
                </a:cubicBezTo>
                <a:cubicBezTo>
                  <a:pt x="5044766" y="1754344"/>
                  <a:pt x="5049884" y="1752630"/>
                  <a:pt x="5055078" y="1751173"/>
                </a:cubicBezTo>
                <a:cubicBezTo>
                  <a:pt x="5060412" y="1749744"/>
                  <a:pt x="5065937" y="1748507"/>
                  <a:pt x="5071176" y="1747648"/>
                </a:cubicBezTo>
                <a:cubicBezTo>
                  <a:pt x="5081368" y="1745981"/>
                  <a:pt x="5088845" y="1745981"/>
                  <a:pt x="5092738" y="1747267"/>
                </a:cubicBezTo>
                <a:close/>
                <a:moveTo>
                  <a:pt x="4494151" y="1742839"/>
                </a:moveTo>
                <a:cubicBezTo>
                  <a:pt x="4504700" y="1743458"/>
                  <a:pt x="4509820" y="1747078"/>
                  <a:pt x="4506724" y="1753459"/>
                </a:cubicBezTo>
                <a:cubicBezTo>
                  <a:pt x="4500533" y="1766222"/>
                  <a:pt x="4463766" y="1785843"/>
                  <a:pt x="4428143" y="1796510"/>
                </a:cubicBezTo>
                <a:cubicBezTo>
                  <a:pt x="4392519" y="1807179"/>
                  <a:pt x="4364992" y="1806130"/>
                  <a:pt x="4369850" y="1794225"/>
                </a:cubicBezTo>
                <a:cubicBezTo>
                  <a:pt x="4374327" y="1782319"/>
                  <a:pt x="4411760" y="1761461"/>
                  <a:pt x="4449003" y="1750220"/>
                </a:cubicBezTo>
                <a:cubicBezTo>
                  <a:pt x="4467624" y="1744601"/>
                  <a:pt x="4483602" y="1742220"/>
                  <a:pt x="4494151" y="1742839"/>
                </a:cubicBezTo>
                <a:close/>
                <a:moveTo>
                  <a:pt x="1504470" y="1742694"/>
                </a:moveTo>
                <a:cubicBezTo>
                  <a:pt x="1513975" y="1741885"/>
                  <a:pt x="1523537" y="1741885"/>
                  <a:pt x="1533045" y="1742694"/>
                </a:cubicBezTo>
                <a:cubicBezTo>
                  <a:pt x="1542997" y="1743466"/>
                  <a:pt x="1552893" y="1744866"/>
                  <a:pt x="1562666" y="1746885"/>
                </a:cubicBezTo>
                <a:cubicBezTo>
                  <a:pt x="1579459" y="1749638"/>
                  <a:pt x="1595604" y="1755448"/>
                  <a:pt x="1610291" y="1764030"/>
                </a:cubicBezTo>
                <a:cubicBezTo>
                  <a:pt x="1619816" y="1770698"/>
                  <a:pt x="1622578" y="1777365"/>
                  <a:pt x="1618579" y="1783080"/>
                </a:cubicBezTo>
                <a:cubicBezTo>
                  <a:pt x="1615749" y="1786633"/>
                  <a:pt x="1611939" y="1789281"/>
                  <a:pt x="1607624" y="1790700"/>
                </a:cubicBezTo>
                <a:cubicBezTo>
                  <a:pt x="1601290" y="1792939"/>
                  <a:pt x="1594700" y="1794377"/>
                  <a:pt x="1588003" y="1794986"/>
                </a:cubicBezTo>
                <a:cubicBezTo>
                  <a:pt x="1578926" y="1795948"/>
                  <a:pt x="1569781" y="1796139"/>
                  <a:pt x="1560667" y="1795558"/>
                </a:cubicBezTo>
                <a:cubicBezTo>
                  <a:pt x="1550847" y="1795044"/>
                  <a:pt x="1541084" y="1793872"/>
                  <a:pt x="1531425" y="1792034"/>
                </a:cubicBezTo>
                <a:cubicBezTo>
                  <a:pt x="1514299" y="1789233"/>
                  <a:pt x="1497792" y="1783471"/>
                  <a:pt x="1482657" y="1774984"/>
                </a:cubicBezTo>
                <a:cubicBezTo>
                  <a:pt x="1470751" y="1767555"/>
                  <a:pt x="1467227" y="1760125"/>
                  <a:pt x="1471227" y="1754219"/>
                </a:cubicBezTo>
                <a:cubicBezTo>
                  <a:pt x="1474132" y="1750609"/>
                  <a:pt x="1478095" y="1748009"/>
                  <a:pt x="1482562" y="1746790"/>
                </a:cubicBezTo>
                <a:cubicBezTo>
                  <a:pt x="1489658" y="1744475"/>
                  <a:pt x="1497021" y="1743104"/>
                  <a:pt x="1504470" y="1742694"/>
                </a:cubicBezTo>
                <a:close/>
                <a:moveTo>
                  <a:pt x="2579103" y="1736123"/>
                </a:moveTo>
                <a:cubicBezTo>
                  <a:pt x="2598499" y="1738029"/>
                  <a:pt x="2614810" y="1742791"/>
                  <a:pt x="2622240" y="1749839"/>
                </a:cubicBezTo>
                <a:cubicBezTo>
                  <a:pt x="2637098" y="1763936"/>
                  <a:pt x="2615668" y="1783366"/>
                  <a:pt x="2577281" y="1791367"/>
                </a:cubicBezTo>
                <a:cubicBezTo>
                  <a:pt x="2558289" y="1795157"/>
                  <a:pt x="2538848" y="1796215"/>
                  <a:pt x="2519560" y="1794510"/>
                </a:cubicBezTo>
                <a:cubicBezTo>
                  <a:pt x="2504424" y="1794063"/>
                  <a:pt x="2489632" y="1789872"/>
                  <a:pt x="2476507" y="1782319"/>
                </a:cubicBezTo>
                <a:cubicBezTo>
                  <a:pt x="2458505" y="1768889"/>
                  <a:pt x="2477651" y="1748411"/>
                  <a:pt x="2517464" y="1739553"/>
                </a:cubicBezTo>
                <a:cubicBezTo>
                  <a:pt x="2537229" y="1735171"/>
                  <a:pt x="2559708" y="1734219"/>
                  <a:pt x="2579103" y="1736123"/>
                </a:cubicBezTo>
                <a:close/>
                <a:moveTo>
                  <a:pt x="5203466" y="1735600"/>
                </a:moveTo>
                <a:cubicBezTo>
                  <a:pt x="5206621" y="1736886"/>
                  <a:pt x="5205955" y="1739457"/>
                  <a:pt x="5200906" y="1743173"/>
                </a:cubicBezTo>
                <a:cubicBezTo>
                  <a:pt x="5194462" y="1747296"/>
                  <a:pt x="5187473" y="1750506"/>
                  <a:pt x="5180142" y="1752697"/>
                </a:cubicBezTo>
                <a:cubicBezTo>
                  <a:pt x="5175855" y="1754125"/>
                  <a:pt x="5171188" y="1755364"/>
                  <a:pt x="5166521" y="1756411"/>
                </a:cubicBezTo>
                <a:cubicBezTo>
                  <a:pt x="5164235" y="1756983"/>
                  <a:pt x="5161854" y="1757459"/>
                  <a:pt x="5159472" y="1757840"/>
                </a:cubicBezTo>
                <a:cubicBezTo>
                  <a:pt x="5157091" y="1758222"/>
                  <a:pt x="5154710" y="1758793"/>
                  <a:pt x="5152424" y="1759078"/>
                </a:cubicBezTo>
                <a:cubicBezTo>
                  <a:pt x="5133660" y="1761461"/>
                  <a:pt x="5126135" y="1758697"/>
                  <a:pt x="5134612" y="1751935"/>
                </a:cubicBezTo>
                <a:cubicBezTo>
                  <a:pt x="5140839" y="1747783"/>
                  <a:pt x="5147643" y="1744572"/>
                  <a:pt x="5154805" y="1742411"/>
                </a:cubicBezTo>
                <a:cubicBezTo>
                  <a:pt x="5156996" y="1741649"/>
                  <a:pt x="5159187" y="1740886"/>
                  <a:pt x="5161473" y="1740315"/>
                </a:cubicBezTo>
                <a:lnTo>
                  <a:pt x="5168521" y="1738504"/>
                </a:lnTo>
                <a:cubicBezTo>
                  <a:pt x="5173284" y="1737361"/>
                  <a:pt x="5178046" y="1736409"/>
                  <a:pt x="5183094" y="1735743"/>
                </a:cubicBezTo>
                <a:cubicBezTo>
                  <a:pt x="5193334" y="1734314"/>
                  <a:pt x="5200311" y="1734314"/>
                  <a:pt x="5203466" y="1735600"/>
                </a:cubicBezTo>
                <a:close/>
                <a:moveTo>
                  <a:pt x="4927872" y="1734564"/>
                </a:moveTo>
                <a:cubicBezTo>
                  <a:pt x="4932825" y="1736053"/>
                  <a:pt x="4933206" y="1739505"/>
                  <a:pt x="4928205" y="1744602"/>
                </a:cubicBezTo>
                <a:cubicBezTo>
                  <a:pt x="4921029" y="1750725"/>
                  <a:pt x="4912843" y="1755564"/>
                  <a:pt x="4904012" y="1758888"/>
                </a:cubicBezTo>
                <a:cubicBezTo>
                  <a:pt x="4898773" y="1761079"/>
                  <a:pt x="4892963" y="1763175"/>
                  <a:pt x="4886962" y="1765080"/>
                </a:cubicBezTo>
                <a:cubicBezTo>
                  <a:pt x="4880961" y="1766985"/>
                  <a:pt x="4874770" y="1768699"/>
                  <a:pt x="4868674" y="1770033"/>
                </a:cubicBezTo>
                <a:cubicBezTo>
                  <a:pt x="4844195" y="1775367"/>
                  <a:pt x="4832289" y="1772414"/>
                  <a:pt x="4840575" y="1762890"/>
                </a:cubicBezTo>
                <a:cubicBezTo>
                  <a:pt x="4847306" y="1756498"/>
                  <a:pt x="4855194" y="1751459"/>
                  <a:pt x="4863816" y="1748030"/>
                </a:cubicBezTo>
                <a:cubicBezTo>
                  <a:pt x="4869446" y="1745515"/>
                  <a:pt x="4875200" y="1743287"/>
                  <a:pt x="4881057" y="1741362"/>
                </a:cubicBezTo>
                <a:cubicBezTo>
                  <a:pt x="4887296" y="1739286"/>
                  <a:pt x="4893659" y="1737601"/>
                  <a:pt x="4900107" y="1736314"/>
                </a:cubicBezTo>
                <a:cubicBezTo>
                  <a:pt x="4913394" y="1733553"/>
                  <a:pt x="4922919" y="1733076"/>
                  <a:pt x="4927872" y="1734564"/>
                </a:cubicBezTo>
                <a:close/>
                <a:moveTo>
                  <a:pt x="4731466" y="1730671"/>
                </a:moveTo>
                <a:cubicBezTo>
                  <a:pt x="4738467" y="1731980"/>
                  <a:pt x="4740562" y="1735790"/>
                  <a:pt x="4736371" y="1741744"/>
                </a:cubicBezTo>
                <a:cubicBezTo>
                  <a:pt x="4729527" y="1749326"/>
                  <a:pt x="4721150" y="1755364"/>
                  <a:pt x="4711797" y="1759460"/>
                </a:cubicBezTo>
                <a:lnTo>
                  <a:pt x="4707415" y="1761555"/>
                </a:lnTo>
                <a:lnTo>
                  <a:pt x="4702748" y="1763746"/>
                </a:lnTo>
                <a:cubicBezTo>
                  <a:pt x="4699605" y="1765175"/>
                  <a:pt x="4696366" y="1766508"/>
                  <a:pt x="4693223" y="1767842"/>
                </a:cubicBezTo>
                <a:cubicBezTo>
                  <a:pt x="4686397" y="1770499"/>
                  <a:pt x="4679434" y="1772784"/>
                  <a:pt x="4672363" y="1774700"/>
                </a:cubicBezTo>
                <a:cubicBezTo>
                  <a:pt x="4661932" y="1777986"/>
                  <a:pt x="4651000" y="1779405"/>
                  <a:pt x="4640074" y="1778890"/>
                </a:cubicBezTo>
                <a:cubicBezTo>
                  <a:pt x="4632930" y="1778604"/>
                  <a:pt x="4630168" y="1775271"/>
                  <a:pt x="4633311" y="1769747"/>
                </a:cubicBezTo>
                <a:cubicBezTo>
                  <a:pt x="4635551" y="1766099"/>
                  <a:pt x="4638421" y="1762870"/>
                  <a:pt x="4641788" y="1760222"/>
                </a:cubicBezTo>
                <a:cubicBezTo>
                  <a:pt x="4646449" y="1756659"/>
                  <a:pt x="4651386" y="1753478"/>
                  <a:pt x="4656552" y="1750697"/>
                </a:cubicBezTo>
                <a:cubicBezTo>
                  <a:pt x="4669450" y="1743867"/>
                  <a:pt x="4683056" y="1738467"/>
                  <a:pt x="4697128" y="1734599"/>
                </a:cubicBezTo>
                <a:cubicBezTo>
                  <a:pt x="4712559" y="1730551"/>
                  <a:pt x="4724465" y="1729361"/>
                  <a:pt x="4731466" y="1730671"/>
                </a:cubicBezTo>
                <a:close/>
                <a:moveTo>
                  <a:pt x="207249" y="1728120"/>
                </a:moveTo>
                <a:cubicBezTo>
                  <a:pt x="208201" y="1727263"/>
                  <a:pt x="210296" y="1728120"/>
                  <a:pt x="213535" y="1731549"/>
                </a:cubicBezTo>
                <a:cubicBezTo>
                  <a:pt x="215516" y="1733483"/>
                  <a:pt x="217393" y="1735512"/>
                  <a:pt x="219156" y="1737645"/>
                </a:cubicBezTo>
                <a:cubicBezTo>
                  <a:pt x="221249" y="1740122"/>
                  <a:pt x="223822" y="1742979"/>
                  <a:pt x="226584" y="1746408"/>
                </a:cubicBezTo>
                <a:lnTo>
                  <a:pt x="234585" y="1756505"/>
                </a:lnTo>
                <a:lnTo>
                  <a:pt x="238872" y="1762125"/>
                </a:lnTo>
                <a:lnTo>
                  <a:pt x="241062" y="1765077"/>
                </a:lnTo>
                <a:lnTo>
                  <a:pt x="243348" y="1767935"/>
                </a:lnTo>
                <a:cubicBezTo>
                  <a:pt x="246397" y="1771745"/>
                  <a:pt x="249540" y="1775841"/>
                  <a:pt x="252872" y="1779936"/>
                </a:cubicBezTo>
                <a:lnTo>
                  <a:pt x="257636" y="1786128"/>
                </a:lnTo>
                <a:cubicBezTo>
                  <a:pt x="259255" y="1788223"/>
                  <a:pt x="260874" y="1790414"/>
                  <a:pt x="262494" y="1792414"/>
                </a:cubicBezTo>
                <a:cubicBezTo>
                  <a:pt x="268970" y="1800510"/>
                  <a:pt x="275448" y="1808702"/>
                  <a:pt x="281544" y="1816608"/>
                </a:cubicBezTo>
                <a:cubicBezTo>
                  <a:pt x="287639" y="1824513"/>
                  <a:pt x="293163" y="1831181"/>
                  <a:pt x="297830" y="1837467"/>
                </a:cubicBezTo>
                <a:lnTo>
                  <a:pt x="301260" y="1842325"/>
                </a:lnTo>
                <a:cubicBezTo>
                  <a:pt x="302308" y="1843849"/>
                  <a:pt x="303356" y="1845183"/>
                  <a:pt x="304213" y="1846516"/>
                </a:cubicBezTo>
                <a:cubicBezTo>
                  <a:pt x="305070" y="1847850"/>
                  <a:pt x="307355" y="1851374"/>
                  <a:pt x="308403" y="1853183"/>
                </a:cubicBezTo>
                <a:cubicBezTo>
                  <a:pt x="310500" y="1856994"/>
                  <a:pt x="311166" y="1859375"/>
                  <a:pt x="310309" y="1860327"/>
                </a:cubicBezTo>
                <a:cubicBezTo>
                  <a:pt x="309452" y="1861280"/>
                  <a:pt x="307165" y="1860327"/>
                  <a:pt x="303546" y="1858517"/>
                </a:cubicBezTo>
                <a:cubicBezTo>
                  <a:pt x="298127" y="1855308"/>
                  <a:pt x="293078" y="1851507"/>
                  <a:pt x="288497" y="1847183"/>
                </a:cubicBezTo>
                <a:cubicBezTo>
                  <a:pt x="282686" y="1842039"/>
                  <a:pt x="276210" y="1835753"/>
                  <a:pt x="269446" y="1828704"/>
                </a:cubicBezTo>
                <a:cubicBezTo>
                  <a:pt x="262684" y="1821656"/>
                  <a:pt x="255921" y="1813369"/>
                  <a:pt x="249254" y="1805178"/>
                </a:cubicBezTo>
                <a:cubicBezTo>
                  <a:pt x="247635" y="1803177"/>
                  <a:pt x="246015" y="1800987"/>
                  <a:pt x="244396" y="1798796"/>
                </a:cubicBezTo>
                <a:lnTo>
                  <a:pt x="239728" y="1792319"/>
                </a:lnTo>
                <a:cubicBezTo>
                  <a:pt x="236585" y="1788033"/>
                  <a:pt x="233632" y="1783746"/>
                  <a:pt x="230870" y="1779555"/>
                </a:cubicBezTo>
                <a:cubicBezTo>
                  <a:pt x="228107" y="1775364"/>
                  <a:pt x="225441" y="1771078"/>
                  <a:pt x="223060" y="1767078"/>
                </a:cubicBezTo>
                <a:cubicBezTo>
                  <a:pt x="220679" y="1763077"/>
                  <a:pt x="218202" y="1759076"/>
                  <a:pt x="216297" y="1755457"/>
                </a:cubicBezTo>
                <a:cubicBezTo>
                  <a:pt x="214107" y="1751361"/>
                  <a:pt x="212392" y="1747837"/>
                  <a:pt x="210963" y="1744599"/>
                </a:cubicBezTo>
                <a:cubicBezTo>
                  <a:pt x="209535" y="1741360"/>
                  <a:pt x="208582" y="1738598"/>
                  <a:pt x="207820" y="1736312"/>
                </a:cubicBezTo>
                <a:cubicBezTo>
                  <a:pt x="206391" y="1731645"/>
                  <a:pt x="206296" y="1728978"/>
                  <a:pt x="207249" y="1728120"/>
                </a:cubicBezTo>
                <a:close/>
                <a:moveTo>
                  <a:pt x="3858905" y="1726158"/>
                </a:moveTo>
                <a:cubicBezTo>
                  <a:pt x="3873645" y="1727099"/>
                  <a:pt x="3883265" y="1731362"/>
                  <a:pt x="3883694" y="1738695"/>
                </a:cubicBezTo>
                <a:cubicBezTo>
                  <a:pt x="3884551" y="1753364"/>
                  <a:pt x="3849785" y="1774889"/>
                  <a:pt x="3809875" y="1786319"/>
                </a:cubicBezTo>
                <a:cubicBezTo>
                  <a:pt x="3769965" y="1797749"/>
                  <a:pt x="3732437" y="1795653"/>
                  <a:pt x="3729674" y="1782128"/>
                </a:cubicBezTo>
                <a:cubicBezTo>
                  <a:pt x="3726817" y="1768413"/>
                  <a:pt x="3761583" y="1745458"/>
                  <a:pt x="3803398" y="1733553"/>
                </a:cubicBezTo>
                <a:cubicBezTo>
                  <a:pt x="3824305" y="1727599"/>
                  <a:pt x="3844165" y="1725218"/>
                  <a:pt x="3858905" y="1726158"/>
                </a:cubicBezTo>
                <a:close/>
                <a:moveTo>
                  <a:pt x="5704207" y="1725548"/>
                </a:moveTo>
                <a:cubicBezTo>
                  <a:pt x="5712874" y="1725548"/>
                  <a:pt x="5714684" y="1728025"/>
                  <a:pt x="5708207" y="1730311"/>
                </a:cubicBezTo>
                <a:cubicBezTo>
                  <a:pt x="5704283" y="1731444"/>
                  <a:pt x="5700263" y="1732244"/>
                  <a:pt x="5696206" y="1732692"/>
                </a:cubicBezTo>
                <a:cubicBezTo>
                  <a:pt x="5691796" y="1733397"/>
                  <a:pt x="5687338" y="1733740"/>
                  <a:pt x="5682871" y="1733740"/>
                </a:cubicBezTo>
                <a:cubicBezTo>
                  <a:pt x="5674774" y="1733549"/>
                  <a:pt x="5672298" y="1731454"/>
                  <a:pt x="5678680" y="1729168"/>
                </a:cubicBezTo>
                <a:cubicBezTo>
                  <a:pt x="5686947" y="1726653"/>
                  <a:pt x="5695558" y="1725434"/>
                  <a:pt x="5704207" y="1725548"/>
                </a:cubicBezTo>
                <a:close/>
                <a:moveTo>
                  <a:pt x="5294155" y="1725266"/>
                </a:moveTo>
                <a:cubicBezTo>
                  <a:pt x="5297579" y="1724999"/>
                  <a:pt x="5301019" y="1724999"/>
                  <a:pt x="5304442" y="1725266"/>
                </a:cubicBezTo>
                <a:cubicBezTo>
                  <a:pt x="5306525" y="1725284"/>
                  <a:pt x="5308577" y="1725770"/>
                  <a:pt x="5310443" y="1726694"/>
                </a:cubicBezTo>
                <a:cubicBezTo>
                  <a:pt x="5312824" y="1727838"/>
                  <a:pt x="5311872" y="1730123"/>
                  <a:pt x="5307395" y="1732886"/>
                </a:cubicBezTo>
                <a:cubicBezTo>
                  <a:pt x="5292717" y="1740076"/>
                  <a:pt x="5276886" y="1744620"/>
                  <a:pt x="5260627" y="1746316"/>
                </a:cubicBezTo>
                <a:cubicBezTo>
                  <a:pt x="5244816" y="1748030"/>
                  <a:pt x="5238053" y="1744792"/>
                  <a:pt x="5246530" y="1739076"/>
                </a:cubicBezTo>
                <a:cubicBezTo>
                  <a:pt x="5261387" y="1731504"/>
                  <a:pt x="5277549" y="1726808"/>
                  <a:pt x="5294155" y="1725266"/>
                </a:cubicBezTo>
                <a:close/>
                <a:moveTo>
                  <a:pt x="3163367" y="1722502"/>
                </a:moveTo>
                <a:cubicBezTo>
                  <a:pt x="3180130" y="1724027"/>
                  <a:pt x="3192703" y="1728599"/>
                  <a:pt x="3197274" y="1735837"/>
                </a:cubicBezTo>
                <a:cubicBezTo>
                  <a:pt x="3206802" y="1750601"/>
                  <a:pt x="3179367" y="1771080"/>
                  <a:pt x="3137553" y="1781175"/>
                </a:cubicBezTo>
                <a:cubicBezTo>
                  <a:pt x="3127791" y="1783584"/>
                  <a:pt x="3117856" y="1785243"/>
                  <a:pt x="3107836" y="1786128"/>
                </a:cubicBezTo>
                <a:cubicBezTo>
                  <a:pt x="3098834" y="1786843"/>
                  <a:pt x="3089783" y="1786843"/>
                  <a:pt x="3080784" y="1786128"/>
                </a:cubicBezTo>
                <a:cubicBezTo>
                  <a:pt x="3064020" y="1785081"/>
                  <a:pt x="3051160" y="1781175"/>
                  <a:pt x="3045921" y="1773936"/>
                </a:cubicBezTo>
                <a:cubicBezTo>
                  <a:pt x="3034398" y="1759174"/>
                  <a:pt x="3061161" y="1738029"/>
                  <a:pt x="3104978" y="1727552"/>
                </a:cubicBezTo>
                <a:cubicBezTo>
                  <a:pt x="3124044" y="1722789"/>
                  <a:pt x="3143753" y="1721083"/>
                  <a:pt x="3163367" y="1722502"/>
                </a:cubicBezTo>
                <a:close/>
                <a:moveTo>
                  <a:pt x="4366087" y="1722490"/>
                </a:moveTo>
                <a:cubicBezTo>
                  <a:pt x="4377565" y="1723169"/>
                  <a:pt x="4383518" y="1727027"/>
                  <a:pt x="4381279" y="1733837"/>
                </a:cubicBezTo>
                <a:cubicBezTo>
                  <a:pt x="4376803" y="1747458"/>
                  <a:pt x="4339274" y="1768413"/>
                  <a:pt x="4300507" y="1779651"/>
                </a:cubicBezTo>
                <a:cubicBezTo>
                  <a:pt x="4261741" y="1790891"/>
                  <a:pt x="4234690" y="1789081"/>
                  <a:pt x="4238404" y="1776128"/>
                </a:cubicBezTo>
                <a:cubicBezTo>
                  <a:pt x="4242119" y="1762889"/>
                  <a:pt x="4278028" y="1742029"/>
                  <a:pt x="4317748" y="1730218"/>
                </a:cubicBezTo>
                <a:cubicBezTo>
                  <a:pt x="4337608" y="1724313"/>
                  <a:pt x="4354610" y="1721812"/>
                  <a:pt x="4366087" y="1722490"/>
                </a:cubicBezTo>
                <a:close/>
                <a:moveTo>
                  <a:pt x="5605243" y="1720881"/>
                </a:moveTo>
                <a:cubicBezTo>
                  <a:pt x="5614768" y="1720881"/>
                  <a:pt x="5616673" y="1723548"/>
                  <a:pt x="5609815" y="1726406"/>
                </a:cubicBezTo>
                <a:cubicBezTo>
                  <a:pt x="5599337" y="1730044"/>
                  <a:pt x="5588336" y="1731939"/>
                  <a:pt x="5577239" y="1732025"/>
                </a:cubicBezTo>
                <a:cubicBezTo>
                  <a:pt x="5566952" y="1732025"/>
                  <a:pt x="5564476" y="1729549"/>
                  <a:pt x="5572000" y="1726406"/>
                </a:cubicBezTo>
                <a:cubicBezTo>
                  <a:pt x="5582706" y="1722786"/>
                  <a:pt x="5593936" y="1720919"/>
                  <a:pt x="5605243" y="1720881"/>
                </a:cubicBezTo>
                <a:close/>
                <a:moveTo>
                  <a:pt x="5397216" y="1720693"/>
                </a:moveTo>
                <a:cubicBezTo>
                  <a:pt x="5412171" y="1719551"/>
                  <a:pt x="5418076" y="1723074"/>
                  <a:pt x="5409599" y="1727741"/>
                </a:cubicBezTo>
                <a:cubicBezTo>
                  <a:pt x="5396409" y="1733476"/>
                  <a:pt x="5382391" y="1737076"/>
                  <a:pt x="5368070" y="1738409"/>
                </a:cubicBezTo>
                <a:cubicBezTo>
                  <a:pt x="5363206" y="1739163"/>
                  <a:pt x="5358239" y="1738867"/>
                  <a:pt x="5353497" y="1737552"/>
                </a:cubicBezTo>
                <a:cubicBezTo>
                  <a:pt x="5350925" y="1736504"/>
                  <a:pt x="5350925" y="1734599"/>
                  <a:pt x="5354259" y="1732409"/>
                </a:cubicBezTo>
                <a:cubicBezTo>
                  <a:pt x="5367753" y="1725941"/>
                  <a:pt x="5382307" y="1721968"/>
                  <a:pt x="5397216" y="1720693"/>
                </a:cubicBezTo>
                <a:close/>
                <a:moveTo>
                  <a:pt x="861811" y="1719452"/>
                </a:moveTo>
                <a:cubicBezTo>
                  <a:pt x="867297" y="1718576"/>
                  <a:pt x="872898" y="1718576"/>
                  <a:pt x="878384" y="1719452"/>
                </a:cubicBezTo>
                <a:cubicBezTo>
                  <a:pt x="885785" y="1720710"/>
                  <a:pt x="893072" y="1722519"/>
                  <a:pt x="900196" y="1724881"/>
                </a:cubicBezTo>
                <a:cubicBezTo>
                  <a:pt x="908102" y="1727263"/>
                  <a:pt x="916484" y="1730311"/>
                  <a:pt x="924675" y="1733644"/>
                </a:cubicBezTo>
                <a:cubicBezTo>
                  <a:pt x="932867" y="1736978"/>
                  <a:pt x="940963" y="1740502"/>
                  <a:pt x="948202" y="1744217"/>
                </a:cubicBezTo>
                <a:cubicBezTo>
                  <a:pt x="954822" y="1747380"/>
                  <a:pt x="961185" y="1751047"/>
                  <a:pt x="967252" y="1755171"/>
                </a:cubicBezTo>
                <a:cubicBezTo>
                  <a:pt x="978015" y="1762886"/>
                  <a:pt x="981921" y="1769649"/>
                  <a:pt x="979635" y="1774221"/>
                </a:cubicBezTo>
                <a:cubicBezTo>
                  <a:pt x="977349" y="1778793"/>
                  <a:pt x="968681" y="1781079"/>
                  <a:pt x="954774" y="1779650"/>
                </a:cubicBezTo>
                <a:cubicBezTo>
                  <a:pt x="947288" y="1778755"/>
                  <a:pt x="939897" y="1777231"/>
                  <a:pt x="932677" y="1775078"/>
                </a:cubicBezTo>
                <a:cubicBezTo>
                  <a:pt x="928676" y="1774031"/>
                  <a:pt x="924580" y="1772792"/>
                  <a:pt x="920484" y="1771364"/>
                </a:cubicBezTo>
                <a:cubicBezTo>
                  <a:pt x="916389" y="1769935"/>
                  <a:pt x="912103" y="1768411"/>
                  <a:pt x="908007" y="1766792"/>
                </a:cubicBezTo>
                <a:cubicBezTo>
                  <a:pt x="903911" y="1765172"/>
                  <a:pt x="899815" y="1763363"/>
                  <a:pt x="895910" y="1761553"/>
                </a:cubicBezTo>
                <a:cubicBezTo>
                  <a:pt x="892005" y="1759743"/>
                  <a:pt x="888195" y="1757838"/>
                  <a:pt x="884575" y="1755933"/>
                </a:cubicBezTo>
                <a:cubicBezTo>
                  <a:pt x="878098" y="1752723"/>
                  <a:pt x="871888" y="1748989"/>
                  <a:pt x="866002" y="1744789"/>
                </a:cubicBezTo>
                <a:cubicBezTo>
                  <a:pt x="855143" y="1736121"/>
                  <a:pt x="851428" y="1728787"/>
                  <a:pt x="853714" y="1724119"/>
                </a:cubicBezTo>
                <a:cubicBezTo>
                  <a:pt x="855533" y="1721376"/>
                  <a:pt x="858524" y="1719652"/>
                  <a:pt x="861811" y="1719452"/>
                </a:cubicBezTo>
                <a:close/>
                <a:moveTo>
                  <a:pt x="5504468" y="1718406"/>
                </a:moveTo>
                <a:cubicBezTo>
                  <a:pt x="5515898" y="1718406"/>
                  <a:pt x="5519041" y="1721263"/>
                  <a:pt x="5511421" y="1724882"/>
                </a:cubicBezTo>
                <a:cubicBezTo>
                  <a:pt x="5505792" y="1727273"/>
                  <a:pt x="5499915" y="1729025"/>
                  <a:pt x="5493895" y="1730121"/>
                </a:cubicBezTo>
                <a:lnTo>
                  <a:pt x="5488657" y="1731168"/>
                </a:lnTo>
                <a:lnTo>
                  <a:pt x="5483227" y="1732026"/>
                </a:lnTo>
                <a:cubicBezTo>
                  <a:pt x="5480084" y="1732502"/>
                  <a:pt x="5476655" y="1732883"/>
                  <a:pt x="5473607" y="1732978"/>
                </a:cubicBezTo>
                <a:cubicBezTo>
                  <a:pt x="5461510" y="1733455"/>
                  <a:pt x="5457700" y="1730311"/>
                  <a:pt x="5465892" y="1726501"/>
                </a:cubicBezTo>
                <a:cubicBezTo>
                  <a:pt x="5471750" y="1724025"/>
                  <a:pt x="5477846" y="1722139"/>
                  <a:pt x="5484085" y="1720881"/>
                </a:cubicBezTo>
                <a:lnTo>
                  <a:pt x="5489514" y="1719835"/>
                </a:lnTo>
                <a:lnTo>
                  <a:pt x="5494943" y="1719073"/>
                </a:lnTo>
                <a:cubicBezTo>
                  <a:pt x="5498105" y="1718692"/>
                  <a:pt x="5501287" y="1718473"/>
                  <a:pt x="5504468" y="1718406"/>
                </a:cubicBezTo>
                <a:close/>
                <a:moveTo>
                  <a:pt x="1832322" y="1718217"/>
                </a:moveTo>
                <a:cubicBezTo>
                  <a:pt x="1837466" y="1717931"/>
                  <a:pt x="1841847" y="1718217"/>
                  <a:pt x="1846991" y="1718217"/>
                </a:cubicBezTo>
                <a:cubicBezTo>
                  <a:pt x="1856564" y="1718321"/>
                  <a:pt x="1866107" y="1719111"/>
                  <a:pt x="1875566" y="1720596"/>
                </a:cubicBezTo>
                <a:cubicBezTo>
                  <a:pt x="1891692" y="1722644"/>
                  <a:pt x="1907208" y="1728064"/>
                  <a:pt x="1921095" y="1736503"/>
                </a:cubicBezTo>
                <a:cubicBezTo>
                  <a:pt x="1931953" y="1743837"/>
                  <a:pt x="1934526" y="1750981"/>
                  <a:pt x="1929763" y="1756982"/>
                </a:cubicBezTo>
                <a:cubicBezTo>
                  <a:pt x="1926306" y="1760744"/>
                  <a:pt x="1921943" y="1763564"/>
                  <a:pt x="1917095" y="1765173"/>
                </a:cubicBezTo>
                <a:cubicBezTo>
                  <a:pt x="1909627" y="1767850"/>
                  <a:pt x="1901902" y="1769736"/>
                  <a:pt x="1894044" y="1770793"/>
                </a:cubicBezTo>
                <a:cubicBezTo>
                  <a:pt x="1889377" y="1771555"/>
                  <a:pt x="1884519" y="1772030"/>
                  <a:pt x="1879852" y="1772411"/>
                </a:cubicBezTo>
                <a:cubicBezTo>
                  <a:pt x="1875185" y="1772792"/>
                  <a:pt x="1870327" y="1772889"/>
                  <a:pt x="1865469" y="1772411"/>
                </a:cubicBezTo>
                <a:cubicBezTo>
                  <a:pt x="1856097" y="1772392"/>
                  <a:pt x="1846734" y="1771697"/>
                  <a:pt x="1837466" y="1770317"/>
                </a:cubicBezTo>
                <a:cubicBezTo>
                  <a:pt x="1821349" y="1768278"/>
                  <a:pt x="1805824" y="1762963"/>
                  <a:pt x="1791841" y="1754696"/>
                </a:cubicBezTo>
                <a:cubicBezTo>
                  <a:pt x="1780030" y="1747076"/>
                  <a:pt x="1776888" y="1739646"/>
                  <a:pt x="1781365" y="1733455"/>
                </a:cubicBezTo>
                <a:cubicBezTo>
                  <a:pt x="1784755" y="1729655"/>
                  <a:pt x="1789088" y="1726826"/>
                  <a:pt x="1793937" y="1725264"/>
                </a:cubicBezTo>
                <a:cubicBezTo>
                  <a:pt x="1801623" y="1722578"/>
                  <a:pt x="1809577" y="1720691"/>
                  <a:pt x="1817654" y="1719646"/>
                </a:cubicBezTo>
                <a:cubicBezTo>
                  <a:pt x="1822512" y="1718979"/>
                  <a:pt x="1827179" y="1718503"/>
                  <a:pt x="1832322" y="1718217"/>
                </a:cubicBezTo>
                <a:close/>
                <a:moveTo>
                  <a:pt x="100942" y="1717643"/>
                </a:moveTo>
                <a:cubicBezTo>
                  <a:pt x="101799" y="1717738"/>
                  <a:pt x="103895" y="1719358"/>
                  <a:pt x="106466" y="1722596"/>
                </a:cubicBezTo>
                <a:cubicBezTo>
                  <a:pt x="107705" y="1724215"/>
                  <a:pt x="109133" y="1726216"/>
                  <a:pt x="110753" y="1728692"/>
                </a:cubicBezTo>
                <a:cubicBezTo>
                  <a:pt x="112372" y="1731169"/>
                  <a:pt x="114277" y="1733740"/>
                  <a:pt x="116277" y="1736884"/>
                </a:cubicBezTo>
                <a:cubicBezTo>
                  <a:pt x="120468" y="1743265"/>
                  <a:pt x="125326" y="1751266"/>
                  <a:pt x="130565" y="1760029"/>
                </a:cubicBezTo>
                <a:lnTo>
                  <a:pt x="147614" y="1787080"/>
                </a:lnTo>
                <a:lnTo>
                  <a:pt x="178857" y="1834896"/>
                </a:lnTo>
                <a:cubicBezTo>
                  <a:pt x="186192" y="1846516"/>
                  <a:pt x="189048" y="1853184"/>
                  <a:pt x="187810" y="1854613"/>
                </a:cubicBezTo>
                <a:cubicBezTo>
                  <a:pt x="186572" y="1856041"/>
                  <a:pt x="180953" y="1852041"/>
                  <a:pt x="171809" y="1842230"/>
                </a:cubicBezTo>
                <a:cubicBezTo>
                  <a:pt x="169236" y="1839468"/>
                  <a:pt x="166379" y="1836229"/>
                  <a:pt x="163426" y="1832705"/>
                </a:cubicBezTo>
                <a:cubicBezTo>
                  <a:pt x="160473" y="1829181"/>
                  <a:pt x="157235" y="1824895"/>
                  <a:pt x="153901" y="1820513"/>
                </a:cubicBezTo>
                <a:cubicBezTo>
                  <a:pt x="147425" y="1811845"/>
                  <a:pt x="140566" y="1802225"/>
                  <a:pt x="134281" y="1791938"/>
                </a:cubicBezTo>
                <a:cubicBezTo>
                  <a:pt x="131041" y="1786890"/>
                  <a:pt x="127994" y="1781746"/>
                  <a:pt x="124755" y="1776793"/>
                </a:cubicBezTo>
                <a:cubicBezTo>
                  <a:pt x="123230" y="1774222"/>
                  <a:pt x="121802" y="1771745"/>
                  <a:pt x="120468" y="1769269"/>
                </a:cubicBezTo>
                <a:cubicBezTo>
                  <a:pt x="119135" y="1766792"/>
                  <a:pt x="117802" y="1764316"/>
                  <a:pt x="116563" y="1761934"/>
                </a:cubicBezTo>
                <a:cubicBezTo>
                  <a:pt x="111516" y="1752409"/>
                  <a:pt x="107038" y="1743456"/>
                  <a:pt x="104657" y="1736598"/>
                </a:cubicBezTo>
                <a:cubicBezTo>
                  <a:pt x="103495" y="1733855"/>
                  <a:pt x="102475" y="1731064"/>
                  <a:pt x="101609" y="1728216"/>
                </a:cubicBezTo>
                <a:cubicBezTo>
                  <a:pt x="100981" y="1726282"/>
                  <a:pt x="100475" y="1724311"/>
                  <a:pt x="100085" y="1722311"/>
                </a:cubicBezTo>
                <a:cubicBezTo>
                  <a:pt x="99513" y="1719072"/>
                  <a:pt x="100085" y="1717548"/>
                  <a:pt x="100942" y="1717643"/>
                </a:cubicBezTo>
                <a:close/>
                <a:moveTo>
                  <a:pt x="5020027" y="1717551"/>
                </a:moveTo>
                <a:cubicBezTo>
                  <a:pt x="5042220" y="1714027"/>
                  <a:pt x="5052507" y="1718218"/>
                  <a:pt x="5042506" y="1727074"/>
                </a:cubicBezTo>
                <a:cubicBezTo>
                  <a:pt x="5034845" y="1732437"/>
                  <a:pt x="5026436" y="1736638"/>
                  <a:pt x="5017550" y="1739553"/>
                </a:cubicBezTo>
                <a:cubicBezTo>
                  <a:pt x="5012216" y="1741552"/>
                  <a:pt x="5006596" y="1743458"/>
                  <a:pt x="5000977" y="1745077"/>
                </a:cubicBezTo>
                <a:cubicBezTo>
                  <a:pt x="4995357" y="1746696"/>
                  <a:pt x="4989928" y="1748125"/>
                  <a:pt x="4984689" y="1749077"/>
                </a:cubicBezTo>
                <a:cubicBezTo>
                  <a:pt x="4963258" y="1753173"/>
                  <a:pt x="4951637" y="1749649"/>
                  <a:pt x="4959924" y="1741552"/>
                </a:cubicBezTo>
                <a:cubicBezTo>
                  <a:pt x="4967380" y="1735514"/>
                  <a:pt x="4975822" y="1730809"/>
                  <a:pt x="4984880" y="1727647"/>
                </a:cubicBezTo>
                <a:cubicBezTo>
                  <a:pt x="4987642" y="1726503"/>
                  <a:pt x="4990499" y="1725360"/>
                  <a:pt x="4993452" y="1724313"/>
                </a:cubicBezTo>
                <a:lnTo>
                  <a:pt x="5002406" y="1721551"/>
                </a:lnTo>
                <a:cubicBezTo>
                  <a:pt x="5008201" y="1719894"/>
                  <a:pt x="5014084" y="1718561"/>
                  <a:pt x="5020027" y="1717551"/>
                </a:cubicBezTo>
                <a:close/>
                <a:moveTo>
                  <a:pt x="315639" y="1711356"/>
                </a:moveTo>
                <a:cubicBezTo>
                  <a:pt x="316592" y="1710213"/>
                  <a:pt x="318687" y="1711356"/>
                  <a:pt x="321925" y="1713166"/>
                </a:cubicBezTo>
                <a:cubicBezTo>
                  <a:pt x="323955" y="1714671"/>
                  <a:pt x="325898" y="1716290"/>
                  <a:pt x="327737" y="1718024"/>
                </a:cubicBezTo>
                <a:lnTo>
                  <a:pt x="331260" y="1721357"/>
                </a:lnTo>
                <a:lnTo>
                  <a:pt x="335261" y="1725263"/>
                </a:lnTo>
                <a:cubicBezTo>
                  <a:pt x="338118" y="1728025"/>
                  <a:pt x="341071" y="1731073"/>
                  <a:pt x="344023" y="1734788"/>
                </a:cubicBezTo>
                <a:lnTo>
                  <a:pt x="348596" y="1739740"/>
                </a:lnTo>
                <a:cubicBezTo>
                  <a:pt x="349434" y="1740522"/>
                  <a:pt x="350234" y="1741341"/>
                  <a:pt x="350977" y="1742217"/>
                </a:cubicBezTo>
                <a:lnTo>
                  <a:pt x="353358" y="1744789"/>
                </a:lnTo>
                <a:lnTo>
                  <a:pt x="362883" y="1755266"/>
                </a:lnTo>
                <a:lnTo>
                  <a:pt x="367741" y="1760696"/>
                </a:lnTo>
                <a:cubicBezTo>
                  <a:pt x="368598" y="1761553"/>
                  <a:pt x="369360" y="1762505"/>
                  <a:pt x="370217" y="1763458"/>
                </a:cubicBezTo>
                <a:lnTo>
                  <a:pt x="372694" y="1766125"/>
                </a:lnTo>
                <a:lnTo>
                  <a:pt x="382219" y="1776888"/>
                </a:lnTo>
                <a:lnTo>
                  <a:pt x="391744" y="1787651"/>
                </a:lnTo>
                <a:lnTo>
                  <a:pt x="400602" y="1797843"/>
                </a:lnTo>
                <a:lnTo>
                  <a:pt x="404698" y="1802891"/>
                </a:lnTo>
                <a:lnTo>
                  <a:pt x="408508" y="1807654"/>
                </a:lnTo>
                <a:cubicBezTo>
                  <a:pt x="418033" y="1819846"/>
                  <a:pt x="422700" y="1827371"/>
                  <a:pt x="421175" y="1829752"/>
                </a:cubicBezTo>
                <a:cubicBezTo>
                  <a:pt x="419652" y="1832133"/>
                  <a:pt x="412413" y="1829752"/>
                  <a:pt x="399840" y="1820894"/>
                </a:cubicBezTo>
                <a:lnTo>
                  <a:pt x="397935" y="1819274"/>
                </a:lnTo>
                <a:lnTo>
                  <a:pt x="395458" y="1817369"/>
                </a:lnTo>
                <a:cubicBezTo>
                  <a:pt x="393840" y="1816131"/>
                  <a:pt x="392125" y="1814893"/>
                  <a:pt x="390505" y="1813464"/>
                </a:cubicBezTo>
                <a:cubicBezTo>
                  <a:pt x="387076" y="1810797"/>
                  <a:pt x="383648" y="1807940"/>
                  <a:pt x="380219" y="1804892"/>
                </a:cubicBezTo>
                <a:lnTo>
                  <a:pt x="374980" y="1800224"/>
                </a:lnTo>
                <a:lnTo>
                  <a:pt x="369836" y="1795176"/>
                </a:lnTo>
                <a:cubicBezTo>
                  <a:pt x="366312" y="1791652"/>
                  <a:pt x="362883" y="1788128"/>
                  <a:pt x="359549" y="1784508"/>
                </a:cubicBezTo>
                <a:cubicBezTo>
                  <a:pt x="357835" y="1782698"/>
                  <a:pt x="356215" y="1780889"/>
                  <a:pt x="354596" y="1778984"/>
                </a:cubicBezTo>
                <a:cubicBezTo>
                  <a:pt x="352977" y="1777079"/>
                  <a:pt x="351359" y="1775174"/>
                  <a:pt x="349739" y="1773173"/>
                </a:cubicBezTo>
                <a:cubicBezTo>
                  <a:pt x="346595" y="1769363"/>
                  <a:pt x="343547" y="1765458"/>
                  <a:pt x="340213" y="1761553"/>
                </a:cubicBezTo>
                <a:cubicBezTo>
                  <a:pt x="336880" y="1757648"/>
                  <a:pt x="334594" y="1753742"/>
                  <a:pt x="332022" y="1749837"/>
                </a:cubicBezTo>
                <a:cubicBezTo>
                  <a:pt x="329450" y="1745932"/>
                  <a:pt x="327165" y="1741646"/>
                  <a:pt x="325069" y="1737931"/>
                </a:cubicBezTo>
                <a:lnTo>
                  <a:pt x="322022" y="1732597"/>
                </a:lnTo>
                <a:lnTo>
                  <a:pt x="319640" y="1727739"/>
                </a:lnTo>
                <a:cubicBezTo>
                  <a:pt x="318401" y="1725139"/>
                  <a:pt x="317325" y="1722462"/>
                  <a:pt x="316402" y="1719738"/>
                </a:cubicBezTo>
                <a:cubicBezTo>
                  <a:pt x="314877" y="1715261"/>
                  <a:pt x="314688" y="1712499"/>
                  <a:pt x="315639" y="1711356"/>
                </a:cubicBezTo>
                <a:close/>
                <a:moveTo>
                  <a:pt x="4857375" y="1706528"/>
                </a:moveTo>
                <a:cubicBezTo>
                  <a:pt x="4863387" y="1708123"/>
                  <a:pt x="4865054" y="1711694"/>
                  <a:pt x="4860768" y="1716790"/>
                </a:cubicBezTo>
                <a:cubicBezTo>
                  <a:pt x="4853047" y="1723961"/>
                  <a:pt x="4844070" y="1729638"/>
                  <a:pt x="4834288" y="1733553"/>
                </a:cubicBezTo>
                <a:cubicBezTo>
                  <a:pt x="4831240" y="1734887"/>
                  <a:pt x="4828097" y="1736314"/>
                  <a:pt x="4824763" y="1737553"/>
                </a:cubicBezTo>
                <a:cubicBezTo>
                  <a:pt x="4821430" y="1738792"/>
                  <a:pt x="4818286" y="1740221"/>
                  <a:pt x="4815238" y="1741363"/>
                </a:cubicBezTo>
                <a:cubicBezTo>
                  <a:pt x="4808759" y="1743726"/>
                  <a:pt x="4802143" y="1745697"/>
                  <a:pt x="4795426" y="1747269"/>
                </a:cubicBezTo>
                <a:cubicBezTo>
                  <a:pt x="4786144" y="1749907"/>
                  <a:pt x="4776427" y="1750650"/>
                  <a:pt x="4766851" y="1749459"/>
                </a:cubicBezTo>
                <a:cubicBezTo>
                  <a:pt x="4760374" y="1748222"/>
                  <a:pt x="4757993" y="1744982"/>
                  <a:pt x="4761613" y="1740029"/>
                </a:cubicBezTo>
                <a:cubicBezTo>
                  <a:pt x="4768962" y="1732409"/>
                  <a:pt x="4777818" y="1726408"/>
                  <a:pt x="4787616" y="1722409"/>
                </a:cubicBezTo>
                <a:cubicBezTo>
                  <a:pt x="4794041" y="1719314"/>
                  <a:pt x="4800622" y="1716543"/>
                  <a:pt x="4807333" y="1714123"/>
                </a:cubicBezTo>
                <a:cubicBezTo>
                  <a:pt x="4810762" y="1712885"/>
                  <a:pt x="4814286" y="1711742"/>
                  <a:pt x="4817715" y="1710696"/>
                </a:cubicBezTo>
                <a:cubicBezTo>
                  <a:pt x="4821144" y="1709648"/>
                  <a:pt x="4824573" y="1708886"/>
                  <a:pt x="4827907" y="1708123"/>
                </a:cubicBezTo>
                <a:cubicBezTo>
                  <a:pt x="4841004" y="1705314"/>
                  <a:pt x="4851362" y="1704932"/>
                  <a:pt x="4857375" y="1706528"/>
                </a:cubicBezTo>
                <a:close/>
                <a:moveTo>
                  <a:pt x="4627787" y="1704123"/>
                </a:moveTo>
                <a:cubicBezTo>
                  <a:pt x="4632808" y="1703389"/>
                  <a:pt x="4637910" y="1703389"/>
                  <a:pt x="4642931" y="1704123"/>
                </a:cubicBezTo>
                <a:cubicBezTo>
                  <a:pt x="4650647" y="1705551"/>
                  <a:pt x="4653123" y="1709743"/>
                  <a:pt x="4649027" y="1716408"/>
                </a:cubicBezTo>
                <a:cubicBezTo>
                  <a:pt x="4642332" y="1724769"/>
                  <a:pt x="4633834" y="1731513"/>
                  <a:pt x="4624167" y="1736123"/>
                </a:cubicBezTo>
                <a:cubicBezTo>
                  <a:pt x="4610925" y="1743315"/>
                  <a:pt x="4596935" y="1749031"/>
                  <a:pt x="4582448" y="1753173"/>
                </a:cubicBezTo>
                <a:lnTo>
                  <a:pt x="4576733" y="1754697"/>
                </a:lnTo>
                <a:lnTo>
                  <a:pt x="4573589" y="1755460"/>
                </a:lnTo>
                <a:lnTo>
                  <a:pt x="4570541" y="1756222"/>
                </a:lnTo>
                <a:cubicBezTo>
                  <a:pt x="4566446" y="1757173"/>
                  <a:pt x="4562636" y="1757935"/>
                  <a:pt x="4559207" y="1758507"/>
                </a:cubicBezTo>
                <a:cubicBezTo>
                  <a:pt x="4553494" y="1759575"/>
                  <a:pt x="4547675" y="1759955"/>
                  <a:pt x="4541871" y="1759650"/>
                </a:cubicBezTo>
                <a:cubicBezTo>
                  <a:pt x="4533013" y="1758888"/>
                  <a:pt x="4529584" y="1755173"/>
                  <a:pt x="4533680" y="1748507"/>
                </a:cubicBezTo>
                <a:cubicBezTo>
                  <a:pt x="4541392" y="1739153"/>
                  <a:pt x="4551175" y="1731713"/>
                  <a:pt x="4562255" y="1726789"/>
                </a:cubicBezTo>
                <a:lnTo>
                  <a:pt x="4567684" y="1724027"/>
                </a:lnTo>
                <a:lnTo>
                  <a:pt x="4572637" y="1721551"/>
                </a:lnTo>
                <a:cubicBezTo>
                  <a:pt x="4575971" y="1719933"/>
                  <a:pt x="4579495" y="1718313"/>
                  <a:pt x="4583210" y="1716885"/>
                </a:cubicBezTo>
                <a:cubicBezTo>
                  <a:pt x="4590634" y="1713770"/>
                  <a:pt x="4598235" y="1711104"/>
                  <a:pt x="4605974" y="1708885"/>
                </a:cubicBezTo>
                <a:cubicBezTo>
                  <a:pt x="4613122" y="1706780"/>
                  <a:pt x="4620411" y="1705189"/>
                  <a:pt x="4627787" y="1704123"/>
                </a:cubicBezTo>
                <a:close/>
                <a:moveTo>
                  <a:pt x="4221379" y="1702123"/>
                </a:moveTo>
                <a:cubicBezTo>
                  <a:pt x="4233047" y="1703171"/>
                  <a:pt x="4238929" y="1707648"/>
                  <a:pt x="4236595" y="1715457"/>
                </a:cubicBezTo>
                <a:cubicBezTo>
                  <a:pt x="4231928" y="1731077"/>
                  <a:pt x="4198400" y="1749935"/>
                  <a:pt x="4158204" y="1761365"/>
                </a:cubicBezTo>
                <a:cubicBezTo>
                  <a:pt x="4118295" y="1772986"/>
                  <a:pt x="4088957" y="1771367"/>
                  <a:pt x="4090862" y="1757555"/>
                </a:cubicBezTo>
                <a:cubicBezTo>
                  <a:pt x="4092768" y="1743744"/>
                  <a:pt x="4128105" y="1721647"/>
                  <a:pt x="4171444" y="1709362"/>
                </a:cubicBezTo>
                <a:cubicBezTo>
                  <a:pt x="4192256" y="1703457"/>
                  <a:pt x="4209711" y="1701076"/>
                  <a:pt x="4221379" y="1702123"/>
                </a:cubicBezTo>
                <a:close/>
                <a:moveTo>
                  <a:pt x="5150233" y="1701076"/>
                </a:moveTo>
                <a:cubicBezTo>
                  <a:pt x="5153027" y="1701057"/>
                  <a:pt x="5155801" y="1701541"/>
                  <a:pt x="5158424" y="1702503"/>
                </a:cubicBezTo>
                <a:cubicBezTo>
                  <a:pt x="5162139" y="1704219"/>
                  <a:pt x="5161853" y="1707172"/>
                  <a:pt x="5156900" y="1710886"/>
                </a:cubicBezTo>
                <a:cubicBezTo>
                  <a:pt x="5149468" y="1715790"/>
                  <a:pt x="5141390" y="1719638"/>
                  <a:pt x="5132897" y="1722313"/>
                </a:cubicBezTo>
                <a:cubicBezTo>
                  <a:pt x="5122658" y="1725951"/>
                  <a:pt x="5112103" y="1728628"/>
                  <a:pt x="5101370" y="1730314"/>
                </a:cubicBezTo>
                <a:cubicBezTo>
                  <a:pt x="5081177" y="1733553"/>
                  <a:pt x="5071461" y="1730314"/>
                  <a:pt x="5080605" y="1722218"/>
                </a:cubicBezTo>
                <a:cubicBezTo>
                  <a:pt x="5083547" y="1719876"/>
                  <a:pt x="5086742" y="1717857"/>
                  <a:pt x="5090130" y="1716218"/>
                </a:cubicBezTo>
                <a:cubicBezTo>
                  <a:pt x="5094677" y="1713951"/>
                  <a:pt x="5099352" y="1711943"/>
                  <a:pt x="5104132" y="1710219"/>
                </a:cubicBezTo>
                <a:cubicBezTo>
                  <a:pt x="5114773" y="1706466"/>
                  <a:pt x="5125744" y="1703723"/>
                  <a:pt x="5136898" y="1702027"/>
                </a:cubicBezTo>
                <a:cubicBezTo>
                  <a:pt x="5141308" y="1701333"/>
                  <a:pt x="5145769" y="1701017"/>
                  <a:pt x="5150233" y="1701076"/>
                </a:cubicBezTo>
                <a:close/>
                <a:moveTo>
                  <a:pt x="3651022" y="1699241"/>
                </a:moveTo>
                <a:cubicBezTo>
                  <a:pt x="3666048" y="1700717"/>
                  <a:pt x="3675811" y="1705647"/>
                  <a:pt x="3676715" y="1713646"/>
                </a:cubicBezTo>
                <a:cubicBezTo>
                  <a:pt x="3678525" y="1729647"/>
                  <a:pt x="3645759" y="1750316"/>
                  <a:pt x="3603849" y="1761270"/>
                </a:cubicBezTo>
                <a:cubicBezTo>
                  <a:pt x="3563560" y="1771556"/>
                  <a:pt x="3527652" y="1768699"/>
                  <a:pt x="3522987" y="1754507"/>
                </a:cubicBezTo>
                <a:cubicBezTo>
                  <a:pt x="3518318" y="1740315"/>
                  <a:pt x="3549750" y="1717266"/>
                  <a:pt x="3593753" y="1705551"/>
                </a:cubicBezTo>
                <a:cubicBezTo>
                  <a:pt x="3615708" y="1699742"/>
                  <a:pt x="3635996" y="1697765"/>
                  <a:pt x="3651022" y="1699241"/>
                </a:cubicBezTo>
                <a:close/>
                <a:moveTo>
                  <a:pt x="5800124" y="1697545"/>
                </a:moveTo>
                <a:cubicBezTo>
                  <a:pt x="5807173" y="1698117"/>
                  <a:pt x="5807935" y="1700784"/>
                  <a:pt x="5801458" y="1702594"/>
                </a:cubicBezTo>
                <a:cubicBezTo>
                  <a:pt x="5792561" y="1704651"/>
                  <a:pt x="5783427" y="1705451"/>
                  <a:pt x="5774311" y="1704975"/>
                </a:cubicBezTo>
                <a:cubicBezTo>
                  <a:pt x="5768406" y="1704308"/>
                  <a:pt x="5767644" y="1702022"/>
                  <a:pt x="5772883" y="1700308"/>
                </a:cubicBezTo>
                <a:cubicBezTo>
                  <a:pt x="5781789" y="1698107"/>
                  <a:pt x="5790961" y="1697174"/>
                  <a:pt x="5800124" y="1697545"/>
                </a:cubicBezTo>
                <a:close/>
                <a:moveTo>
                  <a:pt x="5251293" y="1692121"/>
                </a:moveTo>
                <a:cubicBezTo>
                  <a:pt x="5271105" y="1690121"/>
                  <a:pt x="5277677" y="1694218"/>
                  <a:pt x="5266629" y="1701646"/>
                </a:cubicBezTo>
                <a:cubicBezTo>
                  <a:pt x="5263584" y="1703513"/>
                  <a:pt x="5260399" y="1705132"/>
                  <a:pt x="5257104" y="1706504"/>
                </a:cubicBezTo>
                <a:cubicBezTo>
                  <a:pt x="5253389" y="1708029"/>
                  <a:pt x="5249102" y="1709647"/>
                  <a:pt x="5244626" y="1711076"/>
                </a:cubicBezTo>
                <a:cubicBezTo>
                  <a:pt x="5235294" y="1713952"/>
                  <a:pt x="5225735" y="1716018"/>
                  <a:pt x="5216051" y="1717266"/>
                </a:cubicBezTo>
                <a:cubicBezTo>
                  <a:pt x="5209515" y="1718600"/>
                  <a:pt x="5202775" y="1718600"/>
                  <a:pt x="5196239" y="1717266"/>
                </a:cubicBezTo>
                <a:cubicBezTo>
                  <a:pt x="5193096" y="1715075"/>
                  <a:pt x="5193572" y="1712505"/>
                  <a:pt x="5198525" y="1708885"/>
                </a:cubicBezTo>
                <a:cubicBezTo>
                  <a:pt x="5205430" y="1704323"/>
                  <a:pt x="5213018" y="1700876"/>
                  <a:pt x="5221004" y="1698693"/>
                </a:cubicBezTo>
                <a:cubicBezTo>
                  <a:pt x="5230867" y="1695542"/>
                  <a:pt x="5241010" y="1693341"/>
                  <a:pt x="5251293" y="1692121"/>
                </a:cubicBezTo>
                <a:close/>
                <a:moveTo>
                  <a:pt x="5693920" y="1688877"/>
                </a:moveTo>
                <a:cubicBezTo>
                  <a:pt x="5704112" y="1688877"/>
                  <a:pt x="5707160" y="1692115"/>
                  <a:pt x="5700207" y="1694878"/>
                </a:cubicBezTo>
                <a:cubicBezTo>
                  <a:pt x="5695111" y="1696535"/>
                  <a:pt x="5689891" y="1697754"/>
                  <a:pt x="5684586" y="1698497"/>
                </a:cubicBezTo>
                <a:cubicBezTo>
                  <a:pt x="5678633" y="1699497"/>
                  <a:pt x="5672613" y="1700040"/>
                  <a:pt x="5666583" y="1700117"/>
                </a:cubicBezTo>
                <a:cubicBezTo>
                  <a:pt x="5656677" y="1699926"/>
                  <a:pt x="5653439" y="1697069"/>
                  <a:pt x="5660106" y="1694211"/>
                </a:cubicBezTo>
                <a:cubicBezTo>
                  <a:pt x="5671051" y="1690773"/>
                  <a:pt x="5682443" y="1688972"/>
                  <a:pt x="5693920" y="1688877"/>
                </a:cubicBezTo>
                <a:close/>
                <a:moveTo>
                  <a:pt x="5366546" y="1684788"/>
                </a:moveTo>
                <a:cubicBezTo>
                  <a:pt x="5383976" y="1683644"/>
                  <a:pt x="5388263" y="1687264"/>
                  <a:pt x="5377309" y="1693551"/>
                </a:cubicBezTo>
                <a:cubicBezTo>
                  <a:pt x="5370306" y="1697226"/>
                  <a:pt x="5362841" y="1699950"/>
                  <a:pt x="5355116" y="1701646"/>
                </a:cubicBezTo>
                <a:cubicBezTo>
                  <a:pt x="5350734" y="1702693"/>
                  <a:pt x="5346162" y="1703741"/>
                  <a:pt x="5341495" y="1704600"/>
                </a:cubicBezTo>
                <a:cubicBezTo>
                  <a:pt x="5336952" y="1705370"/>
                  <a:pt x="5332375" y="1705903"/>
                  <a:pt x="5327779" y="1706218"/>
                </a:cubicBezTo>
                <a:cubicBezTo>
                  <a:pt x="5311205" y="1707362"/>
                  <a:pt x="5307110" y="1703741"/>
                  <a:pt x="5318254" y="1697455"/>
                </a:cubicBezTo>
                <a:cubicBezTo>
                  <a:pt x="5325085" y="1693798"/>
                  <a:pt x="5332350" y="1691016"/>
                  <a:pt x="5339876" y="1689169"/>
                </a:cubicBezTo>
                <a:lnTo>
                  <a:pt x="5346448" y="1687550"/>
                </a:lnTo>
                <a:cubicBezTo>
                  <a:pt x="5348639" y="1687550"/>
                  <a:pt x="5350925" y="1686597"/>
                  <a:pt x="5353211" y="1686311"/>
                </a:cubicBezTo>
                <a:cubicBezTo>
                  <a:pt x="5357627" y="1685588"/>
                  <a:pt x="5362078" y="1685073"/>
                  <a:pt x="5366546" y="1684788"/>
                </a:cubicBezTo>
                <a:close/>
                <a:moveTo>
                  <a:pt x="4983248" y="1684454"/>
                </a:moveTo>
                <a:cubicBezTo>
                  <a:pt x="4988236" y="1686216"/>
                  <a:pt x="4988879" y="1689740"/>
                  <a:pt x="4984021" y="1694503"/>
                </a:cubicBezTo>
                <a:cubicBezTo>
                  <a:pt x="4976224" y="1701095"/>
                  <a:pt x="4967324" y="1706247"/>
                  <a:pt x="4957732" y="1709743"/>
                </a:cubicBezTo>
                <a:cubicBezTo>
                  <a:pt x="4951922" y="1712219"/>
                  <a:pt x="4945636" y="1714409"/>
                  <a:pt x="4939349" y="1716409"/>
                </a:cubicBezTo>
                <a:cubicBezTo>
                  <a:pt x="4933063" y="1718409"/>
                  <a:pt x="4926490" y="1720124"/>
                  <a:pt x="4920299" y="1721361"/>
                </a:cubicBezTo>
                <a:cubicBezTo>
                  <a:pt x="4896010" y="1726122"/>
                  <a:pt x="4883152" y="1722409"/>
                  <a:pt x="4891534" y="1712885"/>
                </a:cubicBezTo>
                <a:cubicBezTo>
                  <a:pt x="4899125" y="1706047"/>
                  <a:pt x="4907906" y="1700656"/>
                  <a:pt x="4917442" y="1696980"/>
                </a:cubicBezTo>
                <a:cubicBezTo>
                  <a:pt x="4920394" y="1695646"/>
                  <a:pt x="4923442" y="1694408"/>
                  <a:pt x="4926967" y="1693264"/>
                </a:cubicBezTo>
                <a:lnTo>
                  <a:pt x="4931729" y="1691454"/>
                </a:lnTo>
                <a:lnTo>
                  <a:pt x="4936587" y="1689931"/>
                </a:lnTo>
                <a:cubicBezTo>
                  <a:pt x="4943099" y="1687930"/>
                  <a:pt x="4949712" y="1686283"/>
                  <a:pt x="4956399" y="1684978"/>
                </a:cubicBezTo>
                <a:cubicBezTo>
                  <a:pt x="4968925" y="1682692"/>
                  <a:pt x="4978259" y="1682692"/>
                  <a:pt x="4983248" y="1684454"/>
                </a:cubicBezTo>
                <a:close/>
                <a:moveTo>
                  <a:pt x="5589240" y="1683070"/>
                </a:moveTo>
                <a:cubicBezTo>
                  <a:pt x="5602384" y="1683070"/>
                  <a:pt x="5606004" y="1686785"/>
                  <a:pt x="5596765" y="1690594"/>
                </a:cubicBezTo>
                <a:cubicBezTo>
                  <a:pt x="5590573" y="1692795"/>
                  <a:pt x="5584201" y="1694424"/>
                  <a:pt x="5577715" y="1695453"/>
                </a:cubicBezTo>
                <a:cubicBezTo>
                  <a:pt x="5574095" y="1696024"/>
                  <a:pt x="5570285" y="1696691"/>
                  <a:pt x="5566761" y="1697072"/>
                </a:cubicBezTo>
                <a:cubicBezTo>
                  <a:pt x="5563599" y="1697453"/>
                  <a:pt x="5560417" y="1697672"/>
                  <a:pt x="5557236" y="1697739"/>
                </a:cubicBezTo>
                <a:cubicBezTo>
                  <a:pt x="5545425" y="1697929"/>
                  <a:pt x="5541424" y="1694595"/>
                  <a:pt x="5549616" y="1690881"/>
                </a:cubicBezTo>
                <a:cubicBezTo>
                  <a:pt x="5555474" y="1688471"/>
                  <a:pt x="5561579" y="1686680"/>
                  <a:pt x="5567809" y="1685547"/>
                </a:cubicBezTo>
                <a:lnTo>
                  <a:pt x="5573428" y="1684499"/>
                </a:lnTo>
                <a:lnTo>
                  <a:pt x="5578953" y="1683832"/>
                </a:lnTo>
                <a:cubicBezTo>
                  <a:pt x="5582668" y="1683356"/>
                  <a:pt x="5586192" y="1683165"/>
                  <a:pt x="5589240" y="1683070"/>
                </a:cubicBezTo>
                <a:close/>
                <a:moveTo>
                  <a:pt x="5474750" y="1682595"/>
                </a:moveTo>
                <a:cubicBezTo>
                  <a:pt x="5489894" y="1681737"/>
                  <a:pt x="5495133" y="1685453"/>
                  <a:pt x="5486180" y="1690215"/>
                </a:cubicBezTo>
                <a:cubicBezTo>
                  <a:pt x="5472064" y="1696226"/>
                  <a:pt x="5457014" y="1699769"/>
                  <a:pt x="5441698" y="1700692"/>
                </a:cubicBezTo>
                <a:cubicBezTo>
                  <a:pt x="5426934" y="1701740"/>
                  <a:pt x="5421314" y="1698311"/>
                  <a:pt x="5429792" y="1693453"/>
                </a:cubicBezTo>
                <a:cubicBezTo>
                  <a:pt x="5436088" y="1690234"/>
                  <a:pt x="5442784" y="1687862"/>
                  <a:pt x="5449699" y="1686405"/>
                </a:cubicBezTo>
                <a:cubicBezTo>
                  <a:pt x="5457929" y="1684434"/>
                  <a:pt x="5466311" y="1683157"/>
                  <a:pt x="5474750" y="1682595"/>
                </a:cubicBezTo>
                <a:close/>
                <a:moveTo>
                  <a:pt x="2852751" y="1682216"/>
                </a:moveTo>
                <a:cubicBezTo>
                  <a:pt x="2866257" y="1682587"/>
                  <a:pt x="2879153" y="1687950"/>
                  <a:pt x="2888945" y="1697266"/>
                </a:cubicBezTo>
                <a:cubicBezTo>
                  <a:pt x="2900946" y="1712981"/>
                  <a:pt x="2876850" y="1732219"/>
                  <a:pt x="2834368" y="1741267"/>
                </a:cubicBezTo>
                <a:cubicBezTo>
                  <a:pt x="2815613" y="1745363"/>
                  <a:pt x="2796325" y="1746487"/>
                  <a:pt x="2777218" y="1744602"/>
                </a:cubicBezTo>
                <a:cubicBezTo>
                  <a:pt x="2763559" y="1744192"/>
                  <a:pt x="2750443" y="1739192"/>
                  <a:pt x="2739975" y="1730409"/>
                </a:cubicBezTo>
                <a:cubicBezTo>
                  <a:pt x="2732833" y="1722504"/>
                  <a:pt x="2735212" y="1713552"/>
                  <a:pt x="2744927" y="1705456"/>
                </a:cubicBezTo>
                <a:cubicBezTo>
                  <a:pt x="2759491" y="1695094"/>
                  <a:pt x="2776237" y="1688216"/>
                  <a:pt x="2793888" y="1685360"/>
                </a:cubicBezTo>
                <a:cubicBezTo>
                  <a:pt x="2813213" y="1681139"/>
                  <a:pt x="2833092" y="1680073"/>
                  <a:pt x="2852751" y="1682216"/>
                </a:cubicBezTo>
                <a:close/>
                <a:moveTo>
                  <a:pt x="442799" y="1681734"/>
                </a:moveTo>
                <a:cubicBezTo>
                  <a:pt x="444609" y="1679258"/>
                  <a:pt x="451753" y="1682210"/>
                  <a:pt x="462515" y="1690688"/>
                </a:cubicBezTo>
                <a:cubicBezTo>
                  <a:pt x="468040" y="1694783"/>
                  <a:pt x="473851" y="1699736"/>
                  <a:pt x="479851" y="1705166"/>
                </a:cubicBezTo>
                <a:cubicBezTo>
                  <a:pt x="482804" y="1707737"/>
                  <a:pt x="485852" y="1710404"/>
                  <a:pt x="488899" y="1713262"/>
                </a:cubicBezTo>
                <a:lnTo>
                  <a:pt x="493471" y="1717548"/>
                </a:lnTo>
                <a:cubicBezTo>
                  <a:pt x="494995" y="1719072"/>
                  <a:pt x="496519" y="1720596"/>
                  <a:pt x="498044" y="1721930"/>
                </a:cubicBezTo>
                <a:lnTo>
                  <a:pt x="507569" y="1730693"/>
                </a:lnTo>
                <a:cubicBezTo>
                  <a:pt x="510521" y="1733645"/>
                  <a:pt x="513378" y="1736693"/>
                  <a:pt x="516141" y="1739551"/>
                </a:cubicBezTo>
                <a:cubicBezTo>
                  <a:pt x="521761" y="1745266"/>
                  <a:pt x="527000" y="1751076"/>
                  <a:pt x="531381" y="1756505"/>
                </a:cubicBezTo>
                <a:cubicBezTo>
                  <a:pt x="540239" y="1766983"/>
                  <a:pt x="543858" y="1773936"/>
                  <a:pt x="542049" y="1776603"/>
                </a:cubicBezTo>
                <a:cubicBezTo>
                  <a:pt x="540239" y="1779270"/>
                  <a:pt x="532143" y="1777651"/>
                  <a:pt x="520141" y="1771650"/>
                </a:cubicBezTo>
                <a:cubicBezTo>
                  <a:pt x="513560" y="1767954"/>
                  <a:pt x="507207" y="1763887"/>
                  <a:pt x="501091" y="1759458"/>
                </a:cubicBezTo>
                <a:cubicBezTo>
                  <a:pt x="494614" y="1754505"/>
                  <a:pt x="488042" y="1748885"/>
                  <a:pt x="482042" y="1743075"/>
                </a:cubicBezTo>
                <a:cubicBezTo>
                  <a:pt x="475842" y="1737036"/>
                  <a:pt x="469964" y="1730674"/>
                  <a:pt x="464420" y="1724025"/>
                </a:cubicBezTo>
                <a:cubicBezTo>
                  <a:pt x="459420" y="1717958"/>
                  <a:pt x="454771" y="1711595"/>
                  <a:pt x="450514" y="1704975"/>
                </a:cubicBezTo>
                <a:cubicBezTo>
                  <a:pt x="442799" y="1692021"/>
                  <a:pt x="440989" y="1684211"/>
                  <a:pt x="442799" y="1681734"/>
                </a:cubicBezTo>
                <a:close/>
                <a:moveTo>
                  <a:pt x="4537037" y="1679430"/>
                </a:moveTo>
                <a:cubicBezTo>
                  <a:pt x="4546848" y="1680573"/>
                  <a:pt x="4550634" y="1685026"/>
                  <a:pt x="4545967" y="1692597"/>
                </a:cubicBezTo>
                <a:cubicBezTo>
                  <a:pt x="4536632" y="1707742"/>
                  <a:pt x="4501961" y="1725551"/>
                  <a:pt x="4465099" y="1736219"/>
                </a:cubicBezTo>
                <a:cubicBezTo>
                  <a:pt x="4428238" y="1746888"/>
                  <a:pt x="4404806" y="1744506"/>
                  <a:pt x="4411378" y="1730886"/>
                </a:cubicBezTo>
                <a:cubicBezTo>
                  <a:pt x="4417951" y="1717076"/>
                  <a:pt x="4453098" y="1697455"/>
                  <a:pt x="4491960" y="1686121"/>
                </a:cubicBezTo>
                <a:cubicBezTo>
                  <a:pt x="4511391" y="1680453"/>
                  <a:pt x="4527226" y="1678287"/>
                  <a:pt x="4537037" y="1679430"/>
                </a:cubicBezTo>
                <a:close/>
                <a:moveTo>
                  <a:pt x="2157508" y="1675928"/>
                </a:moveTo>
                <a:cubicBezTo>
                  <a:pt x="2167804" y="1676300"/>
                  <a:pt x="2178053" y="1677443"/>
                  <a:pt x="2188178" y="1679357"/>
                </a:cubicBezTo>
                <a:cubicBezTo>
                  <a:pt x="2207229" y="1683072"/>
                  <a:pt x="2222660" y="1688882"/>
                  <a:pt x="2228755" y="1696883"/>
                </a:cubicBezTo>
                <a:cubicBezTo>
                  <a:pt x="2234852" y="1704884"/>
                  <a:pt x="2232470" y="1712408"/>
                  <a:pt x="2224184" y="1719075"/>
                </a:cubicBezTo>
                <a:cubicBezTo>
                  <a:pt x="2212154" y="1727360"/>
                  <a:pt x="2198160" y="1732351"/>
                  <a:pt x="2183606" y="1733551"/>
                </a:cubicBezTo>
                <a:cubicBezTo>
                  <a:pt x="2163213" y="1735971"/>
                  <a:pt x="2142572" y="1735352"/>
                  <a:pt x="2122361" y="1731742"/>
                </a:cubicBezTo>
                <a:cubicBezTo>
                  <a:pt x="2107226" y="1730113"/>
                  <a:pt x="2092871" y="1724160"/>
                  <a:pt x="2081023" y="1714598"/>
                </a:cubicBezTo>
                <a:cubicBezTo>
                  <a:pt x="2075384" y="1708932"/>
                  <a:pt x="2075403" y="1699769"/>
                  <a:pt x="2081070" y="1694121"/>
                </a:cubicBezTo>
                <a:cubicBezTo>
                  <a:pt x="2081966" y="1693235"/>
                  <a:pt x="2082975" y="1692464"/>
                  <a:pt x="2084071" y="1691835"/>
                </a:cubicBezTo>
                <a:cubicBezTo>
                  <a:pt x="2096291" y="1683197"/>
                  <a:pt x="2110665" y="1678119"/>
                  <a:pt x="2125599" y="1677166"/>
                </a:cubicBezTo>
                <a:cubicBezTo>
                  <a:pt x="2136181" y="1675890"/>
                  <a:pt x="2146859" y="1675481"/>
                  <a:pt x="2157508" y="1675928"/>
                </a:cubicBezTo>
                <a:close/>
                <a:moveTo>
                  <a:pt x="4778675" y="1675203"/>
                </a:moveTo>
                <a:cubicBezTo>
                  <a:pt x="4785426" y="1677144"/>
                  <a:pt x="4787426" y="1681406"/>
                  <a:pt x="4782568" y="1687264"/>
                </a:cubicBezTo>
                <a:cubicBezTo>
                  <a:pt x="4774302" y="1695322"/>
                  <a:pt x="4764613" y="1701779"/>
                  <a:pt x="4753993" y="1706313"/>
                </a:cubicBezTo>
                <a:cubicBezTo>
                  <a:pt x="4741025" y="1712818"/>
                  <a:pt x="4727388" y="1717895"/>
                  <a:pt x="4713321" y="1721456"/>
                </a:cubicBezTo>
                <a:cubicBezTo>
                  <a:pt x="4707211" y="1722913"/>
                  <a:pt x="4701004" y="1723933"/>
                  <a:pt x="4694748" y="1724504"/>
                </a:cubicBezTo>
                <a:cubicBezTo>
                  <a:pt x="4690303" y="1725008"/>
                  <a:pt x="4685809" y="1724846"/>
                  <a:pt x="4681413" y="1724027"/>
                </a:cubicBezTo>
                <a:cubicBezTo>
                  <a:pt x="4674555" y="1722504"/>
                  <a:pt x="4671888" y="1718695"/>
                  <a:pt x="4676174" y="1712981"/>
                </a:cubicBezTo>
                <a:cubicBezTo>
                  <a:pt x="4684746" y="1700694"/>
                  <a:pt x="4717989" y="1683929"/>
                  <a:pt x="4746278" y="1677073"/>
                </a:cubicBezTo>
                <a:cubicBezTo>
                  <a:pt x="4760423" y="1673643"/>
                  <a:pt x="4771924" y="1673263"/>
                  <a:pt x="4778675" y="1675203"/>
                </a:cubicBezTo>
                <a:close/>
                <a:moveTo>
                  <a:pt x="354" y="1674780"/>
                </a:moveTo>
                <a:cubicBezTo>
                  <a:pt x="1402" y="1674304"/>
                  <a:pt x="4926" y="1680305"/>
                  <a:pt x="10927" y="1692783"/>
                </a:cubicBezTo>
                <a:cubicBezTo>
                  <a:pt x="14356" y="1699355"/>
                  <a:pt x="17975" y="1706879"/>
                  <a:pt x="21786" y="1714880"/>
                </a:cubicBezTo>
                <a:cubicBezTo>
                  <a:pt x="25596" y="1722882"/>
                  <a:pt x="29501" y="1731549"/>
                  <a:pt x="33787" y="1740026"/>
                </a:cubicBezTo>
                <a:lnTo>
                  <a:pt x="46074" y="1765649"/>
                </a:lnTo>
                <a:lnTo>
                  <a:pt x="47598" y="1768792"/>
                </a:lnTo>
                <a:lnTo>
                  <a:pt x="49027" y="1771840"/>
                </a:lnTo>
                <a:lnTo>
                  <a:pt x="52075" y="1777841"/>
                </a:lnTo>
                <a:lnTo>
                  <a:pt x="57600" y="1789271"/>
                </a:lnTo>
                <a:cubicBezTo>
                  <a:pt x="61029" y="1796510"/>
                  <a:pt x="63505" y="1802034"/>
                  <a:pt x="64934" y="1805844"/>
                </a:cubicBezTo>
                <a:cubicBezTo>
                  <a:pt x="66363" y="1809654"/>
                  <a:pt x="66934" y="1811654"/>
                  <a:pt x="66363" y="1812036"/>
                </a:cubicBezTo>
                <a:cubicBezTo>
                  <a:pt x="65791" y="1812417"/>
                  <a:pt x="64077" y="1811083"/>
                  <a:pt x="61505" y="1807940"/>
                </a:cubicBezTo>
                <a:cubicBezTo>
                  <a:pt x="58933" y="1804796"/>
                  <a:pt x="55028" y="1800225"/>
                  <a:pt x="50742" y="1792986"/>
                </a:cubicBezTo>
                <a:cubicBezTo>
                  <a:pt x="48551" y="1789652"/>
                  <a:pt x="46265" y="1786128"/>
                  <a:pt x="43979" y="1782413"/>
                </a:cubicBezTo>
                <a:cubicBezTo>
                  <a:pt x="41693" y="1778698"/>
                  <a:pt x="39312" y="1774793"/>
                  <a:pt x="37121" y="1770697"/>
                </a:cubicBezTo>
                <a:cubicBezTo>
                  <a:pt x="32644" y="1762505"/>
                  <a:pt x="28167" y="1753933"/>
                  <a:pt x="23976" y="1745265"/>
                </a:cubicBezTo>
                <a:cubicBezTo>
                  <a:pt x="19785" y="1736598"/>
                  <a:pt x="16166" y="1727834"/>
                  <a:pt x="12832" y="1719453"/>
                </a:cubicBezTo>
                <a:cubicBezTo>
                  <a:pt x="9498" y="1711071"/>
                  <a:pt x="6736" y="1703070"/>
                  <a:pt x="4546" y="1696021"/>
                </a:cubicBezTo>
                <a:cubicBezTo>
                  <a:pt x="545" y="1682305"/>
                  <a:pt x="-693" y="1675257"/>
                  <a:pt x="354" y="1674780"/>
                </a:cubicBezTo>
                <a:close/>
                <a:moveTo>
                  <a:pt x="4059632" y="1674678"/>
                </a:moveTo>
                <a:cubicBezTo>
                  <a:pt x="4073455" y="1675786"/>
                  <a:pt x="4081909" y="1680263"/>
                  <a:pt x="4080956" y="1687739"/>
                </a:cubicBezTo>
                <a:cubicBezTo>
                  <a:pt x="4079051" y="1702695"/>
                  <a:pt x="4041713" y="1725836"/>
                  <a:pt x="4002565" y="1736505"/>
                </a:cubicBezTo>
                <a:cubicBezTo>
                  <a:pt x="3963418" y="1747172"/>
                  <a:pt x="3930556" y="1745172"/>
                  <a:pt x="3929223" y="1731933"/>
                </a:cubicBezTo>
                <a:cubicBezTo>
                  <a:pt x="3927889" y="1718695"/>
                  <a:pt x="3964751" y="1694027"/>
                  <a:pt x="4006090" y="1681834"/>
                </a:cubicBezTo>
                <a:cubicBezTo>
                  <a:pt x="4026616" y="1675833"/>
                  <a:pt x="4045809" y="1673571"/>
                  <a:pt x="4059632" y="1674678"/>
                </a:cubicBezTo>
                <a:close/>
                <a:moveTo>
                  <a:pt x="5886611" y="1669828"/>
                </a:moveTo>
                <a:cubicBezTo>
                  <a:pt x="5891240" y="1669475"/>
                  <a:pt x="5895888" y="1669504"/>
                  <a:pt x="5900517" y="1669923"/>
                </a:cubicBezTo>
                <a:cubicBezTo>
                  <a:pt x="5907661" y="1670685"/>
                  <a:pt x="5908899" y="1673161"/>
                  <a:pt x="5903089" y="1674876"/>
                </a:cubicBezTo>
                <a:cubicBezTo>
                  <a:pt x="5898441" y="1676028"/>
                  <a:pt x="5893688" y="1676705"/>
                  <a:pt x="5888897" y="1676876"/>
                </a:cubicBezTo>
                <a:lnTo>
                  <a:pt x="5880896" y="1676876"/>
                </a:lnTo>
                <a:cubicBezTo>
                  <a:pt x="5878324" y="1676876"/>
                  <a:pt x="5876038" y="1676876"/>
                  <a:pt x="5874133" y="1676876"/>
                </a:cubicBezTo>
                <a:cubicBezTo>
                  <a:pt x="5867466" y="1676019"/>
                  <a:pt x="5866989" y="1673542"/>
                  <a:pt x="5873276" y="1671828"/>
                </a:cubicBezTo>
                <a:cubicBezTo>
                  <a:pt x="5877657" y="1670780"/>
                  <a:pt x="5882115" y="1670113"/>
                  <a:pt x="5886611" y="1669828"/>
                </a:cubicBezTo>
                <a:close/>
                <a:moveTo>
                  <a:pt x="5094417" y="1667071"/>
                </a:moveTo>
                <a:cubicBezTo>
                  <a:pt x="5097638" y="1666967"/>
                  <a:pt x="5100854" y="1667386"/>
                  <a:pt x="5103942" y="1668310"/>
                </a:cubicBezTo>
                <a:cubicBezTo>
                  <a:pt x="5108418" y="1669929"/>
                  <a:pt x="5108514" y="1673071"/>
                  <a:pt x="5103942" y="1677834"/>
                </a:cubicBezTo>
                <a:cubicBezTo>
                  <a:pt x="5096434" y="1683721"/>
                  <a:pt x="5088001" y="1688331"/>
                  <a:pt x="5078986" y="1691456"/>
                </a:cubicBezTo>
                <a:cubicBezTo>
                  <a:pt x="5067493" y="1695818"/>
                  <a:pt x="5055590" y="1699009"/>
                  <a:pt x="5043458" y="1700981"/>
                </a:cubicBezTo>
                <a:cubicBezTo>
                  <a:pt x="5019741" y="1705266"/>
                  <a:pt x="5009454" y="1701742"/>
                  <a:pt x="5019074" y="1692502"/>
                </a:cubicBezTo>
                <a:cubicBezTo>
                  <a:pt x="5026221" y="1686550"/>
                  <a:pt x="5034341" y="1681883"/>
                  <a:pt x="5043077" y="1678692"/>
                </a:cubicBezTo>
                <a:cubicBezTo>
                  <a:pt x="5054517" y="1674281"/>
                  <a:pt x="5066349" y="1670966"/>
                  <a:pt x="5078415" y="1668785"/>
                </a:cubicBezTo>
                <a:cubicBezTo>
                  <a:pt x="5083702" y="1667842"/>
                  <a:pt x="5089049" y="1667272"/>
                  <a:pt x="5094417" y="1667071"/>
                </a:cubicBezTo>
                <a:close/>
                <a:moveTo>
                  <a:pt x="3406720" y="1666524"/>
                </a:moveTo>
                <a:cubicBezTo>
                  <a:pt x="3422065" y="1668357"/>
                  <a:pt x="3432464" y="1673643"/>
                  <a:pt x="3435085" y="1681930"/>
                </a:cubicBezTo>
                <a:cubicBezTo>
                  <a:pt x="3440321" y="1698503"/>
                  <a:pt x="3411564" y="1717838"/>
                  <a:pt x="3368428" y="1728504"/>
                </a:cubicBezTo>
                <a:cubicBezTo>
                  <a:pt x="3325289" y="1739172"/>
                  <a:pt x="3289855" y="1735171"/>
                  <a:pt x="3282809" y="1719457"/>
                </a:cubicBezTo>
                <a:cubicBezTo>
                  <a:pt x="3275570" y="1703552"/>
                  <a:pt x="3303952" y="1682883"/>
                  <a:pt x="3348715" y="1671834"/>
                </a:cubicBezTo>
                <a:cubicBezTo>
                  <a:pt x="3371095" y="1666309"/>
                  <a:pt x="3391376" y="1664690"/>
                  <a:pt x="3406720" y="1666524"/>
                </a:cubicBezTo>
                <a:close/>
                <a:moveTo>
                  <a:pt x="5793171" y="1655922"/>
                </a:moveTo>
                <a:cubicBezTo>
                  <a:pt x="5803553" y="1656398"/>
                  <a:pt x="5806411" y="1659351"/>
                  <a:pt x="5799362" y="1662113"/>
                </a:cubicBezTo>
                <a:cubicBezTo>
                  <a:pt x="5787685" y="1665389"/>
                  <a:pt x="5775578" y="1666866"/>
                  <a:pt x="5763453" y="1666494"/>
                </a:cubicBezTo>
                <a:cubicBezTo>
                  <a:pt x="5753737" y="1666018"/>
                  <a:pt x="5751547" y="1663065"/>
                  <a:pt x="5758881" y="1660303"/>
                </a:cubicBezTo>
                <a:cubicBezTo>
                  <a:pt x="5764082" y="1658589"/>
                  <a:pt x="5769444" y="1657407"/>
                  <a:pt x="5774883" y="1656779"/>
                </a:cubicBezTo>
                <a:cubicBezTo>
                  <a:pt x="5780941" y="1655998"/>
                  <a:pt x="5787066" y="1655712"/>
                  <a:pt x="5793171" y="1655922"/>
                </a:cubicBezTo>
                <a:close/>
                <a:moveTo>
                  <a:pt x="5204049" y="1654306"/>
                </a:moveTo>
                <a:cubicBezTo>
                  <a:pt x="5225862" y="1651639"/>
                  <a:pt x="5235672" y="1656878"/>
                  <a:pt x="5224242" y="1664785"/>
                </a:cubicBezTo>
                <a:cubicBezTo>
                  <a:pt x="5216197" y="1669738"/>
                  <a:pt x="5207555" y="1673634"/>
                  <a:pt x="5198525" y="1676405"/>
                </a:cubicBezTo>
                <a:cubicBezTo>
                  <a:pt x="5187967" y="1680025"/>
                  <a:pt x="5177093" y="1682635"/>
                  <a:pt x="5166044" y="1684216"/>
                </a:cubicBezTo>
                <a:cubicBezTo>
                  <a:pt x="5159024" y="1685558"/>
                  <a:pt x="5151787" y="1685273"/>
                  <a:pt x="5144899" y="1683359"/>
                </a:cubicBezTo>
                <a:cubicBezTo>
                  <a:pt x="5140708" y="1681454"/>
                  <a:pt x="5140613" y="1678501"/>
                  <a:pt x="5145280" y="1674595"/>
                </a:cubicBezTo>
                <a:cubicBezTo>
                  <a:pt x="5153029" y="1669384"/>
                  <a:pt x="5161501" y="1665337"/>
                  <a:pt x="5170426" y="1662593"/>
                </a:cubicBezTo>
                <a:cubicBezTo>
                  <a:pt x="5175855" y="1660784"/>
                  <a:pt x="5181666" y="1658975"/>
                  <a:pt x="5187381" y="1657545"/>
                </a:cubicBezTo>
                <a:cubicBezTo>
                  <a:pt x="5192859" y="1656097"/>
                  <a:pt x="5198428" y="1655021"/>
                  <a:pt x="5204049" y="1654306"/>
                </a:cubicBezTo>
                <a:close/>
                <a:moveTo>
                  <a:pt x="4411259" y="1651818"/>
                </a:moveTo>
                <a:cubicBezTo>
                  <a:pt x="4421927" y="1653117"/>
                  <a:pt x="4426857" y="1657641"/>
                  <a:pt x="4423761" y="1664880"/>
                </a:cubicBezTo>
                <a:cubicBezTo>
                  <a:pt x="4417570" y="1679358"/>
                  <a:pt x="4379184" y="1701361"/>
                  <a:pt x="4341179" y="1712505"/>
                </a:cubicBezTo>
                <a:cubicBezTo>
                  <a:pt x="4303174" y="1723647"/>
                  <a:pt x="4276695" y="1720217"/>
                  <a:pt x="4281076" y="1706600"/>
                </a:cubicBezTo>
                <a:cubicBezTo>
                  <a:pt x="4285744" y="1692216"/>
                  <a:pt x="4324606" y="1669453"/>
                  <a:pt x="4364325" y="1658118"/>
                </a:cubicBezTo>
                <a:cubicBezTo>
                  <a:pt x="4384185" y="1652450"/>
                  <a:pt x="4400591" y="1650521"/>
                  <a:pt x="4411259" y="1651818"/>
                </a:cubicBezTo>
                <a:close/>
                <a:moveTo>
                  <a:pt x="4913263" y="1648617"/>
                </a:moveTo>
                <a:cubicBezTo>
                  <a:pt x="4919371" y="1650331"/>
                  <a:pt x="4920300" y="1654355"/>
                  <a:pt x="4914870" y="1660309"/>
                </a:cubicBezTo>
                <a:cubicBezTo>
                  <a:pt x="4907260" y="1667643"/>
                  <a:pt x="4898300" y="1673433"/>
                  <a:pt x="4888486" y="1677359"/>
                </a:cubicBezTo>
                <a:cubicBezTo>
                  <a:pt x="4882267" y="1680130"/>
                  <a:pt x="4875908" y="1682578"/>
                  <a:pt x="4869436" y="1684693"/>
                </a:cubicBezTo>
                <a:cubicBezTo>
                  <a:pt x="4862694" y="1687017"/>
                  <a:pt x="4855825" y="1688960"/>
                  <a:pt x="4848862" y="1690502"/>
                </a:cubicBezTo>
                <a:cubicBezTo>
                  <a:pt x="4821049" y="1696980"/>
                  <a:pt x="4806476" y="1693551"/>
                  <a:pt x="4814763" y="1682407"/>
                </a:cubicBezTo>
                <a:cubicBezTo>
                  <a:pt x="4821792" y="1674768"/>
                  <a:pt x="4830406" y="1668748"/>
                  <a:pt x="4840004" y="1664786"/>
                </a:cubicBezTo>
                <a:cubicBezTo>
                  <a:pt x="4852916" y="1658498"/>
                  <a:pt x="4866540" y="1653801"/>
                  <a:pt x="4880580" y="1650783"/>
                </a:cubicBezTo>
                <a:cubicBezTo>
                  <a:pt x="4895868" y="1647497"/>
                  <a:pt x="4907155" y="1646902"/>
                  <a:pt x="4913263" y="1648617"/>
                </a:cubicBezTo>
                <a:close/>
                <a:moveTo>
                  <a:pt x="5680966" y="1647824"/>
                </a:moveTo>
                <a:cubicBezTo>
                  <a:pt x="5694587" y="1647824"/>
                  <a:pt x="5696682" y="1651159"/>
                  <a:pt x="5686491" y="1655255"/>
                </a:cubicBezTo>
                <a:cubicBezTo>
                  <a:pt x="5680518" y="1657483"/>
                  <a:pt x="5674327" y="1659046"/>
                  <a:pt x="5668012" y="1659921"/>
                </a:cubicBezTo>
                <a:cubicBezTo>
                  <a:pt x="5664583" y="1660494"/>
                  <a:pt x="5660964" y="1660873"/>
                  <a:pt x="5657439" y="1661160"/>
                </a:cubicBezTo>
                <a:cubicBezTo>
                  <a:pt x="5653915" y="1661446"/>
                  <a:pt x="5650391" y="1661160"/>
                  <a:pt x="5647057" y="1661160"/>
                </a:cubicBezTo>
                <a:cubicBezTo>
                  <a:pt x="5633722" y="1661160"/>
                  <a:pt x="5631246" y="1658017"/>
                  <a:pt x="5641152" y="1653826"/>
                </a:cubicBezTo>
                <a:cubicBezTo>
                  <a:pt x="5647095" y="1651464"/>
                  <a:pt x="5653296" y="1649796"/>
                  <a:pt x="5659630" y="1648872"/>
                </a:cubicBezTo>
                <a:cubicBezTo>
                  <a:pt x="5666698" y="1647862"/>
                  <a:pt x="5673841" y="1647511"/>
                  <a:pt x="5680966" y="1647824"/>
                </a:cubicBezTo>
                <a:close/>
                <a:moveTo>
                  <a:pt x="6017103" y="1645063"/>
                </a:moveTo>
                <a:cubicBezTo>
                  <a:pt x="6023770" y="1646397"/>
                  <a:pt x="6023866" y="1647825"/>
                  <a:pt x="6017103" y="1649540"/>
                </a:cubicBezTo>
                <a:cubicBezTo>
                  <a:pt x="6008711" y="1651311"/>
                  <a:pt x="6000072" y="1651597"/>
                  <a:pt x="5991576" y="1650397"/>
                </a:cubicBezTo>
                <a:cubicBezTo>
                  <a:pt x="5983861" y="1649349"/>
                  <a:pt x="5983670" y="1647825"/>
                  <a:pt x="5991290" y="1645634"/>
                </a:cubicBezTo>
                <a:cubicBezTo>
                  <a:pt x="5999796" y="1643977"/>
                  <a:pt x="6008530" y="1643787"/>
                  <a:pt x="6017103" y="1645063"/>
                </a:cubicBezTo>
                <a:close/>
                <a:moveTo>
                  <a:pt x="3867989" y="1644473"/>
                </a:moveTo>
                <a:cubicBezTo>
                  <a:pt x="3882170" y="1645973"/>
                  <a:pt x="3890885" y="1651069"/>
                  <a:pt x="3890742" y="1659260"/>
                </a:cubicBezTo>
                <a:cubicBezTo>
                  <a:pt x="3890456" y="1675644"/>
                  <a:pt x="3858643" y="1695837"/>
                  <a:pt x="3818638" y="1706886"/>
                </a:cubicBezTo>
                <a:cubicBezTo>
                  <a:pt x="3778633" y="1717933"/>
                  <a:pt x="3741199" y="1716790"/>
                  <a:pt x="3738628" y="1701742"/>
                </a:cubicBezTo>
                <a:cubicBezTo>
                  <a:pt x="3735865" y="1686216"/>
                  <a:pt x="3769012" y="1663641"/>
                  <a:pt x="3812446" y="1651260"/>
                </a:cubicBezTo>
                <a:cubicBezTo>
                  <a:pt x="3834163" y="1645067"/>
                  <a:pt x="3853809" y="1642973"/>
                  <a:pt x="3867989" y="1644473"/>
                </a:cubicBezTo>
                <a:close/>
                <a:moveTo>
                  <a:pt x="5332256" y="1644402"/>
                </a:moveTo>
                <a:cubicBezTo>
                  <a:pt x="5336377" y="1644078"/>
                  <a:pt x="5340517" y="1644078"/>
                  <a:pt x="5344638" y="1644402"/>
                </a:cubicBezTo>
                <a:cubicBezTo>
                  <a:pt x="5347102" y="1644488"/>
                  <a:pt x="5349513" y="1645144"/>
                  <a:pt x="5351687" y="1646306"/>
                </a:cubicBezTo>
                <a:cubicBezTo>
                  <a:pt x="5354544" y="1647830"/>
                  <a:pt x="5353496" y="1651068"/>
                  <a:pt x="5347877" y="1654497"/>
                </a:cubicBezTo>
                <a:cubicBezTo>
                  <a:pt x="5340176" y="1658861"/>
                  <a:pt x="5331950" y="1662222"/>
                  <a:pt x="5323397" y="1664500"/>
                </a:cubicBezTo>
                <a:cubicBezTo>
                  <a:pt x="5318349" y="1665927"/>
                  <a:pt x="5313110" y="1667166"/>
                  <a:pt x="5307872" y="1668214"/>
                </a:cubicBezTo>
                <a:lnTo>
                  <a:pt x="5300156" y="1669453"/>
                </a:lnTo>
                <a:cubicBezTo>
                  <a:pt x="5297680" y="1669453"/>
                  <a:pt x="5295203" y="1670215"/>
                  <a:pt x="5292727" y="1670499"/>
                </a:cubicBezTo>
                <a:cubicBezTo>
                  <a:pt x="5273677" y="1672500"/>
                  <a:pt x="5266057" y="1668214"/>
                  <a:pt x="5276439" y="1660974"/>
                </a:cubicBezTo>
                <a:cubicBezTo>
                  <a:pt x="5284064" y="1656346"/>
                  <a:pt x="5292305" y="1652821"/>
                  <a:pt x="5300918" y="1650497"/>
                </a:cubicBezTo>
                <a:cubicBezTo>
                  <a:pt x="5311170" y="1647574"/>
                  <a:pt x="5321654" y="1645526"/>
                  <a:pt x="5332256" y="1644402"/>
                </a:cubicBezTo>
                <a:close/>
                <a:moveTo>
                  <a:pt x="4685699" y="1641830"/>
                </a:moveTo>
                <a:cubicBezTo>
                  <a:pt x="4693890" y="1643544"/>
                  <a:pt x="4697224" y="1647830"/>
                  <a:pt x="4693509" y="1654211"/>
                </a:cubicBezTo>
                <a:cubicBezTo>
                  <a:pt x="4690966" y="1658118"/>
                  <a:pt x="4687739" y="1661547"/>
                  <a:pt x="4683984" y="1664308"/>
                </a:cubicBezTo>
                <a:cubicBezTo>
                  <a:pt x="4678687" y="1668357"/>
                  <a:pt x="4673082" y="1671985"/>
                  <a:pt x="4667220" y="1675166"/>
                </a:cubicBezTo>
                <a:cubicBezTo>
                  <a:pt x="4653475" y="1682806"/>
                  <a:pt x="4638902" y="1688844"/>
                  <a:pt x="4623786" y="1693170"/>
                </a:cubicBezTo>
                <a:cubicBezTo>
                  <a:pt x="4593782" y="1701836"/>
                  <a:pt x="4572256" y="1698693"/>
                  <a:pt x="4577971" y="1686406"/>
                </a:cubicBezTo>
                <a:cubicBezTo>
                  <a:pt x="4584571" y="1677063"/>
                  <a:pt x="4593414" y="1669529"/>
                  <a:pt x="4603688" y="1664498"/>
                </a:cubicBezTo>
                <a:cubicBezTo>
                  <a:pt x="4607022" y="1662593"/>
                  <a:pt x="4610451" y="1660689"/>
                  <a:pt x="4614071" y="1658879"/>
                </a:cubicBezTo>
                <a:cubicBezTo>
                  <a:pt x="4617690" y="1657070"/>
                  <a:pt x="4621405" y="1655450"/>
                  <a:pt x="4625215" y="1653830"/>
                </a:cubicBezTo>
                <a:cubicBezTo>
                  <a:pt x="4632871" y="1650592"/>
                  <a:pt x="4640729" y="1647859"/>
                  <a:pt x="4648742" y="1645639"/>
                </a:cubicBezTo>
                <a:cubicBezTo>
                  <a:pt x="4660642" y="1641724"/>
                  <a:pt x="4673249" y="1640420"/>
                  <a:pt x="4685699" y="1641830"/>
                </a:cubicBezTo>
                <a:close/>
                <a:moveTo>
                  <a:pt x="5568571" y="1641828"/>
                </a:moveTo>
                <a:lnTo>
                  <a:pt x="5573905" y="1641828"/>
                </a:lnTo>
                <a:lnTo>
                  <a:pt x="5578001" y="1642304"/>
                </a:lnTo>
                <a:cubicBezTo>
                  <a:pt x="5579677" y="1642476"/>
                  <a:pt x="5581268" y="1643142"/>
                  <a:pt x="5582573" y="1644209"/>
                </a:cubicBezTo>
                <a:cubicBezTo>
                  <a:pt x="5583906" y="1645733"/>
                  <a:pt x="5581906" y="1648019"/>
                  <a:pt x="5576287" y="1650495"/>
                </a:cubicBezTo>
                <a:cubicBezTo>
                  <a:pt x="5562351" y="1655982"/>
                  <a:pt x="5547540" y="1658953"/>
                  <a:pt x="5532567" y="1659259"/>
                </a:cubicBezTo>
                <a:cubicBezTo>
                  <a:pt x="5516469" y="1659926"/>
                  <a:pt x="5512183" y="1656687"/>
                  <a:pt x="5522375" y="1651353"/>
                </a:cubicBezTo>
                <a:cubicBezTo>
                  <a:pt x="5525423" y="1649820"/>
                  <a:pt x="5528614" y="1648572"/>
                  <a:pt x="5531900" y="1647638"/>
                </a:cubicBezTo>
                <a:cubicBezTo>
                  <a:pt x="5535691" y="1646448"/>
                  <a:pt x="5539530" y="1645467"/>
                  <a:pt x="5543425" y="1644686"/>
                </a:cubicBezTo>
                <a:cubicBezTo>
                  <a:pt x="5551702" y="1642942"/>
                  <a:pt x="5560123" y="1641990"/>
                  <a:pt x="5568571" y="1641828"/>
                </a:cubicBezTo>
                <a:close/>
                <a:moveTo>
                  <a:pt x="5449604" y="1641449"/>
                </a:moveTo>
                <a:cubicBezTo>
                  <a:pt x="5468654" y="1640591"/>
                  <a:pt x="5473321" y="1644782"/>
                  <a:pt x="5461415" y="1650973"/>
                </a:cubicBezTo>
                <a:cubicBezTo>
                  <a:pt x="5454319" y="1654421"/>
                  <a:pt x="5446842" y="1657012"/>
                  <a:pt x="5439127" y="1658688"/>
                </a:cubicBezTo>
                <a:cubicBezTo>
                  <a:pt x="5430278" y="1661108"/>
                  <a:pt x="5421220" y="1662698"/>
                  <a:pt x="5412076" y="1663451"/>
                </a:cubicBezTo>
                <a:cubicBezTo>
                  <a:pt x="5393883" y="1664594"/>
                  <a:pt x="5388454" y="1660689"/>
                  <a:pt x="5399693" y="1653926"/>
                </a:cubicBezTo>
                <a:cubicBezTo>
                  <a:pt x="5406742" y="1650268"/>
                  <a:pt x="5414228" y="1647544"/>
                  <a:pt x="5421982" y="1645830"/>
                </a:cubicBezTo>
                <a:cubicBezTo>
                  <a:pt x="5431021" y="1643448"/>
                  <a:pt x="5440270" y="1641972"/>
                  <a:pt x="5449604" y="1641449"/>
                </a:cubicBezTo>
                <a:close/>
                <a:moveTo>
                  <a:pt x="5034885" y="1628304"/>
                </a:moveTo>
                <a:cubicBezTo>
                  <a:pt x="5038402" y="1628304"/>
                  <a:pt x="5041890" y="1628943"/>
                  <a:pt x="5045172" y="1630209"/>
                </a:cubicBezTo>
                <a:cubicBezTo>
                  <a:pt x="5049839" y="1632400"/>
                  <a:pt x="5050030" y="1636305"/>
                  <a:pt x="5044505" y="1641258"/>
                </a:cubicBezTo>
                <a:cubicBezTo>
                  <a:pt x="5042858" y="1642686"/>
                  <a:pt x="5041107" y="1643991"/>
                  <a:pt x="5039266" y="1645162"/>
                </a:cubicBezTo>
                <a:lnTo>
                  <a:pt x="5036123" y="1647067"/>
                </a:lnTo>
                <a:cubicBezTo>
                  <a:pt x="5034980" y="1647829"/>
                  <a:pt x="5033742" y="1648497"/>
                  <a:pt x="5032504" y="1649164"/>
                </a:cubicBezTo>
                <a:cubicBezTo>
                  <a:pt x="5026957" y="1652154"/>
                  <a:pt x="5021232" y="1654793"/>
                  <a:pt x="5015359" y="1657070"/>
                </a:cubicBezTo>
                <a:cubicBezTo>
                  <a:pt x="5008987" y="1659679"/>
                  <a:pt x="5002467" y="1661898"/>
                  <a:pt x="4995832" y="1663737"/>
                </a:cubicBezTo>
                <a:cubicBezTo>
                  <a:pt x="4989260" y="1665641"/>
                  <a:pt x="4982688" y="1667166"/>
                  <a:pt x="4976782" y="1668309"/>
                </a:cubicBezTo>
                <a:cubicBezTo>
                  <a:pt x="4953065" y="1672405"/>
                  <a:pt x="4940587" y="1667641"/>
                  <a:pt x="4950303" y="1657831"/>
                </a:cubicBezTo>
                <a:cubicBezTo>
                  <a:pt x="4958803" y="1650658"/>
                  <a:pt x="4968467" y="1644982"/>
                  <a:pt x="4978878" y="1641068"/>
                </a:cubicBezTo>
                <a:cubicBezTo>
                  <a:pt x="4991731" y="1635810"/>
                  <a:pt x="5005111" y="1631944"/>
                  <a:pt x="5018788" y="1629543"/>
                </a:cubicBezTo>
                <a:cubicBezTo>
                  <a:pt x="5024104" y="1628628"/>
                  <a:pt x="5029492" y="1628218"/>
                  <a:pt x="5034885" y="1628304"/>
                </a:cubicBezTo>
                <a:close/>
                <a:moveTo>
                  <a:pt x="2492791" y="1628114"/>
                </a:moveTo>
                <a:cubicBezTo>
                  <a:pt x="2507726" y="1629277"/>
                  <a:pt x="2521995" y="1634772"/>
                  <a:pt x="2533844" y="1643925"/>
                </a:cubicBezTo>
                <a:cubicBezTo>
                  <a:pt x="2550989" y="1660022"/>
                  <a:pt x="2532415" y="1678502"/>
                  <a:pt x="2491266" y="1686692"/>
                </a:cubicBezTo>
                <a:cubicBezTo>
                  <a:pt x="2472455" y="1690483"/>
                  <a:pt x="2453167" y="1691255"/>
                  <a:pt x="2434117" y="1688978"/>
                </a:cubicBezTo>
                <a:cubicBezTo>
                  <a:pt x="2425943" y="1688007"/>
                  <a:pt x="2417895" y="1686160"/>
                  <a:pt x="2410114" y="1683455"/>
                </a:cubicBezTo>
                <a:cubicBezTo>
                  <a:pt x="2403674" y="1681387"/>
                  <a:pt x="2397673" y="1678159"/>
                  <a:pt x="2392396" y="1673929"/>
                </a:cubicBezTo>
                <a:cubicBezTo>
                  <a:pt x="2373347" y="1657546"/>
                  <a:pt x="2390969" y="1638591"/>
                  <a:pt x="2433831" y="1630115"/>
                </a:cubicBezTo>
                <a:cubicBezTo>
                  <a:pt x="2453252" y="1626306"/>
                  <a:pt x="2473160" y="1625629"/>
                  <a:pt x="2492791" y="1628114"/>
                </a:cubicBezTo>
                <a:close/>
                <a:moveTo>
                  <a:pt x="3119608" y="1628031"/>
                </a:moveTo>
                <a:cubicBezTo>
                  <a:pt x="3135909" y="1630043"/>
                  <a:pt x="3147982" y="1635449"/>
                  <a:pt x="3152792" y="1643830"/>
                </a:cubicBezTo>
                <a:cubicBezTo>
                  <a:pt x="3162411" y="1660593"/>
                  <a:pt x="3138218" y="1679167"/>
                  <a:pt x="3096306" y="1689644"/>
                </a:cubicBezTo>
                <a:cubicBezTo>
                  <a:pt x="3077686" y="1694579"/>
                  <a:pt x="3058379" y="1696407"/>
                  <a:pt x="3039157" y="1695073"/>
                </a:cubicBezTo>
                <a:cubicBezTo>
                  <a:pt x="3026022" y="1695151"/>
                  <a:pt x="3013373" y="1690092"/>
                  <a:pt x="3003915" y="1680977"/>
                </a:cubicBezTo>
                <a:cubicBezTo>
                  <a:pt x="2990771" y="1664117"/>
                  <a:pt x="3014679" y="1643638"/>
                  <a:pt x="3061064" y="1632591"/>
                </a:cubicBezTo>
                <a:cubicBezTo>
                  <a:pt x="3082781" y="1627400"/>
                  <a:pt x="3103308" y="1626018"/>
                  <a:pt x="3119608" y="1628031"/>
                </a:cubicBezTo>
                <a:close/>
                <a:moveTo>
                  <a:pt x="4259812" y="1625805"/>
                </a:moveTo>
                <a:cubicBezTo>
                  <a:pt x="4271242" y="1627495"/>
                  <a:pt x="4276790" y="1632544"/>
                  <a:pt x="4273742" y="1640401"/>
                </a:cubicBezTo>
                <a:cubicBezTo>
                  <a:pt x="4267646" y="1656117"/>
                  <a:pt x="4230499" y="1677834"/>
                  <a:pt x="4192399" y="1688598"/>
                </a:cubicBezTo>
                <a:cubicBezTo>
                  <a:pt x="4154299" y="1699361"/>
                  <a:pt x="4123724" y="1696503"/>
                  <a:pt x="4126772" y="1681929"/>
                </a:cubicBezTo>
                <a:cubicBezTo>
                  <a:pt x="4129820" y="1667357"/>
                  <a:pt x="4169634" y="1642497"/>
                  <a:pt x="4210592" y="1631353"/>
                </a:cubicBezTo>
                <a:cubicBezTo>
                  <a:pt x="4231071" y="1625781"/>
                  <a:pt x="4248382" y="1624113"/>
                  <a:pt x="4259812" y="1625805"/>
                </a:cubicBezTo>
                <a:close/>
                <a:moveTo>
                  <a:pt x="5886706" y="1625727"/>
                </a:moveTo>
                <a:cubicBezTo>
                  <a:pt x="5892660" y="1625155"/>
                  <a:pt x="5898660" y="1625155"/>
                  <a:pt x="5904613" y="1625727"/>
                </a:cubicBezTo>
                <a:cubicBezTo>
                  <a:pt x="5915853" y="1626679"/>
                  <a:pt x="5917758" y="1629346"/>
                  <a:pt x="5909281" y="1632013"/>
                </a:cubicBezTo>
                <a:cubicBezTo>
                  <a:pt x="5904147" y="1633490"/>
                  <a:pt x="5898889" y="1634442"/>
                  <a:pt x="5893564" y="1634871"/>
                </a:cubicBezTo>
                <a:lnTo>
                  <a:pt x="5889088" y="1634871"/>
                </a:lnTo>
                <a:lnTo>
                  <a:pt x="5884611" y="1634871"/>
                </a:lnTo>
                <a:cubicBezTo>
                  <a:pt x="5881725" y="1635014"/>
                  <a:pt x="5878829" y="1635014"/>
                  <a:pt x="5875943" y="1634871"/>
                </a:cubicBezTo>
                <a:cubicBezTo>
                  <a:pt x="5865275" y="1633918"/>
                  <a:pt x="5862703" y="1631346"/>
                  <a:pt x="5870895" y="1628775"/>
                </a:cubicBezTo>
                <a:cubicBezTo>
                  <a:pt x="5876038" y="1627174"/>
                  <a:pt x="5881344" y="1626155"/>
                  <a:pt x="5886706" y="1625727"/>
                </a:cubicBezTo>
                <a:close/>
                <a:moveTo>
                  <a:pt x="574053" y="1617630"/>
                </a:moveTo>
                <a:cubicBezTo>
                  <a:pt x="576025" y="1618221"/>
                  <a:pt x="577930" y="1618992"/>
                  <a:pt x="579767" y="1619916"/>
                </a:cubicBezTo>
                <a:lnTo>
                  <a:pt x="583101" y="1621726"/>
                </a:lnTo>
                <a:cubicBezTo>
                  <a:pt x="584339" y="1622297"/>
                  <a:pt x="585579" y="1623059"/>
                  <a:pt x="586911" y="1623821"/>
                </a:cubicBezTo>
                <a:cubicBezTo>
                  <a:pt x="588246" y="1624583"/>
                  <a:pt x="592150" y="1627155"/>
                  <a:pt x="594818" y="1629060"/>
                </a:cubicBezTo>
                <a:lnTo>
                  <a:pt x="596818" y="1630489"/>
                </a:lnTo>
                <a:lnTo>
                  <a:pt x="598913" y="1631918"/>
                </a:lnTo>
                <a:lnTo>
                  <a:pt x="603104" y="1634965"/>
                </a:lnTo>
                <a:cubicBezTo>
                  <a:pt x="605866" y="1637061"/>
                  <a:pt x="608629" y="1639347"/>
                  <a:pt x="611391" y="1641633"/>
                </a:cubicBezTo>
                <a:lnTo>
                  <a:pt x="619773" y="1648682"/>
                </a:lnTo>
                <a:cubicBezTo>
                  <a:pt x="622536" y="1651158"/>
                  <a:pt x="625202" y="1653635"/>
                  <a:pt x="627776" y="1656206"/>
                </a:cubicBezTo>
                <a:cubicBezTo>
                  <a:pt x="630346" y="1658778"/>
                  <a:pt x="633110" y="1661159"/>
                  <a:pt x="635586" y="1663731"/>
                </a:cubicBezTo>
                <a:cubicBezTo>
                  <a:pt x="638062" y="1666303"/>
                  <a:pt x="640444" y="1668779"/>
                  <a:pt x="642730" y="1671351"/>
                </a:cubicBezTo>
                <a:cubicBezTo>
                  <a:pt x="645016" y="1673923"/>
                  <a:pt x="647110" y="1676399"/>
                  <a:pt x="649016" y="1678876"/>
                </a:cubicBezTo>
                <a:cubicBezTo>
                  <a:pt x="656635" y="1688401"/>
                  <a:pt x="659113" y="1695068"/>
                  <a:pt x="656635" y="1697926"/>
                </a:cubicBezTo>
                <a:cubicBezTo>
                  <a:pt x="654159" y="1700783"/>
                  <a:pt x="646635" y="1699926"/>
                  <a:pt x="634634" y="1694973"/>
                </a:cubicBezTo>
                <a:cubicBezTo>
                  <a:pt x="628347" y="1692058"/>
                  <a:pt x="622268" y="1688715"/>
                  <a:pt x="616439" y="1684972"/>
                </a:cubicBezTo>
                <a:cubicBezTo>
                  <a:pt x="610229" y="1680800"/>
                  <a:pt x="604285" y="1676247"/>
                  <a:pt x="598627" y="1671351"/>
                </a:cubicBezTo>
                <a:cubicBezTo>
                  <a:pt x="593093" y="1666417"/>
                  <a:pt x="587874" y="1661140"/>
                  <a:pt x="583006" y="1655540"/>
                </a:cubicBezTo>
                <a:cubicBezTo>
                  <a:pt x="578691" y="1650282"/>
                  <a:pt x="574778" y="1644710"/>
                  <a:pt x="571290" y="1638871"/>
                </a:cubicBezTo>
                <a:cubicBezTo>
                  <a:pt x="565195" y="1627727"/>
                  <a:pt x="564052" y="1620773"/>
                  <a:pt x="566909" y="1618202"/>
                </a:cubicBezTo>
                <a:cubicBezTo>
                  <a:pt x="569034" y="1616782"/>
                  <a:pt x="571738" y="1616563"/>
                  <a:pt x="574053" y="1617630"/>
                </a:cubicBezTo>
                <a:close/>
                <a:moveTo>
                  <a:pt x="5156329" y="1612590"/>
                </a:moveTo>
                <a:cubicBezTo>
                  <a:pt x="5181189" y="1609256"/>
                  <a:pt x="5191190" y="1614971"/>
                  <a:pt x="5178236" y="1624685"/>
                </a:cubicBezTo>
                <a:cubicBezTo>
                  <a:pt x="5169399" y="1630458"/>
                  <a:pt x="5159775" y="1634915"/>
                  <a:pt x="5149661" y="1637924"/>
                </a:cubicBezTo>
                <a:cubicBezTo>
                  <a:pt x="5143851" y="1639924"/>
                  <a:pt x="5137755" y="1641830"/>
                  <a:pt x="5131659" y="1643354"/>
                </a:cubicBezTo>
                <a:cubicBezTo>
                  <a:pt x="5125822" y="1644849"/>
                  <a:pt x="5119908" y="1646020"/>
                  <a:pt x="5113942" y="1646877"/>
                </a:cubicBezTo>
                <a:cubicBezTo>
                  <a:pt x="5106155" y="1648592"/>
                  <a:pt x="5098058" y="1648297"/>
                  <a:pt x="5090416" y="1646020"/>
                </a:cubicBezTo>
                <a:cubicBezTo>
                  <a:pt x="5086796" y="1644115"/>
                  <a:pt x="5086891" y="1640497"/>
                  <a:pt x="5092225" y="1635925"/>
                </a:cubicBezTo>
                <a:cubicBezTo>
                  <a:pt x="5100543" y="1629924"/>
                  <a:pt x="5109730" y="1625238"/>
                  <a:pt x="5119467" y="1622019"/>
                </a:cubicBezTo>
                <a:cubicBezTo>
                  <a:pt x="5125487" y="1619751"/>
                  <a:pt x="5131623" y="1617819"/>
                  <a:pt x="5137850" y="1616209"/>
                </a:cubicBezTo>
                <a:cubicBezTo>
                  <a:pt x="5143930" y="1614628"/>
                  <a:pt x="5150101" y="1613418"/>
                  <a:pt x="5156329" y="1612590"/>
                </a:cubicBezTo>
                <a:close/>
                <a:moveTo>
                  <a:pt x="3643283" y="1611792"/>
                </a:moveTo>
                <a:cubicBezTo>
                  <a:pt x="3658332" y="1613471"/>
                  <a:pt x="3667953" y="1619066"/>
                  <a:pt x="3669381" y="1628305"/>
                </a:cubicBezTo>
                <a:cubicBezTo>
                  <a:pt x="3672239" y="1646782"/>
                  <a:pt x="3643473" y="1664975"/>
                  <a:pt x="3600706" y="1676596"/>
                </a:cubicBezTo>
                <a:cubicBezTo>
                  <a:pt x="3557940" y="1688216"/>
                  <a:pt x="3523938" y="1684598"/>
                  <a:pt x="3518508" y="1668596"/>
                </a:cubicBezTo>
                <a:cubicBezTo>
                  <a:pt x="3512794" y="1652021"/>
                  <a:pt x="3540225" y="1631259"/>
                  <a:pt x="3584609" y="1618780"/>
                </a:cubicBezTo>
                <a:cubicBezTo>
                  <a:pt x="3607755" y="1612352"/>
                  <a:pt x="3628233" y="1610113"/>
                  <a:pt x="3643283" y="1611792"/>
                </a:cubicBezTo>
                <a:close/>
                <a:moveTo>
                  <a:pt x="4836396" y="1611648"/>
                </a:moveTo>
                <a:cubicBezTo>
                  <a:pt x="4842813" y="1613614"/>
                  <a:pt x="4844052" y="1618066"/>
                  <a:pt x="4838956" y="1624590"/>
                </a:cubicBezTo>
                <a:cubicBezTo>
                  <a:pt x="4831391" y="1632782"/>
                  <a:pt x="4822170" y="1639276"/>
                  <a:pt x="4811905" y="1643640"/>
                </a:cubicBezTo>
                <a:cubicBezTo>
                  <a:pt x="4808857" y="1645163"/>
                  <a:pt x="4805618" y="1646592"/>
                  <a:pt x="4802380" y="1648019"/>
                </a:cubicBezTo>
                <a:cubicBezTo>
                  <a:pt x="4799141" y="1649449"/>
                  <a:pt x="4795617" y="1650783"/>
                  <a:pt x="4791997" y="1652116"/>
                </a:cubicBezTo>
                <a:cubicBezTo>
                  <a:pt x="4784772" y="1654888"/>
                  <a:pt x="4777394" y="1657241"/>
                  <a:pt x="4769899" y="1659165"/>
                </a:cubicBezTo>
                <a:cubicBezTo>
                  <a:pt x="4759029" y="1662356"/>
                  <a:pt x="4747645" y="1663423"/>
                  <a:pt x="4736371" y="1662308"/>
                </a:cubicBezTo>
                <a:cubicBezTo>
                  <a:pt x="4729513" y="1660879"/>
                  <a:pt x="4727323" y="1656879"/>
                  <a:pt x="4731228" y="1650592"/>
                </a:cubicBezTo>
                <a:cubicBezTo>
                  <a:pt x="4734001" y="1646602"/>
                  <a:pt x="4737413" y="1643097"/>
                  <a:pt x="4741324" y="1640211"/>
                </a:cubicBezTo>
                <a:cubicBezTo>
                  <a:pt x="4746551" y="1636382"/>
                  <a:pt x="4752095" y="1633001"/>
                  <a:pt x="4757898" y="1630114"/>
                </a:cubicBezTo>
                <a:cubicBezTo>
                  <a:pt x="4764746" y="1626514"/>
                  <a:pt x="4771808" y="1623332"/>
                  <a:pt x="4779043" y="1620589"/>
                </a:cubicBezTo>
                <a:cubicBezTo>
                  <a:pt x="4786785" y="1617741"/>
                  <a:pt x="4794709" y="1615428"/>
                  <a:pt x="4802761" y="1613637"/>
                </a:cubicBezTo>
                <a:cubicBezTo>
                  <a:pt x="4818382" y="1610209"/>
                  <a:pt x="4829979" y="1609684"/>
                  <a:pt x="4836396" y="1611648"/>
                </a:cubicBezTo>
                <a:close/>
                <a:moveTo>
                  <a:pt x="5776692" y="1611538"/>
                </a:moveTo>
                <a:cubicBezTo>
                  <a:pt x="5780245" y="1611347"/>
                  <a:pt x="5783808" y="1611347"/>
                  <a:pt x="5787360" y="1611538"/>
                </a:cubicBezTo>
                <a:cubicBezTo>
                  <a:pt x="5800981" y="1612396"/>
                  <a:pt x="5803267" y="1615634"/>
                  <a:pt x="5793075" y="1619347"/>
                </a:cubicBezTo>
                <a:cubicBezTo>
                  <a:pt x="5789970" y="1620452"/>
                  <a:pt x="5786779" y="1621348"/>
                  <a:pt x="5783550" y="1622014"/>
                </a:cubicBezTo>
                <a:lnTo>
                  <a:pt x="5778216" y="1622967"/>
                </a:lnTo>
                <a:lnTo>
                  <a:pt x="5772597" y="1623824"/>
                </a:lnTo>
                <a:cubicBezTo>
                  <a:pt x="5765186" y="1624891"/>
                  <a:pt x="5757690" y="1625205"/>
                  <a:pt x="5750213" y="1624777"/>
                </a:cubicBezTo>
                <a:cubicBezTo>
                  <a:pt x="5738021" y="1624110"/>
                  <a:pt x="5736306" y="1620871"/>
                  <a:pt x="5746689" y="1616967"/>
                </a:cubicBezTo>
                <a:cubicBezTo>
                  <a:pt x="5752870" y="1614853"/>
                  <a:pt x="5759252" y="1613386"/>
                  <a:pt x="5765739" y="1612586"/>
                </a:cubicBezTo>
                <a:cubicBezTo>
                  <a:pt x="5769368" y="1612052"/>
                  <a:pt x="5773025" y="1611700"/>
                  <a:pt x="5776692" y="1611538"/>
                </a:cubicBezTo>
                <a:close/>
                <a:moveTo>
                  <a:pt x="4585591" y="1608577"/>
                </a:moveTo>
                <a:cubicBezTo>
                  <a:pt x="4594116" y="1610756"/>
                  <a:pt x="4597212" y="1615971"/>
                  <a:pt x="4592449" y="1623352"/>
                </a:cubicBezTo>
                <a:cubicBezTo>
                  <a:pt x="4584719" y="1633126"/>
                  <a:pt x="4574972" y="1641115"/>
                  <a:pt x="4563874" y="1646783"/>
                </a:cubicBezTo>
                <a:cubicBezTo>
                  <a:pt x="4560540" y="1648784"/>
                  <a:pt x="4557016" y="1650592"/>
                  <a:pt x="4553396" y="1652403"/>
                </a:cubicBezTo>
                <a:lnTo>
                  <a:pt x="4547872" y="1654974"/>
                </a:lnTo>
                <a:lnTo>
                  <a:pt x="4546348" y="1655642"/>
                </a:lnTo>
                <a:lnTo>
                  <a:pt x="4544729" y="1656403"/>
                </a:lnTo>
                <a:lnTo>
                  <a:pt x="4541300" y="1657356"/>
                </a:lnTo>
                <a:cubicBezTo>
                  <a:pt x="4532854" y="1661022"/>
                  <a:pt x="4524203" y="1664204"/>
                  <a:pt x="4515392" y="1666881"/>
                </a:cubicBezTo>
                <a:cubicBezTo>
                  <a:pt x="4479006" y="1676978"/>
                  <a:pt x="4453670" y="1673168"/>
                  <a:pt x="4462909" y="1658594"/>
                </a:cubicBezTo>
                <a:cubicBezTo>
                  <a:pt x="4471772" y="1647859"/>
                  <a:pt x="4482895" y="1639202"/>
                  <a:pt x="4495484" y="1633258"/>
                </a:cubicBezTo>
                <a:cubicBezTo>
                  <a:pt x="4503642" y="1628687"/>
                  <a:pt x="4512072" y="1624609"/>
                  <a:pt x="4520726" y="1621066"/>
                </a:cubicBezTo>
                <a:cubicBezTo>
                  <a:pt x="4525107" y="1619162"/>
                  <a:pt x="4529679" y="1617447"/>
                  <a:pt x="4534156" y="1615923"/>
                </a:cubicBezTo>
                <a:lnTo>
                  <a:pt x="4537299" y="1614780"/>
                </a:lnTo>
                <a:lnTo>
                  <a:pt x="4540347" y="1613828"/>
                </a:lnTo>
                <a:lnTo>
                  <a:pt x="4546157" y="1612018"/>
                </a:lnTo>
                <a:cubicBezTo>
                  <a:pt x="4563112" y="1607256"/>
                  <a:pt x="4577066" y="1606398"/>
                  <a:pt x="4585591" y="1608577"/>
                </a:cubicBezTo>
                <a:close/>
                <a:moveTo>
                  <a:pt x="5293585" y="1602588"/>
                </a:moveTo>
                <a:cubicBezTo>
                  <a:pt x="5295966" y="1602494"/>
                  <a:pt x="5298157" y="1602588"/>
                  <a:pt x="5300062" y="1602588"/>
                </a:cubicBezTo>
                <a:cubicBezTo>
                  <a:pt x="5302925" y="1602656"/>
                  <a:pt x="5305743" y="1603303"/>
                  <a:pt x="5308348" y="1604493"/>
                </a:cubicBezTo>
                <a:cubicBezTo>
                  <a:pt x="5311587" y="1606494"/>
                  <a:pt x="5310349" y="1609827"/>
                  <a:pt x="5304157" y="1614018"/>
                </a:cubicBezTo>
                <a:cubicBezTo>
                  <a:pt x="5300590" y="1616361"/>
                  <a:pt x="5296830" y="1618399"/>
                  <a:pt x="5292918" y="1620113"/>
                </a:cubicBezTo>
                <a:cubicBezTo>
                  <a:pt x="5288127" y="1622210"/>
                  <a:pt x="5283230" y="1624047"/>
                  <a:pt x="5278249" y="1625638"/>
                </a:cubicBezTo>
                <a:cubicBezTo>
                  <a:pt x="5267292" y="1629057"/>
                  <a:pt x="5256032" y="1631411"/>
                  <a:pt x="5244626" y="1632686"/>
                </a:cubicBezTo>
                <a:cubicBezTo>
                  <a:pt x="5222052" y="1635734"/>
                  <a:pt x="5213765" y="1631448"/>
                  <a:pt x="5225195" y="1622780"/>
                </a:cubicBezTo>
                <a:cubicBezTo>
                  <a:pt x="5228618" y="1620256"/>
                  <a:pt x="5232287" y="1618084"/>
                  <a:pt x="5236149" y="1616304"/>
                </a:cubicBezTo>
                <a:cubicBezTo>
                  <a:pt x="5238340" y="1615257"/>
                  <a:pt x="5240721" y="1614209"/>
                  <a:pt x="5243197" y="1613256"/>
                </a:cubicBezTo>
                <a:cubicBezTo>
                  <a:pt x="5245674" y="1612305"/>
                  <a:pt x="5248246" y="1611351"/>
                  <a:pt x="5250913" y="1610494"/>
                </a:cubicBezTo>
                <a:cubicBezTo>
                  <a:pt x="5262211" y="1606979"/>
                  <a:pt x="5273822" y="1604550"/>
                  <a:pt x="5285584" y="1603255"/>
                </a:cubicBezTo>
                <a:cubicBezTo>
                  <a:pt x="5288441" y="1603255"/>
                  <a:pt x="5291203" y="1602685"/>
                  <a:pt x="5293585" y="1602588"/>
                </a:cubicBezTo>
                <a:close/>
                <a:moveTo>
                  <a:pt x="5666012" y="1601443"/>
                </a:moveTo>
                <a:cubicBezTo>
                  <a:pt x="5681347" y="1602014"/>
                  <a:pt x="5684109" y="1606111"/>
                  <a:pt x="5672774" y="1610969"/>
                </a:cubicBezTo>
                <a:cubicBezTo>
                  <a:pt x="5665650" y="1613654"/>
                  <a:pt x="5658277" y="1615625"/>
                  <a:pt x="5650772" y="1616873"/>
                </a:cubicBezTo>
                <a:cubicBezTo>
                  <a:pt x="5642504" y="1618378"/>
                  <a:pt x="5634122" y="1619169"/>
                  <a:pt x="5625721" y="1619254"/>
                </a:cubicBezTo>
                <a:cubicBezTo>
                  <a:pt x="5622530" y="1619206"/>
                  <a:pt x="5619349" y="1618959"/>
                  <a:pt x="5616196" y="1618491"/>
                </a:cubicBezTo>
                <a:cubicBezTo>
                  <a:pt x="5614453" y="1618282"/>
                  <a:pt x="5612786" y="1617664"/>
                  <a:pt x="5611338" y="1616683"/>
                </a:cubicBezTo>
                <a:cubicBezTo>
                  <a:pt x="5609624" y="1615063"/>
                  <a:pt x="5611338" y="1612873"/>
                  <a:pt x="5616386" y="1610397"/>
                </a:cubicBezTo>
                <a:cubicBezTo>
                  <a:pt x="5623692" y="1607243"/>
                  <a:pt x="5631379" y="1605035"/>
                  <a:pt x="5639246" y="1603825"/>
                </a:cubicBezTo>
                <a:cubicBezTo>
                  <a:pt x="5648067" y="1602128"/>
                  <a:pt x="5657030" y="1601328"/>
                  <a:pt x="5666012" y="1601443"/>
                </a:cubicBezTo>
                <a:close/>
                <a:moveTo>
                  <a:pt x="1317967" y="1599536"/>
                </a:moveTo>
                <a:cubicBezTo>
                  <a:pt x="1351714" y="1599107"/>
                  <a:pt x="1384831" y="1608613"/>
                  <a:pt x="1413216" y="1626872"/>
                </a:cubicBezTo>
                <a:cubicBezTo>
                  <a:pt x="1423979" y="1634873"/>
                  <a:pt x="1427408" y="1641920"/>
                  <a:pt x="1423979" y="1647349"/>
                </a:cubicBezTo>
                <a:cubicBezTo>
                  <a:pt x="1421426" y="1650626"/>
                  <a:pt x="1417826" y="1652950"/>
                  <a:pt x="1413787" y="1653922"/>
                </a:cubicBezTo>
                <a:cubicBezTo>
                  <a:pt x="1407386" y="1655912"/>
                  <a:pt x="1400767" y="1657065"/>
                  <a:pt x="1394071" y="1657351"/>
                </a:cubicBezTo>
                <a:cubicBezTo>
                  <a:pt x="1389976" y="1657351"/>
                  <a:pt x="1385785" y="1657351"/>
                  <a:pt x="1381594" y="1657351"/>
                </a:cubicBezTo>
                <a:cubicBezTo>
                  <a:pt x="1377403" y="1657351"/>
                  <a:pt x="1373021" y="1657351"/>
                  <a:pt x="1368735" y="1656398"/>
                </a:cubicBezTo>
                <a:cubicBezTo>
                  <a:pt x="1360067" y="1655389"/>
                  <a:pt x="1351476" y="1653798"/>
                  <a:pt x="1343017" y="1651636"/>
                </a:cubicBezTo>
                <a:cubicBezTo>
                  <a:pt x="1334817" y="1649464"/>
                  <a:pt x="1326787" y="1646654"/>
                  <a:pt x="1319015" y="1643254"/>
                </a:cubicBezTo>
                <a:cubicBezTo>
                  <a:pt x="1311880" y="1640225"/>
                  <a:pt x="1305079" y="1636462"/>
                  <a:pt x="1298726" y="1632014"/>
                </a:cubicBezTo>
                <a:cubicBezTo>
                  <a:pt x="1285963" y="1622966"/>
                  <a:pt x="1281676" y="1614870"/>
                  <a:pt x="1285106" y="1609061"/>
                </a:cubicBezTo>
                <a:cubicBezTo>
                  <a:pt x="1288534" y="1603251"/>
                  <a:pt x="1299679" y="1599536"/>
                  <a:pt x="1317967" y="1599536"/>
                </a:cubicBezTo>
                <a:close/>
                <a:moveTo>
                  <a:pt x="5540567" y="1597063"/>
                </a:moveTo>
                <a:cubicBezTo>
                  <a:pt x="5558379" y="1597063"/>
                  <a:pt x="5563427" y="1601921"/>
                  <a:pt x="5551235" y="1607825"/>
                </a:cubicBezTo>
                <a:cubicBezTo>
                  <a:pt x="5543387" y="1611141"/>
                  <a:pt x="5535214" y="1613626"/>
                  <a:pt x="5526851" y="1615255"/>
                </a:cubicBezTo>
                <a:cubicBezTo>
                  <a:pt x="5517650" y="1617417"/>
                  <a:pt x="5508287" y="1618760"/>
                  <a:pt x="5498848" y="1619255"/>
                </a:cubicBezTo>
                <a:cubicBezTo>
                  <a:pt x="5481607" y="1619827"/>
                  <a:pt x="5475893" y="1614969"/>
                  <a:pt x="5487418" y="1608969"/>
                </a:cubicBezTo>
                <a:cubicBezTo>
                  <a:pt x="5495200" y="1605350"/>
                  <a:pt x="5503391" y="1602663"/>
                  <a:pt x="5511802" y="1600967"/>
                </a:cubicBezTo>
                <a:cubicBezTo>
                  <a:pt x="5516755" y="1599825"/>
                  <a:pt x="5521327" y="1598872"/>
                  <a:pt x="5526661" y="1598206"/>
                </a:cubicBezTo>
                <a:cubicBezTo>
                  <a:pt x="5531271" y="1597567"/>
                  <a:pt x="5535909" y="1597186"/>
                  <a:pt x="5540567" y="1597063"/>
                </a:cubicBezTo>
                <a:close/>
                <a:moveTo>
                  <a:pt x="5415504" y="1596682"/>
                </a:moveTo>
                <a:cubicBezTo>
                  <a:pt x="5435316" y="1595349"/>
                  <a:pt x="5442745" y="1600398"/>
                  <a:pt x="5431411" y="1607445"/>
                </a:cubicBezTo>
                <a:cubicBezTo>
                  <a:pt x="5423343" y="1611695"/>
                  <a:pt x="5414761" y="1614894"/>
                  <a:pt x="5405884" y="1616970"/>
                </a:cubicBezTo>
                <a:cubicBezTo>
                  <a:pt x="5400645" y="1618399"/>
                  <a:pt x="5395120" y="1619541"/>
                  <a:pt x="5389691" y="1620589"/>
                </a:cubicBezTo>
                <a:cubicBezTo>
                  <a:pt x="5384262" y="1621637"/>
                  <a:pt x="5378928" y="1622400"/>
                  <a:pt x="5374070" y="1622876"/>
                </a:cubicBezTo>
                <a:cubicBezTo>
                  <a:pt x="5355020" y="1624399"/>
                  <a:pt x="5346924" y="1619732"/>
                  <a:pt x="5357401" y="1612685"/>
                </a:cubicBezTo>
                <a:cubicBezTo>
                  <a:pt x="5365400" y="1608104"/>
                  <a:pt x="5373989" y="1604646"/>
                  <a:pt x="5382928" y="1602397"/>
                </a:cubicBezTo>
                <a:lnTo>
                  <a:pt x="5391120" y="1600205"/>
                </a:lnTo>
                <a:lnTo>
                  <a:pt x="5399407" y="1598587"/>
                </a:lnTo>
                <a:cubicBezTo>
                  <a:pt x="5404731" y="1597663"/>
                  <a:pt x="5410103" y="1597025"/>
                  <a:pt x="5415504" y="1596682"/>
                </a:cubicBezTo>
                <a:close/>
                <a:moveTo>
                  <a:pt x="6009102" y="1595437"/>
                </a:moveTo>
                <a:cubicBezTo>
                  <a:pt x="6014979" y="1595094"/>
                  <a:pt x="6020875" y="1595256"/>
                  <a:pt x="6026723" y="1595913"/>
                </a:cubicBezTo>
                <a:cubicBezTo>
                  <a:pt x="6032057" y="1596580"/>
                  <a:pt x="6034820" y="1597818"/>
                  <a:pt x="6035105" y="1599152"/>
                </a:cubicBezTo>
                <a:cubicBezTo>
                  <a:pt x="6035391" y="1600485"/>
                  <a:pt x="6033010" y="1601819"/>
                  <a:pt x="6028152" y="1602962"/>
                </a:cubicBezTo>
                <a:cubicBezTo>
                  <a:pt x="6022494" y="1604038"/>
                  <a:pt x="6016760" y="1604648"/>
                  <a:pt x="6011007" y="1604772"/>
                </a:cubicBezTo>
                <a:cubicBezTo>
                  <a:pt x="6005349" y="1605038"/>
                  <a:pt x="5999682" y="1604848"/>
                  <a:pt x="5994053" y="1604200"/>
                </a:cubicBezTo>
                <a:cubicBezTo>
                  <a:pt x="5984718" y="1602867"/>
                  <a:pt x="5983956" y="1600200"/>
                  <a:pt x="5992148" y="1597628"/>
                </a:cubicBezTo>
                <a:cubicBezTo>
                  <a:pt x="5994586" y="1596980"/>
                  <a:pt x="5997072" y="1596504"/>
                  <a:pt x="5999577" y="1596199"/>
                </a:cubicBezTo>
                <a:cubicBezTo>
                  <a:pt x="6002434" y="1596199"/>
                  <a:pt x="6005578" y="1595628"/>
                  <a:pt x="6009102" y="1595437"/>
                </a:cubicBezTo>
                <a:close/>
                <a:moveTo>
                  <a:pt x="4083183" y="1592420"/>
                </a:moveTo>
                <a:cubicBezTo>
                  <a:pt x="4095745" y="1594135"/>
                  <a:pt x="4102674" y="1599350"/>
                  <a:pt x="4101436" y="1607446"/>
                </a:cubicBezTo>
                <a:cubicBezTo>
                  <a:pt x="4098959" y="1623637"/>
                  <a:pt x="4062574" y="1646688"/>
                  <a:pt x="4021902" y="1657926"/>
                </a:cubicBezTo>
                <a:cubicBezTo>
                  <a:pt x="3981230" y="1669166"/>
                  <a:pt x="3950750" y="1665546"/>
                  <a:pt x="3951322" y="1650307"/>
                </a:cubicBezTo>
                <a:cubicBezTo>
                  <a:pt x="3951322" y="1634115"/>
                  <a:pt x="3988564" y="1610209"/>
                  <a:pt x="4031141" y="1598397"/>
                </a:cubicBezTo>
                <a:cubicBezTo>
                  <a:pt x="4052430" y="1592492"/>
                  <a:pt x="4070622" y="1590705"/>
                  <a:pt x="4083183" y="1592420"/>
                </a:cubicBezTo>
                <a:close/>
                <a:moveTo>
                  <a:pt x="4968686" y="1585157"/>
                </a:moveTo>
                <a:cubicBezTo>
                  <a:pt x="4972867" y="1584985"/>
                  <a:pt x="4977041" y="1585633"/>
                  <a:pt x="4980973" y="1587062"/>
                </a:cubicBezTo>
                <a:cubicBezTo>
                  <a:pt x="4986784" y="1589443"/>
                  <a:pt x="4987641" y="1593825"/>
                  <a:pt x="4981831" y="1599635"/>
                </a:cubicBezTo>
                <a:cubicBezTo>
                  <a:pt x="4978279" y="1602950"/>
                  <a:pt x="4974346" y="1605826"/>
                  <a:pt x="4970115" y="1608207"/>
                </a:cubicBezTo>
                <a:cubicBezTo>
                  <a:pt x="4964613" y="1611532"/>
                  <a:pt x="4958884" y="1614456"/>
                  <a:pt x="4952970" y="1616970"/>
                </a:cubicBezTo>
                <a:cubicBezTo>
                  <a:pt x="4946471" y="1619856"/>
                  <a:pt x="4939825" y="1622400"/>
                  <a:pt x="4933063" y="1624590"/>
                </a:cubicBezTo>
                <a:cubicBezTo>
                  <a:pt x="4926205" y="1626876"/>
                  <a:pt x="4919251" y="1628591"/>
                  <a:pt x="4912679" y="1630114"/>
                </a:cubicBezTo>
                <a:cubicBezTo>
                  <a:pt x="4885247" y="1636210"/>
                  <a:pt x="4868769" y="1631448"/>
                  <a:pt x="4878008" y="1620113"/>
                </a:cubicBezTo>
                <a:cubicBezTo>
                  <a:pt x="4886191" y="1611952"/>
                  <a:pt x="4895901" y="1605474"/>
                  <a:pt x="4906583" y="1601065"/>
                </a:cubicBezTo>
                <a:cubicBezTo>
                  <a:pt x="4913472" y="1597863"/>
                  <a:pt x="4920568" y="1595120"/>
                  <a:pt x="4927824" y="1592873"/>
                </a:cubicBezTo>
                <a:cubicBezTo>
                  <a:pt x="4934969" y="1590510"/>
                  <a:pt x="4942253" y="1588605"/>
                  <a:pt x="4949636" y="1587157"/>
                </a:cubicBezTo>
                <a:cubicBezTo>
                  <a:pt x="4955910" y="1585900"/>
                  <a:pt x="4962288" y="1585233"/>
                  <a:pt x="4968686" y="1585157"/>
                </a:cubicBezTo>
                <a:close/>
                <a:moveTo>
                  <a:pt x="1675631" y="1579058"/>
                </a:moveTo>
                <a:cubicBezTo>
                  <a:pt x="1685213" y="1579525"/>
                  <a:pt x="1694758" y="1580610"/>
                  <a:pt x="1704206" y="1582296"/>
                </a:cubicBezTo>
                <a:cubicBezTo>
                  <a:pt x="1721161" y="1584954"/>
                  <a:pt x="1737544" y="1590421"/>
                  <a:pt x="1752689" y="1598489"/>
                </a:cubicBezTo>
                <a:cubicBezTo>
                  <a:pt x="1776120" y="1612396"/>
                  <a:pt x="1768119" y="1631159"/>
                  <a:pt x="1736210" y="1636397"/>
                </a:cubicBezTo>
                <a:cubicBezTo>
                  <a:pt x="1701730" y="1640445"/>
                  <a:pt x="1666821" y="1634493"/>
                  <a:pt x="1635626" y="1619253"/>
                </a:cubicBezTo>
                <a:cubicBezTo>
                  <a:pt x="1623054" y="1611824"/>
                  <a:pt x="1618577" y="1603156"/>
                  <a:pt x="1621244" y="1595917"/>
                </a:cubicBezTo>
                <a:cubicBezTo>
                  <a:pt x="1623911" y="1588678"/>
                  <a:pt x="1633913" y="1582582"/>
                  <a:pt x="1650296" y="1580106"/>
                </a:cubicBezTo>
                <a:cubicBezTo>
                  <a:pt x="1658686" y="1578963"/>
                  <a:pt x="1667173" y="1578610"/>
                  <a:pt x="1675631" y="1579058"/>
                </a:cubicBezTo>
                <a:close/>
                <a:moveTo>
                  <a:pt x="983824" y="1578865"/>
                </a:moveTo>
                <a:cubicBezTo>
                  <a:pt x="987310" y="1579217"/>
                  <a:pt x="990777" y="1579760"/>
                  <a:pt x="994206" y="1580484"/>
                </a:cubicBezTo>
                <a:cubicBezTo>
                  <a:pt x="997921" y="1581151"/>
                  <a:pt x="1001826" y="1582103"/>
                  <a:pt x="1005827" y="1583246"/>
                </a:cubicBezTo>
                <a:cubicBezTo>
                  <a:pt x="1009828" y="1584389"/>
                  <a:pt x="1014018" y="1585723"/>
                  <a:pt x="1018305" y="1587151"/>
                </a:cubicBezTo>
                <a:cubicBezTo>
                  <a:pt x="1022591" y="1588580"/>
                  <a:pt x="1026782" y="1590199"/>
                  <a:pt x="1030973" y="1591819"/>
                </a:cubicBezTo>
                <a:cubicBezTo>
                  <a:pt x="1035164" y="1593438"/>
                  <a:pt x="1039450" y="1595343"/>
                  <a:pt x="1043450" y="1597248"/>
                </a:cubicBezTo>
                <a:cubicBezTo>
                  <a:pt x="1047451" y="1599153"/>
                  <a:pt x="1051452" y="1600963"/>
                  <a:pt x="1055166" y="1602963"/>
                </a:cubicBezTo>
                <a:cubicBezTo>
                  <a:pt x="1061881" y="1606354"/>
                  <a:pt x="1068263" y="1610373"/>
                  <a:pt x="1074216" y="1614964"/>
                </a:cubicBezTo>
                <a:cubicBezTo>
                  <a:pt x="1082979" y="1622107"/>
                  <a:pt x="1086218" y="1628965"/>
                  <a:pt x="1084408" y="1634013"/>
                </a:cubicBezTo>
                <a:cubicBezTo>
                  <a:pt x="1083189" y="1636899"/>
                  <a:pt x="1080846" y="1639166"/>
                  <a:pt x="1077931" y="1640300"/>
                </a:cubicBezTo>
                <a:cubicBezTo>
                  <a:pt x="1073635" y="1642033"/>
                  <a:pt x="1069035" y="1642843"/>
                  <a:pt x="1064405" y="1642681"/>
                </a:cubicBezTo>
                <a:cubicBezTo>
                  <a:pt x="1057157" y="1642443"/>
                  <a:pt x="1049946" y="1641481"/>
                  <a:pt x="1042879" y="1639824"/>
                </a:cubicBezTo>
                <a:cubicBezTo>
                  <a:pt x="1034335" y="1637728"/>
                  <a:pt x="1025915" y="1635185"/>
                  <a:pt x="1017638" y="1632204"/>
                </a:cubicBezTo>
                <a:cubicBezTo>
                  <a:pt x="1009275" y="1629032"/>
                  <a:pt x="1001103" y="1625374"/>
                  <a:pt x="993158" y="1621250"/>
                </a:cubicBezTo>
                <a:cubicBezTo>
                  <a:pt x="989348" y="1619250"/>
                  <a:pt x="985824" y="1617154"/>
                  <a:pt x="982587" y="1615059"/>
                </a:cubicBezTo>
                <a:cubicBezTo>
                  <a:pt x="979586" y="1613126"/>
                  <a:pt x="976690" y="1611021"/>
                  <a:pt x="973919" y="1608773"/>
                </a:cubicBezTo>
                <a:cubicBezTo>
                  <a:pt x="963536" y="1600296"/>
                  <a:pt x="959917" y="1592104"/>
                  <a:pt x="961822" y="1586485"/>
                </a:cubicBezTo>
                <a:cubicBezTo>
                  <a:pt x="963089" y="1583408"/>
                  <a:pt x="965679" y="1581055"/>
                  <a:pt x="968870" y="1580103"/>
                </a:cubicBezTo>
                <a:cubicBezTo>
                  <a:pt x="973728" y="1578703"/>
                  <a:pt x="978804" y="1578284"/>
                  <a:pt x="983824" y="1578865"/>
                </a:cubicBezTo>
                <a:close/>
                <a:moveTo>
                  <a:pt x="5892231" y="1575721"/>
                </a:moveTo>
                <a:cubicBezTo>
                  <a:pt x="5895755" y="1575617"/>
                  <a:pt x="5899289" y="1575712"/>
                  <a:pt x="5902804" y="1576007"/>
                </a:cubicBezTo>
                <a:cubicBezTo>
                  <a:pt x="5914901" y="1577151"/>
                  <a:pt x="5917377" y="1581341"/>
                  <a:pt x="5907852" y="1584389"/>
                </a:cubicBezTo>
                <a:cubicBezTo>
                  <a:pt x="5904956" y="1585294"/>
                  <a:pt x="5901994" y="1585999"/>
                  <a:pt x="5898994" y="1586484"/>
                </a:cubicBezTo>
                <a:lnTo>
                  <a:pt x="5893469" y="1587246"/>
                </a:lnTo>
                <a:lnTo>
                  <a:pt x="5887659" y="1588008"/>
                </a:lnTo>
                <a:cubicBezTo>
                  <a:pt x="5880287" y="1588819"/>
                  <a:pt x="5872867" y="1589048"/>
                  <a:pt x="5865466" y="1588675"/>
                </a:cubicBezTo>
                <a:cubicBezTo>
                  <a:pt x="5859465" y="1588675"/>
                  <a:pt x="5855941" y="1586961"/>
                  <a:pt x="5854798" y="1585438"/>
                </a:cubicBezTo>
                <a:cubicBezTo>
                  <a:pt x="5853655" y="1583914"/>
                  <a:pt x="5855369" y="1582008"/>
                  <a:pt x="5859941" y="1580388"/>
                </a:cubicBezTo>
                <a:cubicBezTo>
                  <a:pt x="5866533" y="1578474"/>
                  <a:pt x="5873295" y="1577198"/>
                  <a:pt x="5880134" y="1576579"/>
                </a:cubicBezTo>
                <a:close/>
                <a:moveTo>
                  <a:pt x="4451789" y="1574073"/>
                </a:moveTo>
                <a:cubicBezTo>
                  <a:pt x="4462766" y="1575418"/>
                  <a:pt x="4467434" y="1580489"/>
                  <a:pt x="4463671" y="1588871"/>
                </a:cubicBezTo>
                <a:cubicBezTo>
                  <a:pt x="4456147" y="1605636"/>
                  <a:pt x="4422904" y="1624972"/>
                  <a:pt x="4383661" y="1636496"/>
                </a:cubicBezTo>
                <a:cubicBezTo>
                  <a:pt x="4344418" y="1648022"/>
                  <a:pt x="4318415" y="1645925"/>
                  <a:pt x="4322892" y="1630687"/>
                </a:cubicBezTo>
                <a:cubicBezTo>
                  <a:pt x="4327559" y="1614876"/>
                  <a:pt x="4360992" y="1593921"/>
                  <a:pt x="4402045" y="1581633"/>
                </a:cubicBezTo>
                <a:cubicBezTo>
                  <a:pt x="4423524" y="1575109"/>
                  <a:pt x="4440811" y="1572727"/>
                  <a:pt x="4451789" y="1574073"/>
                </a:cubicBezTo>
                <a:close/>
                <a:moveTo>
                  <a:pt x="4742658" y="1571346"/>
                </a:moveTo>
                <a:cubicBezTo>
                  <a:pt x="4750183" y="1573346"/>
                  <a:pt x="4752183" y="1578204"/>
                  <a:pt x="4747611" y="1585443"/>
                </a:cubicBezTo>
                <a:cubicBezTo>
                  <a:pt x="4744619" y="1589691"/>
                  <a:pt x="4740951" y="1593426"/>
                  <a:pt x="4736753" y="1596492"/>
                </a:cubicBezTo>
                <a:cubicBezTo>
                  <a:pt x="4734276" y="1598397"/>
                  <a:pt x="4731609" y="1600207"/>
                  <a:pt x="4728752" y="1602016"/>
                </a:cubicBezTo>
                <a:cubicBezTo>
                  <a:pt x="4725683" y="1604008"/>
                  <a:pt x="4722502" y="1605818"/>
                  <a:pt x="4719227" y="1607445"/>
                </a:cubicBezTo>
                <a:cubicBezTo>
                  <a:pt x="4704709" y="1615170"/>
                  <a:pt x="4689287" y="1621056"/>
                  <a:pt x="4673316" y="1624972"/>
                </a:cubicBezTo>
                <a:cubicBezTo>
                  <a:pt x="4641693" y="1633162"/>
                  <a:pt x="4623977" y="1629067"/>
                  <a:pt x="4631978" y="1614876"/>
                </a:cubicBezTo>
                <a:cubicBezTo>
                  <a:pt x="4638947" y="1605264"/>
                  <a:pt x="4648171" y="1597511"/>
                  <a:pt x="4658838" y="1592301"/>
                </a:cubicBezTo>
                <a:cubicBezTo>
                  <a:pt x="4662172" y="1590396"/>
                  <a:pt x="4665601" y="1588777"/>
                  <a:pt x="4669220" y="1587062"/>
                </a:cubicBezTo>
                <a:cubicBezTo>
                  <a:pt x="4672840" y="1585348"/>
                  <a:pt x="4676650" y="1583824"/>
                  <a:pt x="4680555" y="1582299"/>
                </a:cubicBezTo>
                <a:cubicBezTo>
                  <a:pt x="4688651" y="1579185"/>
                  <a:pt x="4696919" y="1576546"/>
                  <a:pt x="4705320" y="1574394"/>
                </a:cubicBezTo>
                <a:cubicBezTo>
                  <a:pt x="4717360" y="1570489"/>
                  <a:pt x="4730144" y="1569450"/>
                  <a:pt x="4742658" y="1571346"/>
                </a:cubicBezTo>
                <a:close/>
                <a:moveTo>
                  <a:pt x="2782167" y="1571154"/>
                </a:moveTo>
                <a:cubicBezTo>
                  <a:pt x="2796673" y="1571726"/>
                  <a:pt x="2810523" y="1577355"/>
                  <a:pt x="2821315" y="1587062"/>
                </a:cubicBezTo>
                <a:cubicBezTo>
                  <a:pt x="2836173" y="1603636"/>
                  <a:pt x="2817982" y="1622399"/>
                  <a:pt x="2777690" y="1632400"/>
                </a:cubicBezTo>
                <a:cubicBezTo>
                  <a:pt x="2737400" y="1642400"/>
                  <a:pt x="2696531" y="1638305"/>
                  <a:pt x="2680053" y="1622017"/>
                </a:cubicBezTo>
                <a:cubicBezTo>
                  <a:pt x="2672756" y="1616323"/>
                  <a:pt x="2671461" y="1605788"/>
                  <a:pt x="2677157" y="1598492"/>
                </a:cubicBezTo>
                <a:cubicBezTo>
                  <a:pt x="2677748" y="1597740"/>
                  <a:pt x="2678395" y="1597035"/>
                  <a:pt x="2679100" y="1596397"/>
                </a:cubicBezTo>
                <a:cubicBezTo>
                  <a:pt x="2691397" y="1585624"/>
                  <a:pt x="2706427" y="1578441"/>
                  <a:pt x="2722534" y="1575631"/>
                </a:cubicBezTo>
                <a:cubicBezTo>
                  <a:pt x="2741999" y="1570679"/>
                  <a:pt x="2762182" y="1569165"/>
                  <a:pt x="2782167" y="1571154"/>
                </a:cubicBezTo>
                <a:close/>
                <a:moveTo>
                  <a:pt x="6165884" y="1570863"/>
                </a:moveTo>
                <a:cubicBezTo>
                  <a:pt x="6176552" y="1572863"/>
                  <a:pt x="6177028" y="1575530"/>
                  <a:pt x="6167027" y="1577340"/>
                </a:cubicBezTo>
                <a:cubicBezTo>
                  <a:pt x="6162055" y="1578159"/>
                  <a:pt x="6157016" y="1578578"/>
                  <a:pt x="6151977" y="1578578"/>
                </a:cubicBezTo>
                <a:cubicBezTo>
                  <a:pt x="6146872" y="1578607"/>
                  <a:pt x="6141776" y="1578197"/>
                  <a:pt x="6136737" y="1577340"/>
                </a:cubicBezTo>
                <a:cubicBezTo>
                  <a:pt x="6131403" y="1576387"/>
                  <a:pt x="6128546" y="1575340"/>
                  <a:pt x="6128355" y="1574197"/>
                </a:cubicBezTo>
                <a:cubicBezTo>
                  <a:pt x="6128165" y="1573053"/>
                  <a:pt x="6130355" y="1571911"/>
                  <a:pt x="6135309" y="1570958"/>
                </a:cubicBezTo>
                <a:cubicBezTo>
                  <a:pt x="6145424" y="1569215"/>
                  <a:pt x="6155759" y="1569177"/>
                  <a:pt x="6165884" y="1570863"/>
                </a:cubicBezTo>
                <a:close/>
                <a:moveTo>
                  <a:pt x="5093749" y="1569441"/>
                </a:moveTo>
                <a:cubicBezTo>
                  <a:pt x="5120896" y="1565630"/>
                  <a:pt x="5131183" y="1571441"/>
                  <a:pt x="5117943" y="1582776"/>
                </a:cubicBezTo>
                <a:cubicBezTo>
                  <a:pt x="5109143" y="1589510"/>
                  <a:pt x="5099296" y="1594758"/>
                  <a:pt x="5088796" y="1598301"/>
                </a:cubicBezTo>
                <a:lnTo>
                  <a:pt x="5084224" y="1600205"/>
                </a:lnTo>
                <a:lnTo>
                  <a:pt x="5079367" y="1601826"/>
                </a:lnTo>
                <a:cubicBezTo>
                  <a:pt x="5076128" y="1602873"/>
                  <a:pt x="5072794" y="1603921"/>
                  <a:pt x="5069842" y="1604778"/>
                </a:cubicBezTo>
                <a:cubicBezTo>
                  <a:pt x="5063238" y="1606646"/>
                  <a:pt x="5056526" y="1608112"/>
                  <a:pt x="5049744" y="1609160"/>
                </a:cubicBezTo>
                <a:cubicBezTo>
                  <a:pt x="5044264" y="1610056"/>
                  <a:pt x="5038722" y="1610494"/>
                  <a:pt x="5033170" y="1610494"/>
                </a:cubicBezTo>
                <a:cubicBezTo>
                  <a:pt x="5029695" y="1610579"/>
                  <a:pt x="5026234" y="1609999"/>
                  <a:pt x="5022979" y="1608779"/>
                </a:cubicBezTo>
                <a:cubicBezTo>
                  <a:pt x="5018121" y="1606398"/>
                  <a:pt x="5018311" y="1602302"/>
                  <a:pt x="5024217" y="1596587"/>
                </a:cubicBezTo>
                <a:cubicBezTo>
                  <a:pt x="5027824" y="1593272"/>
                  <a:pt x="5031861" y="1590453"/>
                  <a:pt x="5036218" y="1588205"/>
                </a:cubicBezTo>
                <a:cubicBezTo>
                  <a:pt x="5041656" y="1585195"/>
                  <a:pt x="5047288" y="1582557"/>
                  <a:pt x="5053078" y="1580299"/>
                </a:cubicBezTo>
                <a:cubicBezTo>
                  <a:pt x="5066173" y="1575127"/>
                  <a:pt x="5079820" y="1571488"/>
                  <a:pt x="5093749" y="1569441"/>
                </a:cubicBezTo>
                <a:close/>
                <a:moveTo>
                  <a:pt x="3387873" y="1565976"/>
                </a:moveTo>
                <a:cubicBezTo>
                  <a:pt x="3403634" y="1568011"/>
                  <a:pt x="3414516" y="1573822"/>
                  <a:pt x="3417469" y="1582966"/>
                </a:cubicBezTo>
                <a:cubicBezTo>
                  <a:pt x="3423372" y="1601254"/>
                  <a:pt x="3397088" y="1619924"/>
                  <a:pt x="3355855" y="1630782"/>
                </a:cubicBezTo>
                <a:cubicBezTo>
                  <a:pt x="3312902" y="1642210"/>
                  <a:pt x="3275567" y="1637924"/>
                  <a:pt x="3267759" y="1620589"/>
                </a:cubicBezTo>
                <a:cubicBezTo>
                  <a:pt x="3259948" y="1603255"/>
                  <a:pt x="3285853" y="1582966"/>
                  <a:pt x="3328998" y="1571631"/>
                </a:cubicBezTo>
                <a:cubicBezTo>
                  <a:pt x="3351475" y="1565678"/>
                  <a:pt x="3372117" y="1563940"/>
                  <a:pt x="3387873" y="1565976"/>
                </a:cubicBezTo>
                <a:close/>
                <a:moveTo>
                  <a:pt x="5776978" y="1560007"/>
                </a:moveTo>
                <a:cubicBezTo>
                  <a:pt x="5780179" y="1560036"/>
                  <a:pt x="5783370" y="1560388"/>
                  <a:pt x="5786503" y="1561055"/>
                </a:cubicBezTo>
                <a:cubicBezTo>
                  <a:pt x="5788389" y="1561418"/>
                  <a:pt x="5790151" y="1562236"/>
                  <a:pt x="5791647" y="1563436"/>
                </a:cubicBezTo>
                <a:cubicBezTo>
                  <a:pt x="5793552" y="1565246"/>
                  <a:pt x="5792218" y="1567532"/>
                  <a:pt x="5787075" y="1569627"/>
                </a:cubicBezTo>
                <a:cubicBezTo>
                  <a:pt x="5779674" y="1572294"/>
                  <a:pt x="5772016" y="1574142"/>
                  <a:pt x="5764215" y="1575152"/>
                </a:cubicBezTo>
                <a:cubicBezTo>
                  <a:pt x="5755461" y="1576552"/>
                  <a:pt x="5746603" y="1577219"/>
                  <a:pt x="5737735" y="1577152"/>
                </a:cubicBezTo>
                <a:cubicBezTo>
                  <a:pt x="5723162" y="1577152"/>
                  <a:pt x="5718685" y="1572104"/>
                  <a:pt x="5729353" y="1567627"/>
                </a:cubicBezTo>
                <a:cubicBezTo>
                  <a:pt x="5744698" y="1562493"/>
                  <a:pt x="5760795" y="1559922"/>
                  <a:pt x="5776978" y="1560007"/>
                </a:cubicBezTo>
                <a:close/>
                <a:moveTo>
                  <a:pt x="5236149" y="1554486"/>
                </a:moveTo>
                <a:cubicBezTo>
                  <a:pt x="5260533" y="1552582"/>
                  <a:pt x="5270248" y="1558867"/>
                  <a:pt x="5257485" y="1568203"/>
                </a:cubicBezTo>
                <a:cubicBezTo>
                  <a:pt x="5237003" y="1580100"/>
                  <a:pt x="5214320" y="1587710"/>
                  <a:pt x="5190810" y="1590587"/>
                </a:cubicBezTo>
                <a:cubicBezTo>
                  <a:pt x="5167474" y="1593634"/>
                  <a:pt x="5156901" y="1588015"/>
                  <a:pt x="5168521" y="1578490"/>
                </a:cubicBezTo>
                <a:cubicBezTo>
                  <a:pt x="5172376" y="1575604"/>
                  <a:pt x="5176489" y="1573089"/>
                  <a:pt x="5180809" y="1570964"/>
                </a:cubicBezTo>
                <a:cubicBezTo>
                  <a:pt x="5186404" y="1568289"/>
                  <a:pt x="5192161" y="1565964"/>
                  <a:pt x="5198049" y="1564011"/>
                </a:cubicBezTo>
                <a:cubicBezTo>
                  <a:pt x="5210402" y="1559583"/>
                  <a:pt x="5223164" y="1556391"/>
                  <a:pt x="5236149" y="1554486"/>
                </a:cubicBezTo>
                <a:close/>
                <a:moveTo>
                  <a:pt x="3877871" y="1553581"/>
                </a:moveTo>
                <a:cubicBezTo>
                  <a:pt x="3891528" y="1555510"/>
                  <a:pt x="3899315" y="1561440"/>
                  <a:pt x="3898743" y="1570964"/>
                </a:cubicBezTo>
                <a:cubicBezTo>
                  <a:pt x="3897695" y="1588491"/>
                  <a:pt x="3866548" y="1609066"/>
                  <a:pt x="3824162" y="1620589"/>
                </a:cubicBezTo>
                <a:cubicBezTo>
                  <a:pt x="3781776" y="1632116"/>
                  <a:pt x="3750724" y="1628782"/>
                  <a:pt x="3749200" y="1611351"/>
                </a:cubicBezTo>
                <a:cubicBezTo>
                  <a:pt x="3747295" y="1594016"/>
                  <a:pt x="3777775" y="1572583"/>
                  <a:pt x="3821781" y="1560201"/>
                </a:cubicBezTo>
                <a:cubicBezTo>
                  <a:pt x="3844689" y="1553725"/>
                  <a:pt x="3864215" y="1551653"/>
                  <a:pt x="3877871" y="1553581"/>
                </a:cubicBezTo>
                <a:close/>
                <a:moveTo>
                  <a:pt x="5646771" y="1551438"/>
                </a:moveTo>
                <a:cubicBezTo>
                  <a:pt x="5650724" y="1551362"/>
                  <a:pt x="5654677" y="1551648"/>
                  <a:pt x="5658582" y="1552295"/>
                </a:cubicBezTo>
                <a:cubicBezTo>
                  <a:pt x="5660639" y="1552494"/>
                  <a:pt x="5662583" y="1553371"/>
                  <a:pt x="5664107" y="1554772"/>
                </a:cubicBezTo>
                <a:cubicBezTo>
                  <a:pt x="5665630" y="1556867"/>
                  <a:pt x="5662964" y="1559533"/>
                  <a:pt x="5655725" y="1562773"/>
                </a:cubicBezTo>
                <a:cubicBezTo>
                  <a:pt x="5647724" y="1566058"/>
                  <a:pt x="5639389" y="1568459"/>
                  <a:pt x="5630864" y="1569917"/>
                </a:cubicBezTo>
                <a:cubicBezTo>
                  <a:pt x="5626140" y="1570793"/>
                  <a:pt x="5621368" y="1571431"/>
                  <a:pt x="5616577" y="1571822"/>
                </a:cubicBezTo>
                <a:cubicBezTo>
                  <a:pt x="5611814" y="1571822"/>
                  <a:pt x="5607052" y="1572584"/>
                  <a:pt x="5602575" y="1572584"/>
                </a:cubicBezTo>
                <a:cubicBezTo>
                  <a:pt x="5584763" y="1572584"/>
                  <a:pt x="5580858" y="1568297"/>
                  <a:pt x="5593241" y="1562106"/>
                </a:cubicBezTo>
                <a:cubicBezTo>
                  <a:pt x="5601013" y="1558486"/>
                  <a:pt x="5609204" y="1555866"/>
                  <a:pt x="5617625" y="1554295"/>
                </a:cubicBezTo>
                <a:cubicBezTo>
                  <a:pt x="5627235" y="1552448"/>
                  <a:pt x="5636989" y="1551495"/>
                  <a:pt x="5646771" y="1551438"/>
                </a:cubicBezTo>
                <a:close/>
                <a:moveTo>
                  <a:pt x="6289137" y="1549051"/>
                </a:moveTo>
                <a:cubicBezTo>
                  <a:pt x="6294204" y="1548603"/>
                  <a:pt x="6299310" y="1548603"/>
                  <a:pt x="6304377" y="1549051"/>
                </a:cubicBezTo>
                <a:cubicBezTo>
                  <a:pt x="6309568" y="1549299"/>
                  <a:pt x="6314731" y="1549975"/>
                  <a:pt x="6319808" y="1551051"/>
                </a:cubicBezTo>
                <a:cubicBezTo>
                  <a:pt x="6329333" y="1553337"/>
                  <a:pt x="6328856" y="1556480"/>
                  <a:pt x="6318760" y="1557433"/>
                </a:cubicBezTo>
                <a:cubicBezTo>
                  <a:pt x="6313597" y="1557861"/>
                  <a:pt x="6308397" y="1557861"/>
                  <a:pt x="6303234" y="1557433"/>
                </a:cubicBezTo>
                <a:cubicBezTo>
                  <a:pt x="6298262" y="1557176"/>
                  <a:pt x="6293319" y="1556480"/>
                  <a:pt x="6288470" y="1555337"/>
                </a:cubicBezTo>
                <a:cubicBezTo>
                  <a:pt x="6280850" y="1552575"/>
                  <a:pt x="6281041" y="1550289"/>
                  <a:pt x="6289137" y="1549051"/>
                </a:cubicBezTo>
                <a:close/>
                <a:moveTo>
                  <a:pt x="5375499" y="1548580"/>
                </a:moveTo>
                <a:cubicBezTo>
                  <a:pt x="5379963" y="1548113"/>
                  <a:pt x="5384464" y="1548113"/>
                  <a:pt x="5388929" y="1548580"/>
                </a:cubicBezTo>
                <a:cubicBezTo>
                  <a:pt x="5391530" y="1548781"/>
                  <a:pt x="5394013" y="1549742"/>
                  <a:pt x="5396073" y="1551342"/>
                </a:cubicBezTo>
                <a:cubicBezTo>
                  <a:pt x="5398550" y="1554295"/>
                  <a:pt x="5396740" y="1557914"/>
                  <a:pt x="5389691" y="1562107"/>
                </a:cubicBezTo>
                <a:cubicBezTo>
                  <a:pt x="5380386" y="1567201"/>
                  <a:pt x="5370462" y="1571078"/>
                  <a:pt x="5360164" y="1573632"/>
                </a:cubicBezTo>
                <a:cubicBezTo>
                  <a:pt x="5354354" y="1575251"/>
                  <a:pt x="5348258" y="1576679"/>
                  <a:pt x="5342352" y="1577728"/>
                </a:cubicBezTo>
                <a:cubicBezTo>
                  <a:pt x="5336743" y="1578775"/>
                  <a:pt x="5331084" y="1579537"/>
                  <a:pt x="5325398" y="1580014"/>
                </a:cubicBezTo>
                <a:cubicBezTo>
                  <a:pt x="5304157" y="1581537"/>
                  <a:pt x="5296823" y="1575727"/>
                  <a:pt x="5310062" y="1567250"/>
                </a:cubicBezTo>
                <a:cubicBezTo>
                  <a:pt x="5319288" y="1561801"/>
                  <a:pt x="5329226" y="1557668"/>
                  <a:pt x="5339590" y="1554962"/>
                </a:cubicBezTo>
                <a:cubicBezTo>
                  <a:pt x="5351314" y="1551628"/>
                  <a:pt x="5363345" y="1549494"/>
                  <a:pt x="5375499" y="1548580"/>
                </a:cubicBezTo>
                <a:close/>
                <a:moveTo>
                  <a:pt x="1988528" y="1546483"/>
                </a:moveTo>
                <a:cubicBezTo>
                  <a:pt x="2008140" y="1543559"/>
                  <a:pt x="2028104" y="1543978"/>
                  <a:pt x="2047583" y="1547720"/>
                </a:cubicBezTo>
                <a:cubicBezTo>
                  <a:pt x="2063908" y="1549902"/>
                  <a:pt x="2079424" y="1556122"/>
                  <a:pt x="2092730" y="1565819"/>
                </a:cubicBezTo>
                <a:cubicBezTo>
                  <a:pt x="2110066" y="1580963"/>
                  <a:pt x="2097112" y="1598299"/>
                  <a:pt x="2064156" y="1604776"/>
                </a:cubicBezTo>
                <a:cubicBezTo>
                  <a:pt x="2054888" y="1606490"/>
                  <a:pt x="2045477" y="1607319"/>
                  <a:pt x="2036057" y="1607252"/>
                </a:cubicBezTo>
                <a:cubicBezTo>
                  <a:pt x="2026295" y="1607252"/>
                  <a:pt x="2016551" y="1606490"/>
                  <a:pt x="2006911" y="1604966"/>
                </a:cubicBezTo>
                <a:cubicBezTo>
                  <a:pt x="1990214" y="1602909"/>
                  <a:pt x="1974202" y="1597108"/>
                  <a:pt x="1960048" y="1588012"/>
                </a:cubicBezTo>
                <a:cubicBezTo>
                  <a:pt x="1949094" y="1579820"/>
                  <a:pt x="1946904" y="1570962"/>
                  <a:pt x="1952143" y="1563342"/>
                </a:cubicBezTo>
                <a:cubicBezTo>
                  <a:pt x="1955553" y="1558875"/>
                  <a:pt x="1960086" y="1555389"/>
                  <a:pt x="1965287" y="1553246"/>
                </a:cubicBezTo>
                <a:cubicBezTo>
                  <a:pt x="1972659" y="1549864"/>
                  <a:pt x="1980489" y="1547578"/>
                  <a:pt x="1988528" y="1546483"/>
                </a:cubicBezTo>
                <a:close/>
                <a:moveTo>
                  <a:pt x="5511231" y="1546295"/>
                </a:moveTo>
                <a:cubicBezTo>
                  <a:pt x="5522089" y="1546295"/>
                  <a:pt x="5528852" y="1547056"/>
                  <a:pt x="5530947" y="1549343"/>
                </a:cubicBezTo>
                <a:cubicBezTo>
                  <a:pt x="5533043" y="1551628"/>
                  <a:pt x="5531995" y="1551819"/>
                  <a:pt x="5530947" y="1553343"/>
                </a:cubicBezTo>
                <a:cubicBezTo>
                  <a:pt x="5528861" y="1555495"/>
                  <a:pt x="5526414" y="1557276"/>
                  <a:pt x="5523708" y="1558581"/>
                </a:cubicBezTo>
                <a:cubicBezTo>
                  <a:pt x="5515060" y="1562953"/>
                  <a:pt x="5505868" y="1566154"/>
                  <a:pt x="5496372" y="1568107"/>
                </a:cubicBezTo>
                <a:cubicBezTo>
                  <a:pt x="5491038" y="1569345"/>
                  <a:pt x="5485513" y="1570297"/>
                  <a:pt x="5480084" y="1571060"/>
                </a:cubicBezTo>
                <a:cubicBezTo>
                  <a:pt x="5474721" y="1571888"/>
                  <a:pt x="5469311" y="1572394"/>
                  <a:pt x="5463891" y="1572583"/>
                </a:cubicBezTo>
                <a:cubicBezTo>
                  <a:pt x="5444841" y="1573345"/>
                  <a:pt x="5439031" y="1568678"/>
                  <a:pt x="5451223" y="1561248"/>
                </a:cubicBezTo>
                <a:cubicBezTo>
                  <a:pt x="5459662" y="1556619"/>
                  <a:pt x="5468701" y="1553190"/>
                  <a:pt x="5478084" y="1551057"/>
                </a:cubicBezTo>
                <a:lnTo>
                  <a:pt x="5482084" y="1550009"/>
                </a:lnTo>
                <a:lnTo>
                  <a:pt x="5486275" y="1549152"/>
                </a:lnTo>
                <a:lnTo>
                  <a:pt x="5494657" y="1547818"/>
                </a:lnTo>
                <a:cubicBezTo>
                  <a:pt x="5500182" y="1547056"/>
                  <a:pt x="5505801" y="1546486"/>
                  <a:pt x="5511231" y="1546295"/>
                </a:cubicBezTo>
                <a:close/>
                <a:moveTo>
                  <a:pt x="4897094" y="1544056"/>
                </a:moveTo>
                <a:cubicBezTo>
                  <a:pt x="4904012" y="1546485"/>
                  <a:pt x="4905726" y="1551343"/>
                  <a:pt x="4900297" y="1557724"/>
                </a:cubicBezTo>
                <a:cubicBezTo>
                  <a:pt x="4891501" y="1566384"/>
                  <a:pt x="4881121" y="1573279"/>
                  <a:pt x="4869721" y="1578013"/>
                </a:cubicBezTo>
                <a:cubicBezTo>
                  <a:pt x="4862863" y="1581252"/>
                  <a:pt x="4855434" y="1584205"/>
                  <a:pt x="4847909" y="1586872"/>
                </a:cubicBezTo>
                <a:cubicBezTo>
                  <a:pt x="4840627" y="1589539"/>
                  <a:pt x="4833183" y="1591730"/>
                  <a:pt x="4825621" y="1593444"/>
                </a:cubicBezTo>
                <a:cubicBezTo>
                  <a:pt x="4815121" y="1596273"/>
                  <a:pt x="4804124" y="1596730"/>
                  <a:pt x="4793426" y="1594778"/>
                </a:cubicBezTo>
                <a:cubicBezTo>
                  <a:pt x="4786473" y="1592777"/>
                  <a:pt x="4783901" y="1588586"/>
                  <a:pt x="4787997" y="1582490"/>
                </a:cubicBezTo>
                <a:cubicBezTo>
                  <a:pt x="4795847" y="1573451"/>
                  <a:pt x="4805608" y="1566259"/>
                  <a:pt x="4816572" y="1561440"/>
                </a:cubicBezTo>
                <a:cubicBezTo>
                  <a:pt x="4823809" y="1557829"/>
                  <a:pt x="4831251" y="1554648"/>
                  <a:pt x="4838860" y="1551915"/>
                </a:cubicBezTo>
                <a:cubicBezTo>
                  <a:pt x="4842766" y="1550390"/>
                  <a:pt x="4846766" y="1549247"/>
                  <a:pt x="4850671" y="1548104"/>
                </a:cubicBezTo>
                <a:cubicBezTo>
                  <a:pt x="4854577" y="1546962"/>
                  <a:pt x="4858768" y="1545723"/>
                  <a:pt x="4862673" y="1544962"/>
                </a:cubicBezTo>
                <a:cubicBezTo>
                  <a:pt x="4878056" y="1541627"/>
                  <a:pt x="4890177" y="1541627"/>
                  <a:pt x="4897094" y="1544056"/>
                </a:cubicBezTo>
                <a:close/>
                <a:moveTo>
                  <a:pt x="6017865" y="1540384"/>
                </a:moveTo>
                <a:cubicBezTo>
                  <a:pt x="6025095" y="1540079"/>
                  <a:pt x="6032334" y="1540460"/>
                  <a:pt x="6039487" y="1541526"/>
                </a:cubicBezTo>
                <a:cubicBezTo>
                  <a:pt x="6051488" y="1543526"/>
                  <a:pt x="6051774" y="1546669"/>
                  <a:pt x="6040630" y="1549527"/>
                </a:cubicBezTo>
                <a:cubicBezTo>
                  <a:pt x="6033934" y="1551279"/>
                  <a:pt x="6027066" y="1552298"/>
                  <a:pt x="6020151" y="1552575"/>
                </a:cubicBezTo>
                <a:cubicBezTo>
                  <a:pt x="6012969" y="1553003"/>
                  <a:pt x="6005759" y="1552746"/>
                  <a:pt x="5998625" y="1551813"/>
                </a:cubicBezTo>
                <a:cubicBezTo>
                  <a:pt x="5985099" y="1550098"/>
                  <a:pt x="5984337" y="1546764"/>
                  <a:pt x="5996815" y="1543431"/>
                </a:cubicBezTo>
                <a:cubicBezTo>
                  <a:pt x="6000139" y="1542545"/>
                  <a:pt x="6003511" y="1541849"/>
                  <a:pt x="6006911" y="1541335"/>
                </a:cubicBezTo>
                <a:cubicBezTo>
                  <a:pt x="6010436" y="1541335"/>
                  <a:pt x="6014151" y="1540574"/>
                  <a:pt x="6017865" y="1540384"/>
                </a:cubicBezTo>
                <a:close/>
                <a:moveTo>
                  <a:pt x="4291614" y="1537455"/>
                </a:moveTo>
                <a:cubicBezTo>
                  <a:pt x="4304079" y="1538968"/>
                  <a:pt x="4311033" y="1544009"/>
                  <a:pt x="4309080" y="1552105"/>
                </a:cubicBezTo>
                <a:cubicBezTo>
                  <a:pt x="4305175" y="1568298"/>
                  <a:pt x="4267837" y="1591730"/>
                  <a:pt x="4229451" y="1603255"/>
                </a:cubicBezTo>
                <a:cubicBezTo>
                  <a:pt x="4191065" y="1614780"/>
                  <a:pt x="4159157" y="1611637"/>
                  <a:pt x="4161157" y="1596492"/>
                </a:cubicBezTo>
                <a:cubicBezTo>
                  <a:pt x="4163252" y="1580967"/>
                  <a:pt x="4200876" y="1556105"/>
                  <a:pt x="4241072" y="1544009"/>
                </a:cubicBezTo>
                <a:cubicBezTo>
                  <a:pt x="4261170" y="1537968"/>
                  <a:pt x="4279148" y="1535944"/>
                  <a:pt x="4291614" y="1537455"/>
                </a:cubicBezTo>
                <a:close/>
                <a:moveTo>
                  <a:pt x="4631550" y="1528276"/>
                </a:moveTo>
                <a:cubicBezTo>
                  <a:pt x="4640265" y="1530372"/>
                  <a:pt x="4643789" y="1535540"/>
                  <a:pt x="4640074" y="1543056"/>
                </a:cubicBezTo>
                <a:cubicBezTo>
                  <a:pt x="4632992" y="1553467"/>
                  <a:pt x="4623392" y="1561925"/>
                  <a:pt x="4612166" y="1567630"/>
                </a:cubicBezTo>
                <a:cubicBezTo>
                  <a:pt x="4604866" y="1571813"/>
                  <a:pt x="4597328" y="1575566"/>
                  <a:pt x="4589592" y="1578870"/>
                </a:cubicBezTo>
                <a:cubicBezTo>
                  <a:pt x="4581577" y="1582405"/>
                  <a:pt x="4573336" y="1585396"/>
                  <a:pt x="4564922" y="1587824"/>
                </a:cubicBezTo>
                <a:cubicBezTo>
                  <a:pt x="4557728" y="1589920"/>
                  <a:pt x="4550366" y="1591387"/>
                  <a:pt x="4542919" y="1592206"/>
                </a:cubicBezTo>
                <a:cubicBezTo>
                  <a:pt x="4539915" y="1592539"/>
                  <a:pt x="4536893" y="1592701"/>
                  <a:pt x="4533870" y="1592682"/>
                </a:cubicBezTo>
                <a:lnTo>
                  <a:pt x="4529965" y="1592682"/>
                </a:lnTo>
                <a:lnTo>
                  <a:pt x="4528060" y="1592682"/>
                </a:lnTo>
                <a:lnTo>
                  <a:pt x="4526250" y="1592682"/>
                </a:lnTo>
                <a:cubicBezTo>
                  <a:pt x="4516440" y="1590682"/>
                  <a:pt x="4511963" y="1586204"/>
                  <a:pt x="4515201" y="1578870"/>
                </a:cubicBezTo>
                <a:cubicBezTo>
                  <a:pt x="4516256" y="1576642"/>
                  <a:pt x="4517601" y="1574556"/>
                  <a:pt x="4519202" y="1572680"/>
                </a:cubicBezTo>
                <a:lnTo>
                  <a:pt x="4520631" y="1571060"/>
                </a:lnTo>
                <a:lnTo>
                  <a:pt x="4522155" y="1569441"/>
                </a:lnTo>
                <a:cubicBezTo>
                  <a:pt x="4523107" y="1568393"/>
                  <a:pt x="4524155" y="1567346"/>
                  <a:pt x="4525393" y="1566203"/>
                </a:cubicBezTo>
                <a:cubicBezTo>
                  <a:pt x="4530782" y="1561345"/>
                  <a:pt x="4536618" y="1557010"/>
                  <a:pt x="4542824" y="1553248"/>
                </a:cubicBezTo>
                <a:cubicBezTo>
                  <a:pt x="4550260" y="1548704"/>
                  <a:pt x="4557993" y="1544657"/>
                  <a:pt x="4565970" y="1541152"/>
                </a:cubicBezTo>
                <a:cubicBezTo>
                  <a:pt x="4570065" y="1539349"/>
                  <a:pt x="4574352" y="1537635"/>
                  <a:pt x="4578733" y="1536016"/>
                </a:cubicBezTo>
                <a:cubicBezTo>
                  <a:pt x="4583115" y="1534396"/>
                  <a:pt x="4587496" y="1533158"/>
                  <a:pt x="4591878" y="1531920"/>
                </a:cubicBezTo>
                <a:cubicBezTo>
                  <a:pt x="4608928" y="1527159"/>
                  <a:pt x="4622834" y="1526182"/>
                  <a:pt x="4631550" y="1528276"/>
                </a:cubicBezTo>
                <a:close/>
                <a:moveTo>
                  <a:pt x="5021360" y="1520584"/>
                </a:moveTo>
                <a:cubicBezTo>
                  <a:pt x="5051459" y="1515822"/>
                  <a:pt x="5063746" y="1522014"/>
                  <a:pt x="5050601" y="1534968"/>
                </a:cubicBezTo>
                <a:cubicBezTo>
                  <a:pt x="5041696" y="1542580"/>
                  <a:pt x="5031503" y="1548542"/>
                  <a:pt x="5020502" y="1552582"/>
                </a:cubicBezTo>
                <a:cubicBezTo>
                  <a:pt x="5006904" y="1558210"/>
                  <a:pt x="4992719" y="1562297"/>
                  <a:pt x="4978211" y="1564774"/>
                </a:cubicBezTo>
                <a:cubicBezTo>
                  <a:pt x="4968284" y="1567116"/>
                  <a:pt x="4957945" y="1567116"/>
                  <a:pt x="4948017" y="1564774"/>
                </a:cubicBezTo>
                <a:cubicBezTo>
                  <a:pt x="4942588" y="1562487"/>
                  <a:pt x="4942112" y="1558010"/>
                  <a:pt x="4948017" y="1551628"/>
                </a:cubicBezTo>
                <a:cubicBezTo>
                  <a:pt x="4951612" y="1547934"/>
                  <a:pt x="4955679" y="1544733"/>
                  <a:pt x="4960114" y="1542103"/>
                </a:cubicBezTo>
                <a:cubicBezTo>
                  <a:pt x="4965715" y="1538843"/>
                  <a:pt x="4971540" y="1535976"/>
                  <a:pt x="4977545" y="1533538"/>
                </a:cubicBezTo>
                <a:cubicBezTo>
                  <a:pt x="4984447" y="1530614"/>
                  <a:pt x="4991506" y="1528071"/>
                  <a:pt x="4998690" y="1525918"/>
                </a:cubicBezTo>
                <a:cubicBezTo>
                  <a:pt x="5006113" y="1523614"/>
                  <a:pt x="5013688" y="1521833"/>
                  <a:pt x="5021360" y="1520584"/>
                </a:cubicBezTo>
                <a:close/>
                <a:moveTo>
                  <a:pt x="5893564" y="1519147"/>
                </a:moveTo>
                <a:lnTo>
                  <a:pt x="5899755" y="1519147"/>
                </a:lnTo>
                <a:cubicBezTo>
                  <a:pt x="5901698" y="1519242"/>
                  <a:pt x="5903641" y="1519433"/>
                  <a:pt x="5905565" y="1519718"/>
                </a:cubicBezTo>
                <a:cubicBezTo>
                  <a:pt x="5920996" y="1521623"/>
                  <a:pt x="5920615" y="1526195"/>
                  <a:pt x="5904994" y="1530577"/>
                </a:cubicBezTo>
                <a:lnTo>
                  <a:pt x="5899469" y="1531910"/>
                </a:lnTo>
                <a:lnTo>
                  <a:pt x="5893849" y="1533530"/>
                </a:lnTo>
                <a:cubicBezTo>
                  <a:pt x="5889754" y="1534197"/>
                  <a:pt x="5885563" y="1534768"/>
                  <a:pt x="5881372" y="1535054"/>
                </a:cubicBezTo>
                <a:cubicBezTo>
                  <a:pt x="5877181" y="1535339"/>
                  <a:pt x="5872990" y="1535625"/>
                  <a:pt x="5868894" y="1535625"/>
                </a:cubicBezTo>
                <a:cubicBezTo>
                  <a:pt x="5864798" y="1535625"/>
                  <a:pt x="5860417" y="1535149"/>
                  <a:pt x="5856702" y="1534863"/>
                </a:cubicBezTo>
                <a:cubicBezTo>
                  <a:pt x="5841557" y="1533339"/>
                  <a:pt x="5841367" y="1528862"/>
                  <a:pt x="5856702" y="1524100"/>
                </a:cubicBezTo>
                <a:lnTo>
                  <a:pt x="5862226" y="1522576"/>
                </a:lnTo>
                <a:lnTo>
                  <a:pt x="5868132" y="1521338"/>
                </a:lnTo>
                <a:cubicBezTo>
                  <a:pt x="5872132" y="1520671"/>
                  <a:pt x="5876419" y="1520099"/>
                  <a:pt x="5880705" y="1519718"/>
                </a:cubicBezTo>
                <a:cubicBezTo>
                  <a:pt x="5884991" y="1519337"/>
                  <a:pt x="5889373" y="1519147"/>
                  <a:pt x="5893564" y="1519147"/>
                </a:cubicBezTo>
                <a:close/>
                <a:moveTo>
                  <a:pt x="3076906" y="1510746"/>
                </a:moveTo>
                <a:cubicBezTo>
                  <a:pt x="3093540" y="1513937"/>
                  <a:pt x="3105636" y="1520581"/>
                  <a:pt x="3108781" y="1529629"/>
                </a:cubicBezTo>
                <a:cubicBezTo>
                  <a:pt x="3111733" y="1538202"/>
                  <a:pt x="3106684" y="1547818"/>
                  <a:pt x="3096207" y="1556295"/>
                </a:cubicBezTo>
                <a:cubicBezTo>
                  <a:pt x="3082816" y="1566344"/>
                  <a:pt x="3067365" y="1573307"/>
                  <a:pt x="3050962" y="1576679"/>
                </a:cubicBezTo>
                <a:cubicBezTo>
                  <a:pt x="3011054" y="1586204"/>
                  <a:pt x="2967524" y="1579727"/>
                  <a:pt x="2958189" y="1562867"/>
                </a:cubicBezTo>
                <a:cubicBezTo>
                  <a:pt x="2953237" y="1554009"/>
                  <a:pt x="2958189" y="1543818"/>
                  <a:pt x="2968667" y="1534297"/>
                </a:cubicBezTo>
                <a:cubicBezTo>
                  <a:pt x="2983116" y="1523295"/>
                  <a:pt x="2999956" y="1515856"/>
                  <a:pt x="3017816" y="1512579"/>
                </a:cubicBezTo>
                <a:cubicBezTo>
                  <a:pt x="3039106" y="1507817"/>
                  <a:pt x="3060274" y="1507555"/>
                  <a:pt x="3076906" y="1510746"/>
                </a:cubicBezTo>
                <a:close/>
                <a:moveTo>
                  <a:pt x="6169884" y="1510666"/>
                </a:moveTo>
                <a:cubicBezTo>
                  <a:pt x="6173628" y="1510475"/>
                  <a:pt x="6177381" y="1510475"/>
                  <a:pt x="6181124" y="1510666"/>
                </a:cubicBezTo>
                <a:cubicBezTo>
                  <a:pt x="6184315" y="1510875"/>
                  <a:pt x="6187496" y="1511256"/>
                  <a:pt x="6190649" y="1511809"/>
                </a:cubicBezTo>
                <a:cubicBezTo>
                  <a:pt x="6203222" y="1514000"/>
                  <a:pt x="6203603" y="1518381"/>
                  <a:pt x="6191697" y="1520572"/>
                </a:cubicBezTo>
                <a:cubicBezTo>
                  <a:pt x="6184953" y="1521562"/>
                  <a:pt x="6178133" y="1522001"/>
                  <a:pt x="6171313" y="1521905"/>
                </a:cubicBezTo>
                <a:cubicBezTo>
                  <a:pt x="6164550" y="1522010"/>
                  <a:pt x="6157788" y="1521496"/>
                  <a:pt x="6151120" y="1520381"/>
                </a:cubicBezTo>
                <a:cubicBezTo>
                  <a:pt x="6140928" y="1518667"/>
                  <a:pt x="6140166" y="1514476"/>
                  <a:pt x="6149977" y="1512571"/>
                </a:cubicBezTo>
                <a:cubicBezTo>
                  <a:pt x="6156530" y="1511285"/>
                  <a:pt x="6163198" y="1510647"/>
                  <a:pt x="6169884" y="1510666"/>
                </a:cubicBezTo>
                <a:close/>
                <a:moveTo>
                  <a:pt x="698639" y="1508855"/>
                </a:moveTo>
                <a:cubicBezTo>
                  <a:pt x="702726" y="1509293"/>
                  <a:pt x="706679" y="1510561"/>
                  <a:pt x="710259" y="1512570"/>
                </a:cubicBezTo>
                <a:cubicBezTo>
                  <a:pt x="715004" y="1514856"/>
                  <a:pt x="719528" y="1517561"/>
                  <a:pt x="723786" y="1520666"/>
                </a:cubicBezTo>
                <a:cubicBezTo>
                  <a:pt x="728786" y="1524143"/>
                  <a:pt x="733587" y="1527895"/>
                  <a:pt x="738169" y="1531905"/>
                </a:cubicBezTo>
                <a:cubicBezTo>
                  <a:pt x="743083" y="1535944"/>
                  <a:pt x="747759" y="1540268"/>
                  <a:pt x="752170" y="1544859"/>
                </a:cubicBezTo>
                <a:cubicBezTo>
                  <a:pt x="756447" y="1549050"/>
                  <a:pt x="760429" y="1553537"/>
                  <a:pt x="764077" y="1558290"/>
                </a:cubicBezTo>
                <a:cubicBezTo>
                  <a:pt x="765790" y="1560766"/>
                  <a:pt x="767410" y="1562957"/>
                  <a:pt x="768743" y="1565052"/>
                </a:cubicBezTo>
                <a:cubicBezTo>
                  <a:pt x="769867" y="1566900"/>
                  <a:pt x="770820" y="1568843"/>
                  <a:pt x="771600" y="1570863"/>
                </a:cubicBezTo>
                <a:cubicBezTo>
                  <a:pt x="772821" y="1573558"/>
                  <a:pt x="772821" y="1576644"/>
                  <a:pt x="771600" y="1579340"/>
                </a:cubicBezTo>
                <a:cubicBezTo>
                  <a:pt x="770249" y="1581635"/>
                  <a:pt x="767791" y="1583055"/>
                  <a:pt x="765124" y="1583055"/>
                </a:cubicBezTo>
                <a:cubicBezTo>
                  <a:pt x="763162" y="1583283"/>
                  <a:pt x="761181" y="1583283"/>
                  <a:pt x="759219" y="1583055"/>
                </a:cubicBezTo>
                <a:cubicBezTo>
                  <a:pt x="756770" y="1582645"/>
                  <a:pt x="754352" y="1582074"/>
                  <a:pt x="751980" y="1581340"/>
                </a:cubicBezTo>
                <a:cubicBezTo>
                  <a:pt x="746035" y="1579397"/>
                  <a:pt x="740312" y="1576816"/>
                  <a:pt x="734929" y="1573625"/>
                </a:cubicBezTo>
                <a:cubicBezTo>
                  <a:pt x="732073" y="1572034"/>
                  <a:pt x="729215" y="1570224"/>
                  <a:pt x="726358" y="1568196"/>
                </a:cubicBezTo>
                <a:lnTo>
                  <a:pt x="724262" y="1566767"/>
                </a:lnTo>
                <a:lnTo>
                  <a:pt x="722167" y="1565148"/>
                </a:lnTo>
                <a:lnTo>
                  <a:pt x="718166" y="1561909"/>
                </a:lnTo>
                <a:cubicBezTo>
                  <a:pt x="715498" y="1559623"/>
                  <a:pt x="712927" y="1557337"/>
                  <a:pt x="710451" y="1554956"/>
                </a:cubicBezTo>
                <a:cubicBezTo>
                  <a:pt x="707973" y="1552575"/>
                  <a:pt x="705879" y="1550003"/>
                  <a:pt x="703783" y="1547526"/>
                </a:cubicBezTo>
                <a:cubicBezTo>
                  <a:pt x="701688" y="1545050"/>
                  <a:pt x="699688" y="1542478"/>
                  <a:pt x="697972" y="1540002"/>
                </a:cubicBezTo>
                <a:cubicBezTo>
                  <a:pt x="696486" y="1537458"/>
                  <a:pt x="695182" y="1534820"/>
                  <a:pt x="694068" y="1532096"/>
                </a:cubicBezTo>
                <a:cubicBezTo>
                  <a:pt x="691886" y="1528105"/>
                  <a:pt x="690429" y="1523743"/>
                  <a:pt x="689781" y="1519237"/>
                </a:cubicBezTo>
                <a:cubicBezTo>
                  <a:pt x="689372" y="1516427"/>
                  <a:pt x="690058" y="1513560"/>
                  <a:pt x="691687" y="1511236"/>
                </a:cubicBezTo>
                <a:cubicBezTo>
                  <a:pt x="692458" y="1510369"/>
                  <a:pt x="693449" y="1509712"/>
                  <a:pt x="694543" y="1509331"/>
                </a:cubicBezTo>
                <a:cubicBezTo>
                  <a:pt x="695868" y="1508912"/>
                  <a:pt x="697259" y="1508750"/>
                  <a:pt x="698639" y="1508855"/>
                </a:cubicBezTo>
                <a:close/>
                <a:moveTo>
                  <a:pt x="3644949" y="1508581"/>
                </a:moveTo>
                <a:cubicBezTo>
                  <a:pt x="3660023" y="1510843"/>
                  <a:pt x="3670191" y="1516677"/>
                  <a:pt x="3671381" y="1525441"/>
                </a:cubicBezTo>
                <a:cubicBezTo>
                  <a:pt x="3673762" y="1542960"/>
                  <a:pt x="3641568" y="1566298"/>
                  <a:pt x="3601944" y="1576775"/>
                </a:cubicBezTo>
                <a:cubicBezTo>
                  <a:pt x="3561939" y="1587443"/>
                  <a:pt x="3523935" y="1582490"/>
                  <a:pt x="3519745" y="1565916"/>
                </a:cubicBezTo>
                <a:cubicBezTo>
                  <a:pt x="3515554" y="1549343"/>
                  <a:pt x="3547461" y="1524203"/>
                  <a:pt x="3589085" y="1513153"/>
                </a:cubicBezTo>
                <a:cubicBezTo>
                  <a:pt x="3609897" y="1507629"/>
                  <a:pt x="3629876" y="1506319"/>
                  <a:pt x="3644949" y="1508581"/>
                </a:cubicBezTo>
                <a:close/>
                <a:moveTo>
                  <a:pt x="5183856" y="1503439"/>
                </a:moveTo>
                <a:cubicBezTo>
                  <a:pt x="5186713" y="1503439"/>
                  <a:pt x="5189380" y="1503439"/>
                  <a:pt x="5191666" y="1503439"/>
                </a:cubicBezTo>
                <a:cubicBezTo>
                  <a:pt x="5195305" y="1503629"/>
                  <a:pt x="5198854" y="1504638"/>
                  <a:pt x="5202049" y="1506392"/>
                </a:cubicBezTo>
                <a:cubicBezTo>
                  <a:pt x="5206621" y="1509249"/>
                  <a:pt x="5205954" y="1513917"/>
                  <a:pt x="5198905" y="1519346"/>
                </a:cubicBezTo>
                <a:cubicBezTo>
                  <a:pt x="5194707" y="1522403"/>
                  <a:pt x="5190206" y="1525013"/>
                  <a:pt x="5185475" y="1527156"/>
                </a:cubicBezTo>
                <a:cubicBezTo>
                  <a:pt x="5179513" y="1530033"/>
                  <a:pt x="5173410" y="1532613"/>
                  <a:pt x="5167187" y="1534872"/>
                </a:cubicBezTo>
                <a:cubicBezTo>
                  <a:pt x="5154193" y="1539800"/>
                  <a:pt x="5140723" y="1543370"/>
                  <a:pt x="5126992" y="1545533"/>
                </a:cubicBezTo>
                <a:cubicBezTo>
                  <a:pt x="5102608" y="1549057"/>
                  <a:pt x="5089749" y="1543056"/>
                  <a:pt x="5100226" y="1532681"/>
                </a:cubicBezTo>
                <a:cubicBezTo>
                  <a:pt x="5104044" y="1529280"/>
                  <a:pt x="5108267" y="1526375"/>
                  <a:pt x="5112799" y="1524013"/>
                </a:cubicBezTo>
                <a:cubicBezTo>
                  <a:pt x="5115562" y="1522584"/>
                  <a:pt x="5118514" y="1521060"/>
                  <a:pt x="5121562" y="1519631"/>
                </a:cubicBezTo>
                <a:lnTo>
                  <a:pt x="5126420" y="1517441"/>
                </a:lnTo>
                <a:lnTo>
                  <a:pt x="5131564" y="1515441"/>
                </a:lnTo>
                <a:cubicBezTo>
                  <a:pt x="5145371" y="1510164"/>
                  <a:pt x="5159711" y="1506392"/>
                  <a:pt x="5174331" y="1504201"/>
                </a:cubicBezTo>
                <a:cubicBezTo>
                  <a:pt x="5177488" y="1503763"/>
                  <a:pt x="5180669" y="1503515"/>
                  <a:pt x="5183856" y="1503439"/>
                </a:cubicBezTo>
                <a:close/>
                <a:moveTo>
                  <a:pt x="5755737" y="1502575"/>
                </a:moveTo>
                <a:cubicBezTo>
                  <a:pt x="5760719" y="1502290"/>
                  <a:pt x="5765710" y="1502290"/>
                  <a:pt x="5770692" y="1502575"/>
                </a:cubicBezTo>
                <a:cubicBezTo>
                  <a:pt x="5787741" y="1503814"/>
                  <a:pt x="5789742" y="1509243"/>
                  <a:pt x="5775168" y="1514863"/>
                </a:cubicBezTo>
                <a:cubicBezTo>
                  <a:pt x="5766539" y="1517987"/>
                  <a:pt x="5757595" y="1520158"/>
                  <a:pt x="5748498" y="1521340"/>
                </a:cubicBezTo>
                <a:cubicBezTo>
                  <a:pt x="5743450" y="1522006"/>
                  <a:pt x="5738307" y="1522578"/>
                  <a:pt x="5733449" y="1522959"/>
                </a:cubicBezTo>
                <a:cubicBezTo>
                  <a:pt x="5728763" y="1523330"/>
                  <a:pt x="5724048" y="1523425"/>
                  <a:pt x="5719352" y="1523245"/>
                </a:cubicBezTo>
                <a:cubicBezTo>
                  <a:pt x="5702016" y="1522483"/>
                  <a:pt x="5698587" y="1517530"/>
                  <a:pt x="5711637" y="1511719"/>
                </a:cubicBezTo>
                <a:cubicBezTo>
                  <a:pt x="5720600" y="1508119"/>
                  <a:pt x="5729972" y="1505623"/>
                  <a:pt x="5739545" y="1504290"/>
                </a:cubicBezTo>
                <a:cubicBezTo>
                  <a:pt x="5744898" y="1503385"/>
                  <a:pt x="5750308" y="1502813"/>
                  <a:pt x="5755737" y="1502575"/>
                </a:cubicBezTo>
                <a:close/>
                <a:moveTo>
                  <a:pt x="2314762" y="1496577"/>
                </a:moveTo>
                <a:cubicBezTo>
                  <a:pt x="2334193" y="1493007"/>
                  <a:pt x="2354100" y="1493007"/>
                  <a:pt x="2373532" y="1496577"/>
                </a:cubicBezTo>
                <a:cubicBezTo>
                  <a:pt x="2388782" y="1498501"/>
                  <a:pt x="2403039" y="1505158"/>
                  <a:pt x="2414298" y="1515625"/>
                </a:cubicBezTo>
                <a:cubicBezTo>
                  <a:pt x="2429252" y="1532199"/>
                  <a:pt x="2413442" y="1549437"/>
                  <a:pt x="2376674" y="1557153"/>
                </a:cubicBezTo>
                <a:cubicBezTo>
                  <a:pt x="2357873" y="1561125"/>
                  <a:pt x="2338509" y="1561638"/>
                  <a:pt x="2319524" y="1558676"/>
                </a:cubicBezTo>
                <a:cubicBezTo>
                  <a:pt x="2303980" y="1556962"/>
                  <a:pt x="2289245" y="1550847"/>
                  <a:pt x="2277043" y="1541056"/>
                </a:cubicBezTo>
                <a:cubicBezTo>
                  <a:pt x="2267518" y="1532104"/>
                  <a:pt x="2266661" y="1522960"/>
                  <a:pt x="2273329" y="1515054"/>
                </a:cubicBezTo>
                <a:cubicBezTo>
                  <a:pt x="2277681" y="1510387"/>
                  <a:pt x="2283015" y="1506739"/>
                  <a:pt x="2288949" y="1504386"/>
                </a:cubicBezTo>
                <a:cubicBezTo>
                  <a:pt x="2297226" y="1500797"/>
                  <a:pt x="2305884" y="1498177"/>
                  <a:pt x="2314762" y="1496577"/>
                </a:cubicBezTo>
                <a:close/>
                <a:moveTo>
                  <a:pt x="4114139" y="1495974"/>
                </a:moveTo>
                <a:cubicBezTo>
                  <a:pt x="4126867" y="1497701"/>
                  <a:pt x="4133868" y="1503248"/>
                  <a:pt x="4132677" y="1512201"/>
                </a:cubicBezTo>
                <a:cubicBezTo>
                  <a:pt x="4130296" y="1530109"/>
                  <a:pt x="4098006" y="1551724"/>
                  <a:pt x="4056477" y="1563726"/>
                </a:cubicBezTo>
                <a:cubicBezTo>
                  <a:pt x="4014948" y="1575727"/>
                  <a:pt x="3984563" y="1572679"/>
                  <a:pt x="3985039" y="1555628"/>
                </a:cubicBezTo>
                <a:cubicBezTo>
                  <a:pt x="3985039" y="1538014"/>
                  <a:pt x="4017805" y="1515346"/>
                  <a:pt x="4061239" y="1502676"/>
                </a:cubicBezTo>
                <a:cubicBezTo>
                  <a:pt x="4082956" y="1496344"/>
                  <a:pt x="4101411" y="1494250"/>
                  <a:pt x="4114139" y="1495974"/>
                </a:cubicBezTo>
                <a:close/>
                <a:moveTo>
                  <a:pt x="4802392" y="1494678"/>
                </a:moveTo>
                <a:cubicBezTo>
                  <a:pt x="4809785" y="1497488"/>
                  <a:pt x="4811524" y="1503107"/>
                  <a:pt x="4805523" y="1510774"/>
                </a:cubicBezTo>
                <a:cubicBezTo>
                  <a:pt x="4796491" y="1520308"/>
                  <a:pt x="4785726" y="1528032"/>
                  <a:pt x="4773805" y="1533539"/>
                </a:cubicBezTo>
                <a:cubicBezTo>
                  <a:pt x="4759500" y="1541075"/>
                  <a:pt x="4744297" y="1546770"/>
                  <a:pt x="4728561" y="1550485"/>
                </a:cubicBezTo>
                <a:cubicBezTo>
                  <a:pt x="4724885" y="1551381"/>
                  <a:pt x="4721166" y="1552076"/>
                  <a:pt x="4717417" y="1552582"/>
                </a:cubicBezTo>
                <a:cubicBezTo>
                  <a:pt x="4713892" y="1553152"/>
                  <a:pt x="4710559" y="1553438"/>
                  <a:pt x="4707892" y="1553628"/>
                </a:cubicBezTo>
                <a:cubicBezTo>
                  <a:pt x="4702830" y="1554028"/>
                  <a:pt x="4697738" y="1553543"/>
                  <a:pt x="4692842" y="1552201"/>
                </a:cubicBezTo>
                <a:cubicBezTo>
                  <a:pt x="4685222" y="1549819"/>
                  <a:pt x="4682746" y="1544675"/>
                  <a:pt x="4687794" y="1537349"/>
                </a:cubicBezTo>
                <a:cubicBezTo>
                  <a:pt x="4691156" y="1532815"/>
                  <a:pt x="4695205" y="1528825"/>
                  <a:pt x="4699795" y="1525539"/>
                </a:cubicBezTo>
                <a:cubicBezTo>
                  <a:pt x="4702462" y="1523537"/>
                  <a:pt x="4705415" y="1521442"/>
                  <a:pt x="4708558" y="1519442"/>
                </a:cubicBezTo>
                <a:cubicBezTo>
                  <a:pt x="4711702" y="1517442"/>
                  <a:pt x="4715131" y="1515536"/>
                  <a:pt x="4718750" y="1513632"/>
                </a:cubicBezTo>
                <a:cubicBezTo>
                  <a:pt x="4733465" y="1505669"/>
                  <a:pt x="4749110" y="1499555"/>
                  <a:pt x="4765327" y="1495440"/>
                </a:cubicBezTo>
                <a:cubicBezTo>
                  <a:pt x="4781949" y="1491870"/>
                  <a:pt x="4794998" y="1491870"/>
                  <a:pt x="4802392" y="1494678"/>
                </a:cubicBezTo>
                <a:close/>
                <a:moveTo>
                  <a:pt x="5626102" y="1493341"/>
                </a:moveTo>
                <a:cubicBezTo>
                  <a:pt x="5646200" y="1493341"/>
                  <a:pt x="5650772" y="1500388"/>
                  <a:pt x="5635627" y="1507245"/>
                </a:cubicBezTo>
                <a:cubicBezTo>
                  <a:pt x="5631388" y="1509064"/>
                  <a:pt x="5627026" y="1510588"/>
                  <a:pt x="5622578" y="1511817"/>
                </a:cubicBezTo>
                <a:cubicBezTo>
                  <a:pt x="5620101" y="1512579"/>
                  <a:pt x="5617434" y="1513150"/>
                  <a:pt x="5614767" y="1513817"/>
                </a:cubicBezTo>
                <a:lnTo>
                  <a:pt x="5606480" y="1515722"/>
                </a:lnTo>
                <a:cubicBezTo>
                  <a:pt x="5595965" y="1518027"/>
                  <a:pt x="5585240" y="1519303"/>
                  <a:pt x="5574476" y="1519532"/>
                </a:cubicBezTo>
                <a:cubicBezTo>
                  <a:pt x="5555998" y="1519532"/>
                  <a:pt x="5549997" y="1514103"/>
                  <a:pt x="5561999" y="1507245"/>
                </a:cubicBezTo>
                <a:cubicBezTo>
                  <a:pt x="5565961" y="1505044"/>
                  <a:pt x="5570143" y="1503254"/>
                  <a:pt x="5574476" y="1501911"/>
                </a:cubicBezTo>
                <a:cubicBezTo>
                  <a:pt x="5579982" y="1500159"/>
                  <a:pt x="5585583" y="1498692"/>
                  <a:pt x="5591240" y="1497530"/>
                </a:cubicBezTo>
                <a:cubicBezTo>
                  <a:pt x="5602670" y="1494844"/>
                  <a:pt x="5614358" y="1493436"/>
                  <a:pt x="5626102" y="1493341"/>
                </a:cubicBezTo>
                <a:close/>
                <a:moveTo>
                  <a:pt x="5332256" y="1493059"/>
                </a:moveTo>
                <a:cubicBezTo>
                  <a:pt x="5357592" y="1491058"/>
                  <a:pt x="5366450" y="1497152"/>
                  <a:pt x="5353115" y="1506867"/>
                </a:cubicBezTo>
                <a:cubicBezTo>
                  <a:pt x="5343597" y="1512981"/>
                  <a:pt x="5333231" y="1517667"/>
                  <a:pt x="5322350" y="1520773"/>
                </a:cubicBezTo>
                <a:cubicBezTo>
                  <a:pt x="5309653" y="1524859"/>
                  <a:pt x="5296564" y="1527602"/>
                  <a:pt x="5283297" y="1528964"/>
                </a:cubicBezTo>
                <a:cubicBezTo>
                  <a:pt x="5259008" y="1531536"/>
                  <a:pt x="5249388" y="1526107"/>
                  <a:pt x="5261390" y="1516296"/>
                </a:cubicBezTo>
                <a:cubicBezTo>
                  <a:pt x="5265326" y="1513209"/>
                  <a:pt x="5269610" y="1510581"/>
                  <a:pt x="5274153" y="1508485"/>
                </a:cubicBezTo>
                <a:lnTo>
                  <a:pt x="5282345" y="1504771"/>
                </a:lnTo>
                <a:cubicBezTo>
                  <a:pt x="5285297" y="1503627"/>
                  <a:pt x="5288345" y="1502581"/>
                  <a:pt x="5291870" y="1501534"/>
                </a:cubicBezTo>
                <a:cubicBezTo>
                  <a:pt x="5304995" y="1497286"/>
                  <a:pt x="5318532" y="1494447"/>
                  <a:pt x="5332256" y="1493059"/>
                </a:cubicBezTo>
                <a:close/>
                <a:moveTo>
                  <a:pt x="5481799" y="1489056"/>
                </a:moveTo>
                <a:cubicBezTo>
                  <a:pt x="5506564" y="1488294"/>
                  <a:pt x="5512183" y="1494295"/>
                  <a:pt x="5495896" y="1503532"/>
                </a:cubicBezTo>
                <a:cubicBezTo>
                  <a:pt x="5491676" y="1505846"/>
                  <a:pt x="5487285" y="1507827"/>
                  <a:pt x="5482751" y="1509437"/>
                </a:cubicBezTo>
                <a:cubicBezTo>
                  <a:pt x="5477893" y="1511151"/>
                  <a:pt x="5472464" y="1512961"/>
                  <a:pt x="5466844" y="1514390"/>
                </a:cubicBezTo>
                <a:cubicBezTo>
                  <a:pt x="5455424" y="1517304"/>
                  <a:pt x="5443746" y="1519095"/>
                  <a:pt x="5431983" y="1519724"/>
                </a:cubicBezTo>
                <a:cubicBezTo>
                  <a:pt x="5408170" y="1521248"/>
                  <a:pt x="5401693" y="1515723"/>
                  <a:pt x="5416838" y="1506198"/>
                </a:cubicBezTo>
                <a:cubicBezTo>
                  <a:pt x="5420982" y="1503731"/>
                  <a:pt x="5425315" y="1501599"/>
                  <a:pt x="5429792" y="1499817"/>
                </a:cubicBezTo>
                <a:cubicBezTo>
                  <a:pt x="5435031" y="1497731"/>
                  <a:pt x="5440413" y="1496017"/>
                  <a:pt x="5445889" y="1494674"/>
                </a:cubicBezTo>
                <a:cubicBezTo>
                  <a:pt x="5457634" y="1491571"/>
                  <a:pt x="5469664" y="1489685"/>
                  <a:pt x="5481799" y="1489056"/>
                </a:cubicBezTo>
                <a:close/>
                <a:moveTo>
                  <a:pt x="6325047" y="1487139"/>
                </a:moveTo>
                <a:cubicBezTo>
                  <a:pt x="6337334" y="1485758"/>
                  <a:pt x="6349774" y="1486691"/>
                  <a:pt x="6361718" y="1489901"/>
                </a:cubicBezTo>
                <a:cubicBezTo>
                  <a:pt x="6371243" y="1492949"/>
                  <a:pt x="6369909" y="1495807"/>
                  <a:pt x="6357717" y="1497045"/>
                </a:cubicBezTo>
                <a:cubicBezTo>
                  <a:pt x="6354669" y="1497045"/>
                  <a:pt x="6351621" y="1497521"/>
                  <a:pt x="6348192" y="1497521"/>
                </a:cubicBezTo>
                <a:cubicBezTo>
                  <a:pt x="6344763" y="1497521"/>
                  <a:pt x="6341811" y="1497521"/>
                  <a:pt x="6338667" y="1497521"/>
                </a:cubicBezTo>
                <a:cubicBezTo>
                  <a:pt x="6332800" y="1497007"/>
                  <a:pt x="6326990" y="1495921"/>
                  <a:pt x="6321332" y="1494283"/>
                </a:cubicBezTo>
                <a:cubicBezTo>
                  <a:pt x="6311807" y="1491521"/>
                  <a:pt x="6312950" y="1488663"/>
                  <a:pt x="6325047" y="1487139"/>
                </a:cubicBezTo>
                <a:close/>
                <a:moveTo>
                  <a:pt x="4506034" y="1484286"/>
                </a:moveTo>
                <a:cubicBezTo>
                  <a:pt x="4515940" y="1486489"/>
                  <a:pt x="4520250" y="1492061"/>
                  <a:pt x="4517297" y="1500014"/>
                </a:cubicBezTo>
                <a:cubicBezTo>
                  <a:pt x="4515013" y="1504974"/>
                  <a:pt x="4511777" y="1509441"/>
                  <a:pt x="4507772" y="1513155"/>
                </a:cubicBezTo>
                <a:lnTo>
                  <a:pt x="4505867" y="1514870"/>
                </a:lnTo>
                <a:lnTo>
                  <a:pt x="4503676" y="1516681"/>
                </a:lnTo>
                <a:lnTo>
                  <a:pt x="4498819" y="1520299"/>
                </a:lnTo>
                <a:cubicBezTo>
                  <a:pt x="4495485" y="1522680"/>
                  <a:pt x="4491770" y="1525156"/>
                  <a:pt x="4487865" y="1527538"/>
                </a:cubicBezTo>
                <a:cubicBezTo>
                  <a:pt x="4470993" y="1537692"/>
                  <a:pt x="4452870" y="1545590"/>
                  <a:pt x="4433953" y="1551057"/>
                </a:cubicBezTo>
                <a:cubicBezTo>
                  <a:pt x="4397282" y="1561345"/>
                  <a:pt x="4369850" y="1557249"/>
                  <a:pt x="4375470" y="1541818"/>
                </a:cubicBezTo>
                <a:cubicBezTo>
                  <a:pt x="4381090" y="1525444"/>
                  <a:pt x="4422333" y="1499822"/>
                  <a:pt x="4461195" y="1488774"/>
                </a:cubicBezTo>
                <a:cubicBezTo>
                  <a:pt x="4480626" y="1483250"/>
                  <a:pt x="4496128" y="1482083"/>
                  <a:pt x="4506034" y="1484286"/>
                </a:cubicBezTo>
                <a:close/>
                <a:moveTo>
                  <a:pt x="6050917" y="1481143"/>
                </a:moveTo>
                <a:cubicBezTo>
                  <a:pt x="6064919" y="1483144"/>
                  <a:pt x="6066729" y="1488478"/>
                  <a:pt x="6054727" y="1491811"/>
                </a:cubicBezTo>
                <a:cubicBezTo>
                  <a:pt x="6046669" y="1493764"/>
                  <a:pt x="6038439" y="1494943"/>
                  <a:pt x="6030153" y="1495334"/>
                </a:cubicBezTo>
                <a:cubicBezTo>
                  <a:pt x="6021437" y="1496058"/>
                  <a:pt x="6012674" y="1496058"/>
                  <a:pt x="6003959" y="1495334"/>
                </a:cubicBezTo>
                <a:cubicBezTo>
                  <a:pt x="5990243" y="1493526"/>
                  <a:pt x="5987862" y="1488382"/>
                  <a:pt x="5999387" y="1484668"/>
                </a:cubicBezTo>
                <a:cubicBezTo>
                  <a:pt x="6016256" y="1480658"/>
                  <a:pt x="6033668" y="1479467"/>
                  <a:pt x="6050917" y="1481143"/>
                </a:cubicBezTo>
                <a:close/>
                <a:moveTo>
                  <a:pt x="4942683" y="1464865"/>
                </a:moveTo>
                <a:cubicBezTo>
                  <a:pt x="4974783" y="1459152"/>
                  <a:pt x="4989451" y="1466391"/>
                  <a:pt x="4976211" y="1480773"/>
                </a:cubicBezTo>
                <a:cubicBezTo>
                  <a:pt x="4972389" y="1484488"/>
                  <a:pt x="4968098" y="1487688"/>
                  <a:pt x="4963448" y="1490297"/>
                </a:cubicBezTo>
                <a:cubicBezTo>
                  <a:pt x="4957649" y="1493842"/>
                  <a:pt x="4951637" y="1497021"/>
                  <a:pt x="4945446" y="1499821"/>
                </a:cubicBezTo>
                <a:cubicBezTo>
                  <a:pt x="4931608" y="1506354"/>
                  <a:pt x="4917067" y="1511269"/>
                  <a:pt x="4902107" y="1514488"/>
                </a:cubicBezTo>
                <a:lnTo>
                  <a:pt x="4896487" y="1515440"/>
                </a:lnTo>
                <a:lnTo>
                  <a:pt x="4891248" y="1516298"/>
                </a:lnTo>
                <a:cubicBezTo>
                  <a:pt x="4888089" y="1516726"/>
                  <a:pt x="4884910" y="1516974"/>
                  <a:pt x="4881723" y="1517060"/>
                </a:cubicBezTo>
                <a:cubicBezTo>
                  <a:pt x="4877134" y="1517383"/>
                  <a:pt x="4872525" y="1516898"/>
                  <a:pt x="4868103" y="1515631"/>
                </a:cubicBezTo>
                <a:cubicBezTo>
                  <a:pt x="4861626" y="1513535"/>
                  <a:pt x="4860197" y="1508678"/>
                  <a:pt x="4865150" y="1501726"/>
                </a:cubicBezTo>
                <a:cubicBezTo>
                  <a:pt x="4868654" y="1497469"/>
                  <a:pt x="4872761" y="1493746"/>
                  <a:pt x="4877342" y="1490679"/>
                </a:cubicBezTo>
                <a:cubicBezTo>
                  <a:pt x="4883196" y="1486650"/>
                  <a:pt x="4889378" y="1483106"/>
                  <a:pt x="4895820" y="1480107"/>
                </a:cubicBezTo>
                <a:cubicBezTo>
                  <a:pt x="4910759" y="1473134"/>
                  <a:pt x="4926499" y="1468010"/>
                  <a:pt x="4942683" y="1464865"/>
                </a:cubicBezTo>
                <a:close/>
                <a:moveTo>
                  <a:pt x="5906423" y="1455619"/>
                </a:moveTo>
                <a:cubicBezTo>
                  <a:pt x="5924806" y="1456952"/>
                  <a:pt x="5929188" y="1463049"/>
                  <a:pt x="5915948" y="1468096"/>
                </a:cubicBezTo>
                <a:cubicBezTo>
                  <a:pt x="5912167" y="1469458"/>
                  <a:pt x="5908280" y="1470506"/>
                  <a:pt x="5904328" y="1471240"/>
                </a:cubicBezTo>
                <a:cubicBezTo>
                  <a:pt x="5899851" y="1472193"/>
                  <a:pt x="5894803" y="1473050"/>
                  <a:pt x="5889659" y="1473716"/>
                </a:cubicBezTo>
                <a:cubicBezTo>
                  <a:pt x="5884516" y="1474384"/>
                  <a:pt x="5879182" y="1474859"/>
                  <a:pt x="5874038" y="1475145"/>
                </a:cubicBezTo>
                <a:lnTo>
                  <a:pt x="5866704" y="1475145"/>
                </a:lnTo>
                <a:lnTo>
                  <a:pt x="5859846" y="1475145"/>
                </a:lnTo>
                <a:cubicBezTo>
                  <a:pt x="5841463" y="1474478"/>
                  <a:pt x="5836700" y="1468668"/>
                  <a:pt x="5849559" y="1463238"/>
                </a:cubicBezTo>
                <a:cubicBezTo>
                  <a:pt x="5853274" y="1461800"/>
                  <a:pt x="5857093" y="1460648"/>
                  <a:pt x="5860989" y="1459810"/>
                </a:cubicBezTo>
                <a:lnTo>
                  <a:pt x="5868228" y="1458286"/>
                </a:lnTo>
                <a:lnTo>
                  <a:pt x="5875848" y="1457143"/>
                </a:lnTo>
                <a:cubicBezTo>
                  <a:pt x="5885982" y="1455771"/>
                  <a:pt x="5896203" y="1455267"/>
                  <a:pt x="5906423" y="1455619"/>
                </a:cubicBezTo>
                <a:close/>
                <a:moveTo>
                  <a:pt x="3357925" y="1450897"/>
                </a:moveTo>
                <a:cubicBezTo>
                  <a:pt x="3374851" y="1453695"/>
                  <a:pt x="3387277" y="1460101"/>
                  <a:pt x="3389753" y="1469150"/>
                </a:cubicBezTo>
                <a:cubicBezTo>
                  <a:pt x="3394704" y="1487247"/>
                  <a:pt x="3364806" y="1510676"/>
                  <a:pt x="3327663" y="1520486"/>
                </a:cubicBezTo>
                <a:cubicBezTo>
                  <a:pt x="3288611" y="1530773"/>
                  <a:pt x="3244133" y="1524296"/>
                  <a:pt x="3237465" y="1507056"/>
                </a:cubicBezTo>
                <a:cubicBezTo>
                  <a:pt x="3230798" y="1489819"/>
                  <a:pt x="3260134" y="1464578"/>
                  <a:pt x="3299090" y="1454290"/>
                </a:cubicBezTo>
                <a:cubicBezTo>
                  <a:pt x="3319566" y="1448909"/>
                  <a:pt x="3340997" y="1448099"/>
                  <a:pt x="3357925" y="1450897"/>
                </a:cubicBezTo>
                <a:close/>
                <a:moveTo>
                  <a:pt x="3896291" y="1446267"/>
                </a:moveTo>
                <a:cubicBezTo>
                  <a:pt x="3910079" y="1448696"/>
                  <a:pt x="3918604" y="1454816"/>
                  <a:pt x="3918270" y="1463913"/>
                </a:cubicBezTo>
                <a:cubicBezTo>
                  <a:pt x="3917603" y="1482105"/>
                  <a:pt x="3883123" y="1506200"/>
                  <a:pt x="3843880" y="1516963"/>
                </a:cubicBezTo>
                <a:cubicBezTo>
                  <a:pt x="3804637" y="1527727"/>
                  <a:pt x="3769299" y="1522583"/>
                  <a:pt x="3768251" y="1505248"/>
                </a:cubicBezTo>
                <a:cubicBezTo>
                  <a:pt x="3767203" y="1487915"/>
                  <a:pt x="3801589" y="1462008"/>
                  <a:pt x="3842737" y="1450768"/>
                </a:cubicBezTo>
                <a:cubicBezTo>
                  <a:pt x="3863454" y="1445100"/>
                  <a:pt x="3882504" y="1443838"/>
                  <a:pt x="3896291" y="1446267"/>
                </a:cubicBezTo>
                <a:close/>
                <a:moveTo>
                  <a:pt x="6188934" y="1445613"/>
                </a:moveTo>
                <a:cubicBezTo>
                  <a:pt x="6197050" y="1445232"/>
                  <a:pt x="6205184" y="1445651"/>
                  <a:pt x="6213223" y="1446852"/>
                </a:cubicBezTo>
                <a:cubicBezTo>
                  <a:pt x="6216071" y="1447318"/>
                  <a:pt x="6218852" y="1448118"/>
                  <a:pt x="6221510" y="1449233"/>
                </a:cubicBezTo>
                <a:cubicBezTo>
                  <a:pt x="6223320" y="1450090"/>
                  <a:pt x="6224367" y="1450947"/>
                  <a:pt x="6224463" y="1451900"/>
                </a:cubicBezTo>
                <a:cubicBezTo>
                  <a:pt x="6224558" y="1452852"/>
                  <a:pt x="6221415" y="1455424"/>
                  <a:pt x="6214938" y="1456853"/>
                </a:cubicBezTo>
                <a:cubicBezTo>
                  <a:pt x="6207137" y="1458453"/>
                  <a:pt x="6199183" y="1459215"/>
                  <a:pt x="6191220" y="1459139"/>
                </a:cubicBezTo>
                <a:cubicBezTo>
                  <a:pt x="6189125" y="1459139"/>
                  <a:pt x="6187029" y="1459139"/>
                  <a:pt x="6184934" y="1459139"/>
                </a:cubicBezTo>
                <a:lnTo>
                  <a:pt x="6178647" y="1459139"/>
                </a:lnTo>
                <a:cubicBezTo>
                  <a:pt x="6174780" y="1458967"/>
                  <a:pt x="6170932" y="1458520"/>
                  <a:pt x="6167122" y="1457805"/>
                </a:cubicBezTo>
                <a:cubicBezTo>
                  <a:pt x="6152930" y="1455234"/>
                  <a:pt x="6151977" y="1451043"/>
                  <a:pt x="6165122" y="1448280"/>
                </a:cubicBezTo>
                <a:cubicBezTo>
                  <a:pt x="6172942" y="1446528"/>
                  <a:pt x="6180924" y="1445632"/>
                  <a:pt x="6188934" y="1445613"/>
                </a:cubicBezTo>
                <a:close/>
                <a:moveTo>
                  <a:pt x="5129373" y="1443911"/>
                </a:moveTo>
                <a:cubicBezTo>
                  <a:pt x="5133509" y="1444101"/>
                  <a:pt x="5137562" y="1445140"/>
                  <a:pt x="5141279" y="1446959"/>
                </a:cubicBezTo>
                <a:cubicBezTo>
                  <a:pt x="5146613" y="1450197"/>
                  <a:pt x="5146518" y="1455341"/>
                  <a:pt x="5139469" y="1461627"/>
                </a:cubicBezTo>
                <a:cubicBezTo>
                  <a:pt x="5129323" y="1469133"/>
                  <a:pt x="5118163" y="1475163"/>
                  <a:pt x="5106322" y="1479534"/>
                </a:cubicBezTo>
                <a:cubicBezTo>
                  <a:pt x="5099274" y="1482297"/>
                  <a:pt x="5091940" y="1484868"/>
                  <a:pt x="5084605" y="1486964"/>
                </a:cubicBezTo>
                <a:cubicBezTo>
                  <a:pt x="5080986" y="1488012"/>
                  <a:pt x="5077271" y="1488869"/>
                  <a:pt x="5073747" y="1489726"/>
                </a:cubicBezTo>
                <a:lnTo>
                  <a:pt x="5062793" y="1491917"/>
                </a:lnTo>
                <a:cubicBezTo>
                  <a:pt x="5035075" y="1496487"/>
                  <a:pt x="5020026" y="1489155"/>
                  <a:pt x="5032599" y="1476772"/>
                </a:cubicBezTo>
                <a:cubicBezTo>
                  <a:pt x="5036696" y="1472943"/>
                  <a:pt x="5041236" y="1469620"/>
                  <a:pt x="5046124" y="1466866"/>
                </a:cubicBezTo>
                <a:cubicBezTo>
                  <a:pt x="5048982" y="1465218"/>
                  <a:pt x="5052157" y="1463599"/>
                  <a:pt x="5055649" y="1462009"/>
                </a:cubicBezTo>
                <a:cubicBezTo>
                  <a:pt x="5058888" y="1460484"/>
                  <a:pt x="5062317" y="1458865"/>
                  <a:pt x="5065936" y="1457436"/>
                </a:cubicBezTo>
                <a:cubicBezTo>
                  <a:pt x="5080205" y="1451550"/>
                  <a:pt x="5095095" y="1447292"/>
                  <a:pt x="5110323" y="1444768"/>
                </a:cubicBezTo>
                <a:cubicBezTo>
                  <a:pt x="5116619" y="1443749"/>
                  <a:pt x="5123011" y="1443463"/>
                  <a:pt x="5129373" y="1443911"/>
                </a:cubicBezTo>
                <a:close/>
                <a:moveTo>
                  <a:pt x="2694870" y="1441287"/>
                </a:moveTo>
                <a:cubicBezTo>
                  <a:pt x="2713122" y="1444359"/>
                  <a:pt x="2728203" y="1450860"/>
                  <a:pt x="2735204" y="1459813"/>
                </a:cubicBezTo>
                <a:cubicBezTo>
                  <a:pt x="2749206" y="1477720"/>
                  <a:pt x="2729392" y="1497340"/>
                  <a:pt x="2694049" y="1506482"/>
                </a:cubicBezTo>
                <a:cubicBezTo>
                  <a:pt x="2675218" y="1511197"/>
                  <a:pt x="2655663" y="1512302"/>
                  <a:pt x="2636423" y="1509721"/>
                </a:cubicBezTo>
                <a:cubicBezTo>
                  <a:pt x="2620860" y="1508654"/>
                  <a:pt x="2606000" y="1502834"/>
                  <a:pt x="2593846" y="1493055"/>
                </a:cubicBezTo>
                <a:cubicBezTo>
                  <a:pt x="2576702" y="1475815"/>
                  <a:pt x="2595941" y="1452574"/>
                  <a:pt x="2635470" y="1443334"/>
                </a:cubicBezTo>
                <a:cubicBezTo>
                  <a:pt x="2655188" y="1438572"/>
                  <a:pt x="2676619" y="1438215"/>
                  <a:pt x="2694870" y="1441287"/>
                </a:cubicBezTo>
                <a:close/>
                <a:moveTo>
                  <a:pt x="5750022" y="1439238"/>
                </a:moveTo>
                <a:cubicBezTo>
                  <a:pt x="5771739" y="1440285"/>
                  <a:pt x="5775263" y="1446191"/>
                  <a:pt x="5758880" y="1453240"/>
                </a:cubicBezTo>
                <a:cubicBezTo>
                  <a:pt x="5754441" y="1455164"/>
                  <a:pt x="5749860" y="1456726"/>
                  <a:pt x="5745164" y="1457907"/>
                </a:cubicBezTo>
                <a:cubicBezTo>
                  <a:pt x="5739868" y="1459393"/>
                  <a:pt x="5734496" y="1460603"/>
                  <a:pt x="5729067" y="1461527"/>
                </a:cubicBezTo>
                <a:cubicBezTo>
                  <a:pt x="5723447" y="1462479"/>
                  <a:pt x="5717732" y="1463146"/>
                  <a:pt x="5712112" y="1463527"/>
                </a:cubicBezTo>
                <a:lnTo>
                  <a:pt x="5703730" y="1463527"/>
                </a:lnTo>
                <a:lnTo>
                  <a:pt x="5695825" y="1463527"/>
                </a:lnTo>
                <a:cubicBezTo>
                  <a:pt x="5676775" y="1462955"/>
                  <a:pt x="5672488" y="1457621"/>
                  <a:pt x="5686300" y="1450668"/>
                </a:cubicBezTo>
                <a:cubicBezTo>
                  <a:pt x="5695586" y="1446134"/>
                  <a:pt x="5705454" y="1442924"/>
                  <a:pt x="5715637" y="1441143"/>
                </a:cubicBezTo>
                <a:cubicBezTo>
                  <a:pt x="5727000" y="1439343"/>
                  <a:pt x="5738525" y="1438705"/>
                  <a:pt x="5750022" y="1439238"/>
                </a:cubicBezTo>
                <a:close/>
                <a:moveTo>
                  <a:pt x="4678079" y="1438386"/>
                </a:moveTo>
                <a:cubicBezTo>
                  <a:pt x="4683486" y="1437776"/>
                  <a:pt x="4688961" y="1438263"/>
                  <a:pt x="4694176" y="1439815"/>
                </a:cubicBezTo>
                <a:cubicBezTo>
                  <a:pt x="4702082" y="1442483"/>
                  <a:pt x="4704178" y="1448388"/>
                  <a:pt x="4699129" y="1456866"/>
                </a:cubicBezTo>
                <a:cubicBezTo>
                  <a:pt x="4697794" y="1459114"/>
                  <a:pt x="4696230" y="1461218"/>
                  <a:pt x="4694462" y="1463151"/>
                </a:cubicBezTo>
                <a:cubicBezTo>
                  <a:pt x="4692478" y="1465390"/>
                  <a:pt x="4690346" y="1467486"/>
                  <a:pt x="4688080" y="1469439"/>
                </a:cubicBezTo>
                <a:cubicBezTo>
                  <a:pt x="4682650" y="1474039"/>
                  <a:pt x="4676780" y="1478087"/>
                  <a:pt x="4670554" y="1481534"/>
                </a:cubicBezTo>
                <a:cubicBezTo>
                  <a:pt x="4663442" y="1485660"/>
                  <a:pt x="4656022" y="1489222"/>
                  <a:pt x="4648361" y="1492203"/>
                </a:cubicBezTo>
                <a:cubicBezTo>
                  <a:pt x="4644456" y="1493823"/>
                  <a:pt x="4640265" y="1495249"/>
                  <a:pt x="4636074" y="1496678"/>
                </a:cubicBezTo>
                <a:cubicBezTo>
                  <a:pt x="4631883" y="1498107"/>
                  <a:pt x="4627787" y="1499440"/>
                  <a:pt x="4623501" y="1500679"/>
                </a:cubicBezTo>
                <a:cubicBezTo>
                  <a:pt x="4588830" y="1510203"/>
                  <a:pt x="4568827" y="1505535"/>
                  <a:pt x="4575876" y="1489346"/>
                </a:cubicBezTo>
                <a:cubicBezTo>
                  <a:pt x="4582411" y="1478030"/>
                  <a:pt x="4592066" y="1468839"/>
                  <a:pt x="4603689" y="1462866"/>
                </a:cubicBezTo>
                <a:cubicBezTo>
                  <a:pt x="4611155" y="1458371"/>
                  <a:pt x="4618957" y="1454446"/>
                  <a:pt x="4627025" y="1451151"/>
                </a:cubicBezTo>
                <a:cubicBezTo>
                  <a:pt x="4635928" y="1447588"/>
                  <a:pt x="4645061" y="1444625"/>
                  <a:pt x="4654362" y="1442292"/>
                </a:cubicBezTo>
                <a:cubicBezTo>
                  <a:pt x="4662138" y="1440302"/>
                  <a:pt x="4670074" y="1438987"/>
                  <a:pt x="4678079" y="1438386"/>
                </a:cubicBezTo>
                <a:close/>
                <a:moveTo>
                  <a:pt x="4339287" y="1437589"/>
                </a:moveTo>
                <a:cubicBezTo>
                  <a:pt x="4351086" y="1439601"/>
                  <a:pt x="4356896" y="1445531"/>
                  <a:pt x="4353943" y="1454865"/>
                </a:cubicBezTo>
                <a:cubicBezTo>
                  <a:pt x="4348038" y="1473534"/>
                  <a:pt x="4313652" y="1494964"/>
                  <a:pt x="4275362" y="1506487"/>
                </a:cubicBezTo>
                <a:cubicBezTo>
                  <a:pt x="4235262" y="1518584"/>
                  <a:pt x="4205829" y="1514393"/>
                  <a:pt x="4209735" y="1496963"/>
                </a:cubicBezTo>
                <a:cubicBezTo>
                  <a:pt x="4213640" y="1479535"/>
                  <a:pt x="4248597" y="1455817"/>
                  <a:pt x="4288697" y="1443816"/>
                </a:cubicBezTo>
                <a:cubicBezTo>
                  <a:pt x="4309700" y="1437481"/>
                  <a:pt x="4327488" y="1435576"/>
                  <a:pt x="4339287" y="1437589"/>
                </a:cubicBezTo>
                <a:close/>
                <a:moveTo>
                  <a:pt x="5276820" y="1431336"/>
                </a:moveTo>
                <a:cubicBezTo>
                  <a:pt x="5304348" y="1428954"/>
                  <a:pt x="5314349" y="1435623"/>
                  <a:pt x="5300633" y="1446862"/>
                </a:cubicBezTo>
                <a:cubicBezTo>
                  <a:pt x="5296411" y="1450149"/>
                  <a:pt x="5291844" y="1452958"/>
                  <a:pt x="5287012" y="1455243"/>
                </a:cubicBezTo>
                <a:cubicBezTo>
                  <a:pt x="5284250" y="1456673"/>
                  <a:pt x="5281392" y="1457911"/>
                  <a:pt x="5278344" y="1459150"/>
                </a:cubicBezTo>
                <a:cubicBezTo>
                  <a:pt x="5275296" y="1460388"/>
                  <a:pt x="5272153" y="1461722"/>
                  <a:pt x="5268819" y="1462864"/>
                </a:cubicBezTo>
                <a:cubicBezTo>
                  <a:pt x="5255321" y="1467598"/>
                  <a:pt x="5241323" y="1470761"/>
                  <a:pt x="5227100" y="1472294"/>
                </a:cubicBezTo>
                <a:cubicBezTo>
                  <a:pt x="5199096" y="1475914"/>
                  <a:pt x="5187857" y="1469722"/>
                  <a:pt x="5201478" y="1457816"/>
                </a:cubicBezTo>
                <a:cubicBezTo>
                  <a:pt x="5205620" y="1454311"/>
                  <a:pt x="5210160" y="1451311"/>
                  <a:pt x="5215003" y="1448863"/>
                </a:cubicBezTo>
                <a:cubicBezTo>
                  <a:pt x="5217765" y="1447339"/>
                  <a:pt x="5220718" y="1446005"/>
                  <a:pt x="5223861" y="1444576"/>
                </a:cubicBezTo>
                <a:cubicBezTo>
                  <a:pt x="5227005" y="1443148"/>
                  <a:pt x="5230243" y="1442005"/>
                  <a:pt x="5233386" y="1440862"/>
                </a:cubicBezTo>
                <a:cubicBezTo>
                  <a:pt x="5247458" y="1436060"/>
                  <a:pt x="5262029" y="1432861"/>
                  <a:pt x="5276820" y="1431336"/>
                </a:cubicBezTo>
                <a:close/>
                <a:moveTo>
                  <a:pt x="5598480" y="1428095"/>
                </a:moveTo>
                <a:cubicBezTo>
                  <a:pt x="5609815" y="1428095"/>
                  <a:pt x="5616863" y="1429810"/>
                  <a:pt x="5619054" y="1432762"/>
                </a:cubicBezTo>
                <a:cubicBezTo>
                  <a:pt x="5620273" y="1434191"/>
                  <a:pt x="5620273" y="1436287"/>
                  <a:pt x="5619054" y="1437715"/>
                </a:cubicBezTo>
                <a:cubicBezTo>
                  <a:pt x="5618206" y="1438773"/>
                  <a:pt x="5617216" y="1439707"/>
                  <a:pt x="5616101" y="1440478"/>
                </a:cubicBezTo>
                <a:cubicBezTo>
                  <a:pt x="5614568" y="1441659"/>
                  <a:pt x="5612948" y="1442706"/>
                  <a:pt x="5611243" y="1443621"/>
                </a:cubicBezTo>
                <a:cubicBezTo>
                  <a:pt x="5601052" y="1448440"/>
                  <a:pt x="5590298" y="1451994"/>
                  <a:pt x="5579239" y="1454194"/>
                </a:cubicBezTo>
                <a:cubicBezTo>
                  <a:pt x="5576096" y="1454956"/>
                  <a:pt x="5572953" y="1455527"/>
                  <a:pt x="5569714" y="1456099"/>
                </a:cubicBezTo>
                <a:lnTo>
                  <a:pt x="5560189" y="1457719"/>
                </a:lnTo>
                <a:cubicBezTo>
                  <a:pt x="5554284" y="1458547"/>
                  <a:pt x="5548340" y="1459023"/>
                  <a:pt x="5542378" y="1459148"/>
                </a:cubicBezTo>
                <a:cubicBezTo>
                  <a:pt x="5535320" y="1460137"/>
                  <a:pt x="5528128" y="1458689"/>
                  <a:pt x="5521994" y="1455051"/>
                </a:cubicBezTo>
                <a:cubicBezTo>
                  <a:pt x="5520842" y="1453670"/>
                  <a:pt x="5520842" y="1451669"/>
                  <a:pt x="5521994" y="1450288"/>
                </a:cubicBezTo>
                <a:cubicBezTo>
                  <a:pt x="5523833" y="1447764"/>
                  <a:pt x="5526252" y="1445707"/>
                  <a:pt x="5529043" y="1444288"/>
                </a:cubicBezTo>
                <a:cubicBezTo>
                  <a:pt x="5539168" y="1439125"/>
                  <a:pt x="5549931" y="1435315"/>
                  <a:pt x="5561047" y="1432954"/>
                </a:cubicBezTo>
                <a:cubicBezTo>
                  <a:pt x="5564285" y="1432191"/>
                  <a:pt x="5567524" y="1431429"/>
                  <a:pt x="5570572" y="1430858"/>
                </a:cubicBezTo>
                <a:cubicBezTo>
                  <a:pt x="5573620" y="1430286"/>
                  <a:pt x="5577144" y="1429714"/>
                  <a:pt x="5580097" y="1429333"/>
                </a:cubicBezTo>
                <a:cubicBezTo>
                  <a:pt x="5586193" y="1428571"/>
                  <a:pt x="5592336" y="1428152"/>
                  <a:pt x="5598480" y="1428095"/>
                </a:cubicBezTo>
                <a:close/>
                <a:moveTo>
                  <a:pt x="5436650" y="1426764"/>
                </a:moveTo>
                <a:cubicBezTo>
                  <a:pt x="5461700" y="1425430"/>
                  <a:pt x="5470654" y="1432955"/>
                  <a:pt x="5455700" y="1442670"/>
                </a:cubicBezTo>
                <a:cubicBezTo>
                  <a:pt x="5451280" y="1445404"/>
                  <a:pt x="5446632" y="1447728"/>
                  <a:pt x="5441793" y="1449624"/>
                </a:cubicBezTo>
                <a:cubicBezTo>
                  <a:pt x="5436269" y="1451814"/>
                  <a:pt x="5429982" y="1453815"/>
                  <a:pt x="5423315" y="1455815"/>
                </a:cubicBezTo>
                <a:cubicBezTo>
                  <a:pt x="5410351" y="1459787"/>
                  <a:pt x="5397008" y="1462378"/>
                  <a:pt x="5383500" y="1463529"/>
                </a:cubicBezTo>
                <a:cubicBezTo>
                  <a:pt x="5359592" y="1465435"/>
                  <a:pt x="5349782" y="1458672"/>
                  <a:pt x="5363021" y="1448766"/>
                </a:cubicBezTo>
                <a:cubicBezTo>
                  <a:pt x="5367257" y="1445794"/>
                  <a:pt x="5371789" y="1443270"/>
                  <a:pt x="5376547" y="1441242"/>
                </a:cubicBezTo>
                <a:cubicBezTo>
                  <a:pt x="5382774" y="1438689"/>
                  <a:pt x="5389133" y="1436460"/>
                  <a:pt x="5395597" y="1434574"/>
                </a:cubicBezTo>
                <a:cubicBezTo>
                  <a:pt x="5402360" y="1432574"/>
                  <a:pt x="5409408" y="1430858"/>
                  <a:pt x="5416457" y="1429431"/>
                </a:cubicBezTo>
                <a:lnTo>
                  <a:pt x="5426839" y="1427716"/>
                </a:lnTo>
                <a:cubicBezTo>
                  <a:pt x="5430649" y="1427240"/>
                  <a:pt x="5433887" y="1426954"/>
                  <a:pt x="5436650" y="1426764"/>
                </a:cubicBezTo>
                <a:close/>
                <a:moveTo>
                  <a:pt x="6369909" y="1417608"/>
                </a:moveTo>
                <a:cubicBezTo>
                  <a:pt x="6377863" y="1416884"/>
                  <a:pt x="6385864" y="1416884"/>
                  <a:pt x="6393817" y="1417608"/>
                </a:cubicBezTo>
                <a:cubicBezTo>
                  <a:pt x="6401399" y="1418132"/>
                  <a:pt x="6408924" y="1419351"/>
                  <a:pt x="6416296" y="1421228"/>
                </a:cubicBezTo>
                <a:cubicBezTo>
                  <a:pt x="6426869" y="1424466"/>
                  <a:pt x="6425821" y="1429228"/>
                  <a:pt x="6414201" y="1430753"/>
                </a:cubicBezTo>
                <a:cubicBezTo>
                  <a:pt x="6405771" y="1431524"/>
                  <a:pt x="6397294" y="1431524"/>
                  <a:pt x="6388864" y="1430753"/>
                </a:cubicBezTo>
                <a:cubicBezTo>
                  <a:pt x="6380853" y="1430419"/>
                  <a:pt x="6372900" y="1429209"/>
                  <a:pt x="6365147" y="1427133"/>
                </a:cubicBezTo>
                <a:cubicBezTo>
                  <a:pt x="6355622" y="1424085"/>
                  <a:pt x="6357717" y="1419418"/>
                  <a:pt x="6369909" y="1417608"/>
                </a:cubicBezTo>
                <a:close/>
                <a:moveTo>
                  <a:pt x="1121840" y="1411419"/>
                </a:moveTo>
                <a:cubicBezTo>
                  <a:pt x="1125383" y="1411533"/>
                  <a:pt x="1128918" y="1411886"/>
                  <a:pt x="1132413" y="1412467"/>
                </a:cubicBezTo>
                <a:cubicBezTo>
                  <a:pt x="1136061" y="1412914"/>
                  <a:pt x="1139691" y="1413553"/>
                  <a:pt x="1143272" y="1414372"/>
                </a:cubicBezTo>
                <a:cubicBezTo>
                  <a:pt x="1146795" y="1415229"/>
                  <a:pt x="1150415" y="1416181"/>
                  <a:pt x="1153939" y="1417324"/>
                </a:cubicBezTo>
                <a:lnTo>
                  <a:pt x="1159273" y="1419134"/>
                </a:lnTo>
                <a:lnTo>
                  <a:pt x="1164512" y="1421039"/>
                </a:lnTo>
                <a:cubicBezTo>
                  <a:pt x="1171456" y="1423678"/>
                  <a:pt x="1178172" y="1426859"/>
                  <a:pt x="1184610" y="1430564"/>
                </a:cubicBezTo>
                <a:cubicBezTo>
                  <a:pt x="1190868" y="1434231"/>
                  <a:pt x="1196802" y="1438432"/>
                  <a:pt x="1202326" y="1443137"/>
                </a:cubicBezTo>
                <a:cubicBezTo>
                  <a:pt x="1213661" y="1452662"/>
                  <a:pt x="1218043" y="1460949"/>
                  <a:pt x="1215661" y="1466473"/>
                </a:cubicBezTo>
                <a:cubicBezTo>
                  <a:pt x="1213280" y="1471998"/>
                  <a:pt x="1203945" y="1474951"/>
                  <a:pt x="1188229" y="1474760"/>
                </a:cubicBezTo>
                <a:cubicBezTo>
                  <a:pt x="1158816" y="1473960"/>
                  <a:pt x="1130593" y="1462949"/>
                  <a:pt x="1108411" y="1443613"/>
                </a:cubicBezTo>
                <a:cubicBezTo>
                  <a:pt x="1106982" y="1442280"/>
                  <a:pt x="1105648" y="1441042"/>
                  <a:pt x="1104504" y="1439803"/>
                </a:cubicBezTo>
                <a:cubicBezTo>
                  <a:pt x="1103362" y="1438565"/>
                  <a:pt x="1102218" y="1437327"/>
                  <a:pt x="1101266" y="1436184"/>
                </a:cubicBezTo>
                <a:cubicBezTo>
                  <a:pt x="1099514" y="1434126"/>
                  <a:pt x="1097981" y="1431898"/>
                  <a:pt x="1096695" y="1429516"/>
                </a:cubicBezTo>
                <a:cubicBezTo>
                  <a:pt x="1094656" y="1426421"/>
                  <a:pt x="1094095" y="1422582"/>
                  <a:pt x="1095171" y="1419039"/>
                </a:cubicBezTo>
                <a:cubicBezTo>
                  <a:pt x="1096846" y="1415781"/>
                  <a:pt x="1099943" y="1413486"/>
                  <a:pt x="1103553" y="1412848"/>
                </a:cubicBezTo>
                <a:cubicBezTo>
                  <a:pt x="1109534" y="1411390"/>
                  <a:pt x="1115707" y="1410905"/>
                  <a:pt x="1121840" y="1411419"/>
                </a:cubicBezTo>
                <a:close/>
                <a:moveTo>
                  <a:pt x="6036154" y="1410183"/>
                </a:moveTo>
                <a:cubicBezTo>
                  <a:pt x="6041488" y="1409898"/>
                  <a:pt x="6046822" y="1409898"/>
                  <a:pt x="6052156" y="1410183"/>
                </a:cubicBezTo>
                <a:cubicBezTo>
                  <a:pt x="6054727" y="1410183"/>
                  <a:pt x="6057204" y="1410183"/>
                  <a:pt x="6059585" y="1410183"/>
                </a:cubicBezTo>
                <a:cubicBezTo>
                  <a:pt x="6061757" y="1410355"/>
                  <a:pt x="6063919" y="1410641"/>
                  <a:pt x="6066062" y="1411041"/>
                </a:cubicBezTo>
                <a:cubicBezTo>
                  <a:pt x="6082160" y="1413803"/>
                  <a:pt x="6081683" y="1419994"/>
                  <a:pt x="6065395" y="1423995"/>
                </a:cubicBezTo>
                <a:cubicBezTo>
                  <a:pt x="6056309" y="1426042"/>
                  <a:pt x="6047069" y="1427319"/>
                  <a:pt x="6037773" y="1427804"/>
                </a:cubicBezTo>
                <a:cubicBezTo>
                  <a:pt x="6032820" y="1427804"/>
                  <a:pt x="6027772" y="1428281"/>
                  <a:pt x="6023105" y="1427804"/>
                </a:cubicBezTo>
                <a:cubicBezTo>
                  <a:pt x="6018742" y="1427814"/>
                  <a:pt x="6014389" y="1427566"/>
                  <a:pt x="6010055" y="1427043"/>
                </a:cubicBezTo>
                <a:cubicBezTo>
                  <a:pt x="5993386" y="1425328"/>
                  <a:pt x="5991767" y="1419232"/>
                  <a:pt x="6006912" y="1414850"/>
                </a:cubicBezTo>
                <a:cubicBezTo>
                  <a:pt x="6011322" y="1413565"/>
                  <a:pt x="6015808" y="1412546"/>
                  <a:pt x="6020342" y="1411803"/>
                </a:cubicBezTo>
                <a:cubicBezTo>
                  <a:pt x="6025390" y="1411041"/>
                  <a:pt x="6030724" y="1410564"/>
                  <a:pt x="6036154" y="1410183"/>
                </a:cubicBezTo>
                <a:close/>
                <a:moveTo>
                  <a:pt x="1465978" y="1409324"/>
                </a:moveTo>
                <a:cubicBezTo>
                  <a:pt x="1470112" y="1409324"/>
                  <a:pt x="1474246" y="1409543"/>
                  <a:pt x="1478361" y="1409991"/>
                </a:cubicBezTo>
                <a:cubicBezTo>
                  <a:pt x="1487572" y="1411010"/>
                  <a:pt x="1496697" y="1412629"/>
                  <a:pt x="1505698" y="1414848"/>
                </a:cubicBezTo>
                <a:cubicBezTo>
                  <a:pt x="1514813" y="1417058"/>
                  <a:pt x="1523757" y="1419925"/>
                  <a:pt x="1532463" y="1423421"/>
                </a:cubicBezTo>
                <a:cubicBezTo>
                  <a:pt x="1539835" y="1426174"/>
                  <a:pt x="1546836" y="1429822"/>
                  <a:pt x="1553323" y="1434279"/>
                </a:cubicBezTo>
                <a:cubicBezTo>
                  <a:pt x="1574468" y="1449329"/>
                  <a:pt x="1567610" y="1468569"/>
                  <a:pt x="1539988" y="1472189"/>
                </a:cubicBezTo>
                <a:cubicBezTo>
                  <a:pt x="1532072" y="1473094"/>
                  <a:pt x="1524090" y="1473094"/>
                  <a:pt x="1516175" y="1472189"/>
                </a:cubicBezTo>
                <a:cubicBezTo>
                  <a:pt x="1511889" y="1472189"/>
                  <a:pt x="1507317" y="1471141"/>
                  <a:pt x="1502840" y="1470284"/>
                </a:cubicBezTo>
                <a:cubicBezTo>
                  <a:pt x="1498363" y="1469427"/>
                  <a:pt x="1493791" y="1468379"/>
                  <a:pt x="1489220" y="1467141"/>
                </a:cubicBezTo>
                <a:cubicBezTo>
                  <a:pt x="1472989" y="1463407"/>
                  <a:pt x="1457625" y="1456587"/>
                  <a:pt x="1443976" y="1447043"/>
                </a:cubicBezTo>
                <a:cubicBezTo>
                  <a:pt x="1424926" y="1431898"/>
                  <a:pt x="1430450" y="1413991"/>
                  <a:pt x="1455406" y="1410086"/>
                </a:cubicBezTo>
                <a:cubicBezTo>
                  <a:pt x="1458901" y="1409524"/>
                  <a:pt x="1462435" y="1409267"/>
                  <a:pt x="1465978" y="1409324"/>
                </a:cubicBezTo>
                <a:close/>
                <a:moveTo>
                  <a:pt x="4876675" y="1407241"/>
                </a:moveTo>
                <a:cubicBezTo>
                  <a:pt x="4884485" y="1410192"/>
                  <a:pt x="4886200" y="1416098"/>
                  <a:pt x="4880390" y="1424004"/>
                </a:cubicBezTo>
                <a:cubicBezTo>
                  <a:pt x="4871613" y="1433776"/>
                  <a:pt x="4860912" y="1441615"/>
                  <a:pt x="4848957" y="1447055"/>
                </a:cubicBezTo>
                <a:cubicBezTo>
                  <a:pt x="4841575" y="1450702"/>
                  <a:pt x="4833972" y="1453884"/>
                  <a:pt x="4826192" y="1456579"/>
                </a:cubicBezTo>
                <a:cubicBezTo>
                  <a:pt x="4822192" y="1458009"/>
                  <a:pt x="4818191" y="1459437"/>
                  <a:pt x="4814191" y="1460580"/>
                </a:cubicBezTo>
                <a:cubicBezTo>
                  <a:pt x="4810190" y="1461723"/>
                  <a:pt x="4806190" y="1462961"/>
                  <a:pt x="4802189" y="1463818"/>
                </a:cubicBezTo>
                <a:cubicBezTo>
                  <a:pt x="4790370" y="1467296"/>
                  <a:pt x="4777885" y="1467847"/>
                  <a:pt x="4765804" y="1465438"/>
                </a:cubicBezTo>
                <a:cubicBezTo>
                  <a:pt x="4762584" y="1464791"/>
                  <a:pt x="4759803" y="1462771"/>
                  <a:pt x="4758184" y="1459914"/>
                </a:cubicBezTo>
                <a:cubicBezTo>
                  <a:pt x="4757174" y="1456855"/>
                  <a:pt x="4757669" y="1453503"/>
                  <a:pt x="4759517" y="1450864"/>
                </a:cubicBezTo>
                <a:cubicBezTo>
                  <a:pt x="4767324" y="1440663"/>
                  <a:pt x="4777445" y="1432473"/>
                  <a:pt x="4789045" y="1426957"/>
                </a:cubicBezTo>
                <a:cubicBezTo>
                  <a:pt x="4796565" y="1422899"/>
                  <a:pt x="4804327" y="1419308"/>
                  <a:pt x="4812286" y="1416193"/>
                </a:cubicBezTo>
                <a:cubicBezTo>
                  <a:pt x="4820505" y="1413050"/>
                  <a:pt x="4828941" y="1410507"/>
                  <a:pt x="4837527" y="1408573"/>
                </a:cubicBezTo>
                <a:cubicBezTo>
                  <a:pt x="4850242" y="1404754"/>
                  <a:pt x="4863729" y="1404296"/>
                  <a:pt x="4876675" y="1407241"/>
                </a:cubicBezTo>
                <a:close/>
                <a:moveTo>
                  <a:pt x="578905" y="1390651"/>
                </a:moveTo>
                <a:cubicBezTo>
                  <a:pt x="580505" y="1390089"/>
                  <a:pt x="582276" y="1390413"/>
                  <a:pt x="583572" y="1391508"/>
                </a:cubicBezTo>
                <a:cubicBezTo>
                  <a:pt x="585172" y="1392832"/>
                  <a:pt x="586220" y="1394699"/>
                  <a:pt x="586524" y="1396747"/>
                </a:cubicBezTo>
                <a:cubicBezTo>
                  <a:pt x="586524" y="1397319"/>
                  <a:pt x="586524" y="1397985"/>
                  <a:pt x="586524" y="1398462"/>
                </a:cubicBezTo>
                <a:lnTo>
                  <a:pt x="586524" y="1400271"/>
                </a:lnTo>
                <a:cubicBezTo>
                  <a:pt x="586620" y="1401567"/>
                  <a:pt x="586620" y="1402881"/>
                  <a:pt x="586524" y="1404177"/>
                </a:cubicBezTo>
                <a:cubicBezTo>
                  <a:pt x="586476" y="1404843"/>
                  <a:pt x="586476" y="1405510"/>
                  <a:pt x="586524" y="1406177"/>
                </a:cubicBezTo>
                <a:cubicBezTo>
                  <a:pt x="586524" y="1406939"/>
                  <a:pt x="586524" y="1407606"/>
                  <a:pt x="586524" y="1408272"/>
                </a:cubicBezTo>
                <a:cubicBezTo>
                  <a:pt x="586430" y="1409815"/>
                  <a:pt x="586211" y="1411339"/>
                  <a:pt x="585858" y="1412844"/>
                </a:cubicBezTo>
                <a:lnTo>
                  <a:pt x="585858" y="1413987"/>
                </a:lnTo>
                <a:cubicBezTo>
                  <a:pt x="585811" y="1414369"/>
                  <a:pt x="585811" y="1414749"/>
                  <a:pt x="585858" y="1415131"/>
                </a:cubicBezTo>
                <a:cubicBezTo>
                  <a:pt x="585858" y="1415988"/>
                  <a:pt x="585858" y="1416750"/>
                  <a:pt x="585858" y="1417512"/>
                </a:cubicBezTo>
                <a:cubicBezTo>
                  <a:pt x="585858" y="1418274"/>
                  <a:pt x="585001" y="1420845"/>
                  <a:pt x="584524" y="1422655"/>
                </a:cubicBezTo>
                <a:cubicBezTo>
                  <a:pt x="584048" y="1424465"/>
                  <a:pt x="584048" y="1424371"/>
                  <a:pt x="583763" y="1425227"/>
                </a:cubicBezTo>
                <a:cubicBezTo>
                  <a:pt x="583477" y="1426084"/>
                  <a:pt x="583286" y="1426941"/>
                  <a:pt x="583096" y="1427800"/>
                </a:cubicBezTo>
                <a:cubicBezTo>
                  <a:pt x="582906" y="1428656"/>
                  <a:pt x="581953" y="1431418"/>
                  <a:pt x="581191" y="1433228"/>
                </a:cubicBezTo>
                <a:lnTo>
                  <a:pt x="580715" y="1434752"/>
                </a:lnTo>
                <a:lnTo>
                  <a:pt x="580239" y="1436085"/>
                </a:lnTo>
                <a:cubicBezTo>
                  <a:pt x="580239" y="1437038"/>
                  <a:pt x="579572" y="1437895"/>
                  <a:pt x="579286" y="1438752"/>
                </a:cubicBezTo>
                <a:cubicBezTo>
                  <a:pt x="579000" y="1439610"/>
                  <a:pt x="577857" y="1441896"/>
                  <a:pt x="577190" y="1443229"/>
                </a:cubicBezTo>
                <a:cubicBezTo>
                  <a:pt x="576152" y="1445372"/>
                  <a:pt x="574619" y="1447230"/>
                  <a:pt x="572714" y="1448658"/>
                </a:cubicBezTo>
                <a:cubicBezTo>
                  <a:pt x="571266" y="1449592"/>
                  <a:pt x="569399" y="1449592"/>
                  <a:pt x="567951" y="1448658"/>
                </a:cubicBezTo>
                <a:cubicBezTo>
                  <a:pt x="567037" y="1448154"/>
                  <a:pt x="566198" y="1447515"/>
                  <a:pt x="565475" y="1446753"/>
                </a:cubicBezTo>
                <a:lnTo>
                  <a:pt x="564236" y="1445230"/>
                </a:lnTo>
                <a:cubicBezTo>
                  <a:pt x="563779" y="1444659"/>
                  <a:pt x="563417" y="1444020"/>
                  <a:pt x="563189" y="1443324"/>
                </a:cubicBezTo>
                <a:cubicBezTo>
                  <a:pt x="562503" y="1442039"/>
                  <a:pt x="561931" y="1440705"/>
                  <a:pt x="561474" y="1439324"/>
                </a:cubicBezTo>
                <a:cubicBezTo>
                  <a:pt x="560893" y="1437886"/>
                  <a:pt x="560511" y="1436382"/>
                  <a:pt x="560331" y="1434847"/>
                </a:cubicBezTo>
                <a:cubicBezTo>
                  <a:pt x="560045" y="1433209"/>
                  <a:pt x="559855" y="1431552"/>
                  <a:pt x="559760" y="1429894"/>
                </a:cubicBezTo>
                <a:cubicBezTo>
                  <a:pt x="559760" y="1429132"/>
                  <a:pt x="559760" y="1428275"/>
                  <a:pt x="559760" y="1427418"/>
                </a:cubicBezTo>
                <a:cubicBezTo>
                  <a:pt x="559712" y="1426532"/>
                  <a:pt x="559712" y="1425637"/>
                  <a:pt x="559760" y="1424751"/>
                </a:cubicBezTo>
                <a:cubicBezTo>
                  <a:pt x="560417" y="1417140"/>
                  <a:pt x="562722" y="1409758"/>
                  <a:pt x="566522" y="1403129"/>
                </a:cubicBezTo>
                <a:cubicBezTo>
                  <a:pt x="568247" y="1399881"/>
                  <a:pt x="570427" y="1396900"/>
                  <a:pt x="572999" y="1394271"/>
                </a:cubicBezTo>
                <a:cubicBezTo>
                  <a:pt x="574647" y="1392604"/>
                  <a:pt x="576675" y="1391366"/>
                  <a:pt x="578905" y="1390651"/>
                </a:cubicBezTo>
                <a:close/>
                <a:moveTo>
                  <a:pt x="4141929" y="1386890"/>
                </a:moveTo>
                <a:cubicBezTo>
                  <a:pt x="4154895" y="1389212"/>
                  <a:pt x="4162444" y="1395380"/>
                  <a:pt x="4161253" y="1404667"/>
                </a:cubicBezTo>
                <a:cubicBezTo>
                  <a:pt x="4158871" y="1423240"/>
                  <a:pt x="4123153" y="1447911"/>
                  <a:pt x="4084100" y="1459435"/>
                </a:cubicBezTo>
                <a:cubicBezTo>
                  <a:pt x="4045048" y="1470961"/>
                  <a:pt x="4012282" y="1466008"/>
                  <a:pt x="4012853" y="1448481"/>
                </a:cubicBezTo>
                <a:cubicBezTo>
                  <a:pt x="4012853" y="1430575"/>
                  <a:pt x="4049143" y="1404380"/>
                  <a:pt x="4090101" y="1392188"/>
                </a:cubicBezTo>
                <a:cubicBezTo>
                  <a:pt x="4110580" y="1386092"/>
                  <a:pt x="4128963" y="1384569"/>
                  <a:pt x="4141929" y="1386890"/>
                </a:cubicBezTo>
                <a:close/>
                <a:moveTo>
                  <a:pt x="1821360" y="1386085"/>
                </a:moveTo>
                <a:cubicBezTo>
                  <a:pt x="1855458" y="1380846"/>
                  <a:pt x="1898702" y="1390848"/>
                  <a:pt x="1918990" y="1408278"/>
                </a:cubicBezTo>
                <a:cubicBezTo>
                  <a:pt x="1928991" y="1416851"/>
                  <a:pt x="1931277" y="1425614"/>
                  <a:pt x="1926991" y="1432853"/>
                </a:cubicBezTo>
                <a:cubicBezTo>
                  <a:pt x="1922704" y="1440092"/>
                  <a:pt x="1911656" y="1445902"/>
                  <a:pt x="1895177" y="1448474"/>
                </a:cubicBezTo>
                <a:cubicBezTo>
                  <a:pt x="1862031" y="1453903"/>
                  <a:pt x="1819549" y="1444473"/>
                  <a:pt x="1798785" y="1427138"/>
                </a:cubicBezTo>
                <a:cubicBezTo>
                  <a:pt x="1778021" y="1409802"/>
                  <a:pt x="1787355" y="1391133"/>
                  <a:pt x="1821360" y="1386085"/>
                </a:cubicBezTo>
                <a:close/>
                <a:moveTo>
                  <a:pt x="426311" y="1386078"/>
                </a:moveTo>
                <a:cubicBezTo>
                  <a:pt x="429073" y="1385982"/>
                  <a:pt x="431454" y="1390269"/>
                  <a:pt x="432692" y="1398936"/>
                </a:cubicBezTo>
                <a:lnTo>
                  <a:pt x="433264" y="1402556"/>
                </a:lnTo>
                <a:cubicBezTo>
                  <a:pt x="433264" y="1403794"/>
                  <a:pt x="433264" y="1405032"/>
                  <a:pt x="433741" y="1406271"/>
                </a:cubicBezTo>
                <a:cubicBezTo>
                  <a:pt x="434217" y="1407509"/>
                  <a:pt x="433741" y="1411509"/>
                  <a:pt x="434311" y="1414271"/>
                </a:cubicBezTo>
                <a:cubicBezTo>
                  <a:pt x="434884" y="1417034"/>
                  <a:pt x="434311" y="1417034"/>
                  <a:pt x="434311" y="1418463"/>
                </a:cubicBezTo>
                <a:cubicBezTo>
                  <a:pt x="434311" y="1419891"/>
                  <a:pt x="434311" y="1421320"/>
                  <a:pt x="434311" y="1422749"/>
                </a:cubicBezTo>
                <a:cubicBezTo>
                  <a:pt x="434311" y="1424178"/>
                  <a:pt x="434311" y="1428464"/>
                  <a:pt x="434311" y="1431417"/>
                </a:cubicBezTo>
                <a:cubicBezTo>
                  <a:pt x="434311" y="1432845"/>
                  <a:pt x="434311" y="1434369"/>
                  <a:pt x="434311" y="1435893"/>
                </a:cubicBezTo>
                <a:cubicBezTo>
                  <a:pt x="434311" y="1437417"/>
                  <a:pt x="434311" y="1438751"/>
                  <a:pt x="434311" y="1440275"/>
                </a:cubicBezTo>
                <a:cubicBezTo>
                  <a:pt x="434311" y="1441799"/>
                  <a:pt x="434311" y="1446085"/>
                  <a:pt x="434311" y="1449038"/>
                </a:cubicBezTo>
                <a:cubicBezTo>
                  <a:pt x="434311" y="1450467"/>
                  <a:pt x="434311" y="1451991"/>
                  <a:pt x="433836" y="1453419"/>
                </a:cubicBezTo>
                <a:lnTo>
                  <a:pt x="433836" y="1457610"/>
                </a:lnTo>
                <a:cubicBezTo>
                  <a:pt x="433836" y="1460468"/>
                  <a:pt x="433168" y="1463135"/>
                  <a:pt x="432692" y="1465802"/>
                </a:cubicBezTo>
                <a:cubicBezTo>
                  <a:pt x="432217" y="1468469"/>
                  <a:pt x="431836" y="1470279"/>
                  <a:pt x="431549" y="1472088"/>
                </a:cubicBezTo>
                <a:cubicBezTo>
                  <a:pt x="431226" y="1473641"/>
                  <a:pt x="430778" y="1475174"/>
                  <a:pt x="430216" y="1476660"/>
                </a:cubicBezTo>
                <a:cubicBezTo>
                  <a:pt x="429263" y="1479137"/>
                  <a:pt x="428120" y="1480661"/>
                  <a:pt x="426787" y="1480946"/>
                </a:cubicBezTo>
                <a:cubicBezTo>
                  <a:pt x="425453" y="1481232"/>
                  <a:pt x="423930" y="1480946"/>
                  <a:pt x="422215" y="1478565"/>
                </a:cubicBezTo>
                <a:lnTo>
                  <a:pt x="420977" y="1476946"/>
                </a:lnTo>
                <a:lnTo>
                  <a:pt x="420310" y="1475898"/>
                </a:lnTo>
                <a:lnTo>
                  <a:pt x="419739" y="1474755"/>
                </a:lnTo>
                <a:cubicBezTo>
                  <a:pt x="418463" y="1473012"/>
                  <a:pt x="417282" y="1471202"/>
                  <a:pt x="416215" y="1469326"/>
                </a:cubicBezTo>
                <a:cubicBezTo>
                  <a:pt x="415262" y="1466945"/>
                  <a:pt x="414405" y="1464373"/>
                  <a:pt x="413643" y="1461801"/>
                </a:cubicBezTo>
                <a:cubicBezTo>
                  <a:pt x="413585" y="1461106"/>
                  <a:pt x="413585" y="1460401"/>
                  <a:pt x="413643" y="1459706"/>
                </a:cubicBezTo>
                <a:lnTo>
                  <a:pt x="413167" y="1457610"/>
                </a:lnTo>
                <a:cubicBezTo>
                  <a:pt x="413167" y="1456277"/>
                  <a:pt x="412690" y="1454848"/>
                  <a:pt x="412403" y="1453324"/>
                </a:cubicBezTo>
                <a:cubicBezTo>
                  <a:pt x="412119" y="1451800"/>
                  <a:pt x="411547" y="1447514"/>
                  <a:pt x="411262" y="1444466"/>
                </a:cubicBezTo>
                <a:cubicBezTo>
                  <a:pt x="411213" y="1443704"/>
                  <a:pt x="411213" y="1442942"/>
                  <a:pt x="411262" y="1442180"/>
                </a:cubicBezTo>
                <a:lnTo>
                  <a:pt x="411262" y="1435226"/>
                </a:lnTo>
                <a:cubicBezTo>
                  <a:pt x="411262" y="1432083"/>
                  <a:pt x="411262" y="1428940"/>
                  <a:pt x="411262" y="1425701"/>
                </a:cubicBezTo>
                <a:cubicBezTo>
                  <a:pt x="411357" y="1424168"/>
                  <a:pt x="411547" y="1422644"/>
                  <a:pt x="411833" y="1421129"/>
                </a:cubicBezTo>
                <a:cubicBezTo>
                  <a:pt x="411833" y="1419605"/>
                  <a:pt x="411833" y="1418082"/>
                  <a:pt x="412500" y="1416558"/>
                </a:cubicBezTo>
                <a:cubicBezTo>
                  <a:pt x="413395" y="1410842"/>
                  <a:pt x="414833" y="1405232"/>
                  <a:pt x="416786" y="1399794"/>
                </a:cubicBezTo>
                <a:cubicBezTo>
                  <a:pt x="420215" y="1390269"/>
                  <a:pt x="423549" y="1386173"/>
                  <a:pt x="426311" y="1386078"/>
                </a:cubicBezTo>
                <a:close/>
                <a:moveTo>
                  <a:pt x="3637556" y="1385425"/>
                </a:moveTo>
                <a:cubicBezTo>
                  <a:pt x="3652665" y="1388688"/>
                  <a:pt x="3662571" y="1395712"/>
                  <a:pt x="3662618" y="1405428"/>
                </a:cubicBezTo>
                <a:cubicBezTo>
                  <a:pt x="3662714" y="1424859"/>
                  <a:pt x="3629567" y="1448767"/>
                  <a:pt x="3592229" y="1458387"/>
                </a:cubicBezTo>
                <a:cubicBezTo>
                  <a:pt x="3552414" y="1468580"/>
                  <a:pt x="3512790" y="1461054"/>
                  <a:pt x="3510885" y="1442480"/>
                </a:cubicBezTo>
                <a:cubicBezTo>
                  <a:pt x="3508980" y="1423906"/>
                  <a:pt x="3542127" y="1397998"/>
                  <a:pt x="3581275" y="1387997"/>
                </a:cubicBezTo>
                <a:cubicBezTo>
                  <a:pt x="3602135" y="1382663"/>
                  <a:pt x="3622447" y="1382163"/>
                  <a:pt x="3637556" y="1385425"/>
                </a:cubicBezTo>
                <a:close/>
                <a:moveTo>
                  <a:pt x="4535204" y="1384665"/>
                </a:moveTo>
                <a:cubicBezTo>
                  <a:pt x="4541573" y="1383989"/>
                  <a:pt x="4548011" y="1384380"/>
                  <a:pt x="4554254" y="1385809"/>
                </a:cubicBezTo>
                <a:cubicBezTo>
                  <a:pt x="4564446" y="1388380"/>
                  <a:pt x="4568827" y="1394762"/>
                  <a:pt x="4564731" y="1403906"/>
                </a:cubicBezTo>
                <a:cubicBezTo>
                  <a:pt x="4557719" y="1415327"/>
                  <a:pt x="4547876" y="1424747"/>
                  <a:pt x="4536156" y="1431243"/>
                </a:cubicBezTo>
                <a:cubicBezTo>
                  <a:pt x="4521134" y="1440911"/>
                  <a:pt x="4504808" y="1448378"/>
                  <a:pt x="4487674" y="1453436"/>
                </a:cubicBezTo>
                <a:lnTo>
                  <a:pt x="4484340" y="1454389"/>
                </a:lnTo>
                <a:lnTo>
                  <a:pt x="4480911" y="1455246"/>
                </a:lnTo>
                <a:lnTo>
                  <a:pt x="4474625" y="1456389"/>
                </a:lnTo>
                <a:cubicBezTo>
                  <a:pt x="4470637" y="1457303"/>
                  <a:pt x="4466598" y="1457970"/>
                  <a:pt x="4462528" y="1458389"/>
                </a:cubicBezTo>
                <a:cubicBezTo>
                  <a:pt x="4456020" y="1459303"/>
                  <a:pt x="4449415" y="1459303"/>
                  <a:pt x="4442907" y="1458389"/>
                </a:cubicBezTo>
                <a:cubicBezTo>
                  <a:pt x="4432334" y="1456389"/>
                  <a:pt x="4427000" y="1451150"/>
                  <a:pt x="4429667" y="1442768"/>
                </a:cubicBezTo>
                <a:cubicBezTo>
                  <a:pt x="4436134" y="1430614"/>
                  <a:pt x="4446084" y="1420660"/>
                  <a:pt x="4458242" y="1414193"/>
                </a:cubicBezTo>
                <a:cubicBezTo>
                  <a:pt x="4461957" y="1411717"/>
                  <a:pt x="4465957" y="1409240"/>
                  <a:pt x="4470148" y="1406859"/>
                </a:cubicBezTo>
                <a:lnTo>
                  <a:pt x="4473291" y="1405144"/>
                </a:lnTo>
                <a:lnTo>
                  <a:pt x="4476339" y="1403525"/>
                </a:lnTo>
                <a:lnTo>
                  <a:pt x="4482626" y="1400382"/>
                </a:lnTo>
                <a:cubicBezTo>
                  <a:pt x="4491269" y="1396315"/>
                  <a:pt x="4500180" y="1392848"/>
                  <a:pt x="4509296" y="1389999"/>
                </a:cubicBezTo>
                <a:cubicBezTo>
                  <a:pt x="4517744" y="1387409"/>
                  <a:pt x="4526419" y="1385618"/>
                  <a:pt x="4535204" y="1384665"/>
                </a:cubicBezTo>
                <a:close/>
                <a:moveTo>
                  <a:pt x="5884419" y="1384468"/>
                </a:moveTo>
                <a:cubicBezTo>
                  <a:pt x="5889973" y="1384135"/>
                  <a:pt x="5895535" y="1384135"/>
                  <a:pt x="5901088" y="1384468"/>
                </a:cubicBezTo>
                <a:cubicBezTo>
                  <a:pt x="5905232" y="1384601"/>
                  <a:pt x="5909337" y="1385306"/>
                  <a:pt x="5913280" y="1386564"/>
                </a:cubicBezTo>
                <a:cubicBezTo>
                  <a:pt x="5915595" y="1387078"/>
                  <a:pt x="5917633" y="1388440"/>
                  <a:pt x="5918995" y="1390374"/>
                </a:cubicBezTo>
                <a:cubicBezTo>
                  <a:pt x="5920424" y="1393231"/>
                  <a:pt x="5917281" y="1396565"/>
                  <a:pt x="5909470" y="1399899"/>
                </a:cubicBezTo>
                <a:cubicBezTo>
                  <a:pt x="5899298" y="1403280"/>
                  <a:pt x="5888791" y="1405547"/>
                  <a:pt x="5878133" y="1406661"/>
                </a:cubicBezTo>
                <a:cubicBezTo>
                  <a:pt x="5872228" y="1407423"/>
                  <a:pt x="5866036" y="1408090"/>
                  <a:pt x="5860321" y="1408376"/>
                </a:cubicBezTo>
                <a:cubicBezTo>
                  <a:pt x="5855082" y="1408662"/>
                  <a:pt x="5849844" y="1408662"/>
                  <a:pt x="5844605" y="1408376"/>
                </a:cubicBezTo>
                <a:cubicBezTo>
                  <a:pt x="5835556" y="1407709"/>
                  <a:pt x="5829936" y="1405709"/>
                  <a:pt x="5828222" y="1403137"/>
                </a:cubicBezTo>
                <a:cubicBezTo>
                  <a:pt x="5826507" y="1400565"/>
                  <a:pt x="5828603" y="1396850"/>
                  <a:pt x="5835556" y="1393898"/>
                </a:cubicBezTo>
                <a:cubicBezTo>
                  <a:pt x="5845386" y="1390183"/>
                  <a:pt x="5855616" y="1387630"/>
                  <a:pt x="5866036" y="1386278"/>
                </a:cubicBezTo>
                <a:cubicBezTo>
                  <a:pt x="5872132" y="1385354"/>
                  <a:pt x="5878266" y="1384744"/>
                  <a:pt x="5884419" y="1384468"/>
                </a:cubicBezTo>
                <a:close/>
                <a:moveTo>
                  <a:pt x="5047934" y="1378188"/>
                </a:moveTo>
                <a:cubicBezTo>
                  <a:pt x="5052438" y="1378293"/>
                  <a:pt x="5056863" y="1379407"/>
                  <a:pt x="5060888" y="1381426"/>
                </a:cubicBezTo>
                <a:cubicBezTo>
                  <a:pt x="5066889" y="1384760"/>
                  <a:pt x="5067175" y="1390951"/>
                  <a:pt x="5060317" y="1397619"/>
                </a:cubicBezTo>
                <a:cubicBezTo>
                  <a:pt x="5050095" y="1406506"/>
                  <a:pt x="5038436" y="1413592"/>
                  <a:pt x="5025836" y="1418574"/>
                </a:cubicBezTo>
                <a:cubicBezTo>
                  <a:pt x="5018264" y="1421879"/>
                  <a:pt x="5010503" y="1424746"/>
                  <a:pt x="5002595" y="1427145"/>
                </a:cubicBezTo>
                <a:lnTo>
                  <a:pt x="4990879" y="1430480"/>
                </a:lnTo>
                <a:cubicBezTo>
                  <a:pt x="4986974" y="1431432"/>
                  <a:pt x="4983164" y="1432195"/>
                  <a:pt x="4979449" y="1432861"/>
                </a:cubicBezTo>
                <a:cubicBezTo>
                  <a:pt x="4949731" y="1438005"/>
                  <a:pt x="4933634" y="1430384"/>
                  <a:pt x="4945540" y="1416479"/>
                </a:cubicBezTo>
                <a:cubicBezTo>
                  <a:pt x="4955303" y="1406962"/>
                  <a:pt x="4966819" y="1399419"/>
                  <a:pt x="4979449" y="1394285"/>
                </a:cubicBezTo>
                <a:cubicBezTo>
                  <a:pt x="4983259" y="1392571"/>
                  <a:pt x="4987165" y="1390951"/>
                  <a:pt x="4991165" y="1389331"/>
                </a:cubicBezTo>
                <a:cubicBezTo>
                  <a:pt x="4995166" y="1387713"/>
                  <a:pt x="4999261" y="1386475"/>
                  <a:pt x="5003357" y="1385236"/>
                </a:cubicBezTo>
                <a:cubicBezTo>
                  <a:pt x="5011302" y="1382711"/>
                  <a:pt x="5019420" y="1380769"/>
                  <a:pt x="5027646" y="1379426"/>
                </a:cubicBezTo>
                <a:cubicBezTo>
                  <a:pt x="5034343" y="1378274"/>
                  <a:pt x="5041147" y="1377854"/>
                  <a:pt x="5047934" y="1378188"/>
                </a:cubicBezTo>
                <a:close/>
                <a:moveTo>
                  <a:pt x="3005716" y="1375993"/>
                </a:moveTo>
                <a:cubicBezTo>
                  <a:pt x="3020375" y="1376850"/>
                  <a:pt x="3034252" y="1382889"/>
                  <a:pt x="3044862" y="1393043"/>
                </a:cubicBezTo>
                <a:cubicBezTo>
                  <a:pt x="3051627" y="1401615"/>
                  <a:pt x="3049054" y="1412093"/>
                  <a:pt x="3040006" y="1422285"/>
                </a:cubicBezTo>
                <a:cubicBezTo>
                  <a:pt x="3027987" y="1434181"/>
                  <a:pt x="3012927" y="1442544"/>
                  <a:pt x="2996477" y="1446478"/>
                </a:cubicBezTo>
                <a:cubicBezTo>
                  <a:pt x="2958377" y="1456670"/>
                  <a:pt x="2911894" y="1449526"/>
                  <a:pt x="2899894" y="1431619"/>
                </a:cubicBezTo>
                <a:cubicBezTo>
                  <a:pt x="2887893" y="1413712"/>
                  <a:pt x="2910846" y="1389519"/>
                  <a:pt x="2948567" y="1379327"/>
                </a:cubicBezTo>
                <a:cubicBezTo>
                  <a:pt x="2967216" y="1374469"/>
                  <a:pt x="2986628" y="1373336"/>
                  <a:pt x="3005716" y="1375993"/>
                </a:cubicBezTo>
                <a:close/>
                <a:moveTo>
                  <a:pt x="292870" y="1375982"/>
                </a:moveTo>
                <a:cubicBezTo>
                  <a:pt x="294107" y="1375601"/>
                  <a:pt x="295156" y="1376458"/>
                  <a:pt x="296108" y="1378744"/>
                </a:cubicBezTo>
                <a:cubicBezTo>
                  <a:pt x="296604" y="1380183"/>
                  <a:pt x="297022" y="1381640"/>
                  <a:pt x="297347" y="1383126"/>
                </a:cubicBezTo>
                <a:cubicBezTo>
                  <a:pt x="297870" y="1385288"/>
                  <a:pt x="298251" y="1387489"/>
                  <a:pt x="298490" y="1389699"/>
                </a:cubicBezTo>
                <a:cubicBezTo>
                  <a:pt x="298490" y="1392460"/>
                  <a:pt x="299157" y="1395509"/>
                  <a:pt x="299442" y="1398556"/>
                </a:cubicBezTo>
                <a:lnTo>
                  <a:pt x="299442" y="1403414"/>
                </a:lnTo>
                <a:lnTo>
                  <a:pt x="299442" y="1408368"/>
                </a:lnTo>
                <a:cubicBezTo>
                  <a:pt x="299442" y="1411702"/>
                  <a:pt x="299442" y="1415226"/>
                  <a:pt x="299442" y="1418749"/>
                </a:cubicBezTo>
                <a:lnTo>
                  <a:pt x="299442" y="1424179"/>
                </a:lnTo>
                <a:cubicBezTo>
                  <a:pt x="299442" y="1425990"/>
                  <a:pt x="299442" y="1427799"/>
                  <a:pt x="299442" y="1429703"/>
                </a:cubicBezTo>
                <a:cubicBezTo>
                  <a:pt x="299442" y="1437037"/>
                  <a:pt x="299442" y="1444562"/>
                  <a:pt x="299442" y="1451992"/>
                </a:cubicBezTo>
                <a:cubicBezTo>
                  <a:pt x="299442" y="1459421"/>
                  <a:pt x="299442" y="1466661"/>
                  <a:pt x="298680" y="1473423"/>
                </a:cubicBezTo>
                <a:cubicBezTo>
                  <a:pt x="298680" y="1476472"/>
                  <a:pt x="298680" y="1479234"/>
                  <a:pt x="298014" y="1481615"/>
                </a:cubicBezTo>
                <a:cubicBezTo>
                  <a:pt x="297347" y="1483996"/>
                  <a:pt x="297537" y="1485996"/>
                  <a:pt x="297250" y="1487710"/>
                </a:cubicBezTo>
                <a:cubicBezTo>
                  <a:pt x="296585" y="1491140"/>
                  <a:pt x="295727" y="1493236"/>
                  <a:pt x="294583" y="1493902"/>
                </a:cubicBezTo>
                <a:cubicBezTo>
                  <a:pt x="293442" y="1494569"/>
                  <a:pt x="290392" y="1490378"/>
                  <a:pt x="286868" y="1480091"/>
                </a:cubicBezTo>
                <a:cubicBezTo>
                  <a:pt x="285031" y="1473824"/>
                  <a:pt x="283535" y="1467471"/>
                  <a:pt x="282393" y="1461040"/>
                </a:cubicBezTo>
                <a:cubicBezTo>
                  <a:pt x="282393" y="1459232"/>
                  <a:pt x="281821" y="1457421"/>
                  <a:pt x="281630" y="1455612"/>
                </a:cubicBezTo>
                <a:lnTo>
                  <a:pt x="281059" y="1450088"/>
                </a:lnTo>
                <a:cubicBezTo>
                  <a:pt x="281059" y="1446467"/>
                  <a:pt x="280583" y="1442658"/>
                  <a:pt x="280392" y="1438847"/>
                </a:cubicBezTo>
                <a:cubicBezTo>
                  <a:pt x="280069" y="1431285"/>
                  <a:pt x="280326" y="1423702"/>
                  <a:pt x="281154" y="1416178"/>
                </a:cubicBezTo>
                <a:cubicBezTo>
                  <a:pt x="281154" y="1412558"/>
                  <a:pt x="281821" y="1408845"/>
                  <a:pt x="282393" y="1405319"/>
                </a:cubicBezTo>
                <a:cubicBezTo>
                  <a:pt x="282964" y="1401795"/>
                  <a:pt x="283726" y="1398461"/>
                  <a:pt x="284487" y="1395127"/>
                </a:cubicBezTo>
                <a:cubicBezTo>
                  <a:pt x="285516" y="1390413"/>
                  <a:pt x="286945" y="1385784"/>
                  <a:pt x="288774" y="1381316"/>
                </a:cubicBezTo>
                <a:cubicBezTo>
                  <a:pt x="290203" y="1378173"/>
                  <a:pt x="291632" y="1376363"/>
                  <a:pt x="292870" y="1375982"/>
                </a:cubicBezTo>
                <a:close/>
                <a:moveTo>
                  <a:pt x="6224367" y="1369509"/>
                </a:moveTo>
                <a:cubicBezTo>
                  <a:pt x="6233969" y="1369300"/>
                  <a:pt x="6243570" y="1370262"/>
                  <a:pt x="6252942" y="1372367"/>
                </a:cubicBezTo>
                <a:cubicBezTo>
                  <a:pt x="6268659" y="1375891"/>
                  <a:pt x="6268278" y="1380368"/>
                  <a:pt x="6252371" y="1383797"/>
                </a:cubicBezTo>
                <a:cubicBezTo>
                  <a:pt x="6247875" y="1384759"/>
                  <a:pt x="6243332" y="1385464"/>
                  <a:pt x="6238750" y="1385892"/>
                </a:cubicBezTo>
                <a:cubicBezTo>
                  <a:pt x="6236398" y="1385892"/>
                  <a:pt x="6234016" y="1386083"/>
                  <a:pt x="6231607" y="1386464"/>
                </a:cubicBezTo>
                <a:lnTo>
                  <a:pt x="6224272" y="1386464"/>
                </a:lnTo>
                <a:cubicBezTo>
                  <a:pt x="6214814" y="1386654"/>
                  <a:pt x="6205365" y="1385854"/>
                  <a:pt x="6196078" y="1384082"/>
                </a:cubicBezTo>
                <a:cubicBezTo>
                  <a:pt x="6180648" y="1380939"/>
                  <a:pt x="6180457" y="1376558"/>
                  <a:pt x="6196078" y="1372748"/>
                </a:cubicBezTo>
                <a:cubicBezTo>
                  <a:pt x="6198240" y="1372157"/>
                  <a:pt x="6200441" y="1371681"/>
                  <a:pt x="6202650" y="1371319"/>
                </a:cubicBezTo>
                <a:lnTo>
                  <a:pt x="6209699" y="1370366"/>
                </a:lnTo>
                <a:cubicBezTo>
                  <a:pt x="6214566" y="1369795"/>
                  <a:pt x="6219462" y="1369500"/>
                  <a:pt x="6224367" y="1369509"/>
                </a:cubicBezTo>
                <a:close/>
                <a:moveTo>
                  <a:pt x="5738020" y="1365134"/>
                </a:moveTo>
                <a:cubicBezTo>
                  <a:pt x="5745802" y="1364295"/>
                  <a:pt x="5753641" y="1365962"/>
                  <a:pt x="5760404" y="1369896"/>
                </a:cubicBezTo>
                <a:cubicBezTo>
                  <a:pt x="5762881" y="1372658"/>
                  <a:pt x="5760404" y="1376278"/>
                  <a:pt x="5752117" y="1380373"/>
                </a:cubicBezTo>
                <a:cubicBezTo>
                  <a:pt x="5741678" y="1385336"/>
                  <a:pt x="5730629" y="1388889"/>
                  <a:pt x="5719256" y="1390946"/>
                </a:cubicBezTo>
                <a:cubicBezTo>
                  <a:pt x="5706712" y="1393432"/>
                  <a:pt x="5693948" y="1394642"/>
                  <a:pt x="5681156" y="1394566"/>
                </a:cubicBezTo>
                <a:cubicBezTo>
                  <a:pt x="5669631" y="1394566"/>
                  <a:pt x="5662106" y="1392661"/>
                  <a:pt x="5660296" y="1390089"/>
                </a:cubicBezTo>
                <a:cubicBezTo>
                  <a:pt x="5658487" y="1387517"/>
                  <a:pt x="5660106" y="1383612"/>
                  <a:pt x="5668107" y="1379421"/>
                </a:cubicBezTo>
                <a:cubicBezTo>
                  <a:pt x="5678194" y="1374449"/>
                  <a:pt x="5688890" y="1370829"/>
                  <a:pt x="5699920" y="1368658"/>
                </a:cubicBezTo>
                <a:cubicBezTo>
                  <a:pt x="5706207" y="1367343"/>
                  <a:pt x="5712570" y="1366429"/>
                  <a:pt x="5718970" y="1365895"/>
                </a:cubicBezTo>
                <a:cubicBezTo>
                  <a:pt x="5725295" y="1365257"/>
                  <a:pt x="5731658" y="1365010"/>
                  <a:pt x="5738020" y="1365134"/>
                </a:cubicBezTo>
                <a:close/>
                <a:moveTo>
                  <a:pt x="5227195" y="1363423"/>
                </a:moveTo>
                <a:cubicBezTo>
                  <a:pt x="5231227" y="1363538"/>
                  <a:pt x="5235162" y="1364690"/>
                  <a:pt x="5238625" y="1366757"/>
                </a:cubicBezTo>
                <a:cubicBezTo>
                  <a:pt x="5243387" y="1370091"/>
                  <a:pt x="5242149" y="1375615"/>
                  <a:pt x="5233958" y="1382473"/>
                </a:cubicBezTo>
                <a:cubicBezTo>
                  <a:pt x="5229555" y="1386159"/>
                  <a:pt x="5224765" y="1389350"/>
                  <a:pt x="5219670" y="1391998"/>
                </a:cubicBezTo>
                <a:cubicBezTo>
                  <a:pt x="5213514" y="1395265"/>
                  <a:pt x="5207150" y="1398132"/>
                  <a:pt x="5200620" y="1400571"/>
                </a:cubicBezTo>
                <a:cubicBezTo>
                  <a:pt x="5193571" y="1403209"/>
                  <a:pt x="5186385" y="1405467"/>
                  <a:pt x="5179094" y="1407334"/>
                </a:cubicBezTo>
                <a:lnTo>
                  <a:pt x="5168045" y="1409715"/>
                </a:lnTo>
                <a:cubicBezTo>
                  <a:pt x="5164330" y="1410382"/>
                  <a:pt x="5160615" y="1411144"/>
                  <a:pt x="5156996" y="1411620"/>
                </a:cubicBezTo>
                <a:cubicBezTo>
                  <a:pt x="5126420" y="1416097"/>
                  <a:pt x="5112800" y="1409715"/>
                  <a:pt x="5126706" y="1395712"/>
                </a:cubicBezTo>
                <a:cubicBezTo>
                  <a:pt x="5136585" y="1387026"/>
                  <a:pt x="5148029" y="1380302"/>
                  <a:pt x="5160425" y="1375901"/>
                </a:cubicBezTo>
                <a:cubicBezTo>
                  <a:pt x="5175519" y="1369986"/>
                  <a:pt x="5191294" y="1365985"/>
                  <a:pt x="5207383" y="1363995"/>
                </a:cubicBezTo>
                <a:cubicBezTo>
                  <a:pt x="5213949" y="1363119"/>
                  <a:pt x="5220589" y="1362928"/>
                  <a:pt x="5227195" y="1363423"/>
                </a:cubicBezTo>
                <a:close/>
                <a:moveTo>
                  <a:pt x="704492" y="1356260"/>
                </a:moveTo>
                <a:lnTo>
                  <a:pt x="704157" y="1356456"/>
                </a:lnTo>
                <a:lnTo>
                  <a:pt x="704062" y="1356456"/>
                </a:lnTo>
                <a:close/>
                <a:moveTo>
                  <a:pt x="5567618" y="1356182"/>
                </a:moveTo>
                <a:cubicBezTo>
                  <a:pt x="5594193" y="1356182"/>
                  <a:pt x="5600289" y="1364563"/>
                  <a:pt x="5581525" y="1375231"/>
                </a:cubicBezTo>
                <a:cubicBezTo>
                  <a:pt x="5579334" y="1376374"/>
                  <a:pt x="5576858" y="1377517"/>
                  <a:pt x="5574286" y="1378660"/>
                </a:cubicBezTo>
                <a:lnTo>
                  <a:pt x="5570190" y="1380279"/>
                </a:lnTo>
                <a:lnTo>
                  <a:pt x="5565808" y="1381898"/>
                </a:lnTo>
                <a:cubicBezTo>
                  <a:pt x="5559560" y="1384100"/>
                  <a:pt x="5553197" y="1385976"/>
                  <a:pt x="5546758" y="1387518"/>
                </a:cubicBezTo>
                <a:cubicBezTo>
                  <a:pt x="5539996" y="1389138"/>
                  <a:pt x="5533138" y="1390376"/>
                  <a:pt x="5526375" y="1391328"/>
                </a:cubicBezTo>
                <a:cubicBezTo>
                  <a:pt x="5520069" y="1392282"/>
                  <a:pt x="5513707" y="1392853"/>
                  <a:pt x="5507325" y="1393043"/>
                </a:cubicBezTo>
                <a:cubicBezTo>
                  <a:pt x="5483036" y="1393138"/>
                  <a:pt x="5476178" y="1385614"/>
                  <a:pt x="5491990" y="1375707"/>
                </a:cubicBezTo>
                <a:cubicBezTo>
                  <a:pt x="5496724" y="1372773"/>
                  <a:pt x="5501734" y="1370317"/>
                  <a:pt x="5506944" y="1368373"/>
                </a:cubicBezTo>
                <a:cubicBezTo>
                  <a:pt x="5509801" y="1367230"/>
                  <a:pt x="5512945" y="1366183"/>
                  <a:pt x="5516469" y="1365135"/>
                </a:cubicBezTo>
                <a:cubicBezTo>
                  <a:pt x="5519993" y="1364087"/>
                  <a:pt x="5523041" y="1363039"/>
                  <a:pt x="5526470" y="1362183"/>
                </a:cubicBezTo>
                <a:cubicBezTo>
                  <a:pt x="5539929" y="1358715"/>
                  <a:pt x="5553731" y="1356706"/>
                  <a:pt x="5567618" y="1356182"/>
                </a:cubicBezTo>
                <a:close/>
                <a:moveTo>
                  <a:pt x="824424" y="1355152"/>
                </a:moveTo>
                <a:cubicBezTo>
                  <a:pt x="824757" y="1355247"/>
                  <a:pt x="825090" y="1355371"/>
                  <a:pt x="825414" y="1355504"/>
                </a:cubicBezTo>
                <a:cubicBezTo>
                  <a:pt x="829291" y="1356666"/>
                  <a:pt x="832958" y="1358428"/>
                  <a:pt x="836273" y="1360743"/>
                </a:cubicBezTo>
                <a:lnTo>
                  <a:pt x="837797" y="1361791"/>
                </a:lnTo>
                <a:lnTo>
                  <a:pt x="839416" y="1362838"/>
                </a:lnTo>
                <a:lnTo>
                  <a:pt x="842750" y="1365029"/>
                </a:lnTo>
                <a:cubicBezTo>
                  <a:pt x="845036" y="1366648"/>
                  <a:pt x="847227" y="1368363"/>
                  <a:pt x="849512" y="1370173"/>
                </a:cubicBezTo>
                <a:lnTo>
                  <a:pt x="851227" y="1371601"/>
                </a:lnTo>
                <a:lnTo>
                  <a:pt x="852941" y="1373030"/>
                </a:lnTo>
                <a:lnTo>
                  <a:pt x="856466" y="1375888"/>
                </a:lnTo>
                <a:cubicBezTo>
                  <a:pt x="858846" y="1377888"/>
                  <a:pt x="861038" y="1379888"/>
                  <a:pt x="863229" y="1381984"/>
                </a:cubicBezTo>
                <a:lnTo>
                  <a:pt x="866372" y="1385127"/>
                </a:lnTo>
                <a:lnTo>
                  <a:pt x="869420" y="1388175"/>
                </a:lnTo>
                <a:cubicBezTo>
                  <a:pt x="871334" y="1390089"/>
                  <a:pt x="873115" y="1392128"/>
                  <a:pt x="874754" y="1394271"/>
                </a:cubicBezTo>
                <a:cubicBezTo>
                  <a:pt x="880478" y="1400434"/>
                  <a:pt x="883669" y="1408530"/>
                  <a:pt x="883707" y="1416940"/>
                </a:cubicBezTo>
                <a:cubicBezTo>
                  <a:pt x="883393" y="1419731"/>
                  <a:pt x="881859" y="1422246"/>
                  <a:pt x="879516" y="1423798"/>
                </a:cubicBezTo>
                <a:cubicBezTo>
                  <a:pt x="878240" y="1424608"/>
                  <a:pt x="876811" y="1425151"/>
                  <a:pt x="875324" y="1425418"/>
                </a:cubicBezTo>
                <a:cubicBezTo>
                  <a:pt x="873525" y="1425703"/>
                  <a:pt x="871696" y="1425703"/>
                  <a:pt x="869896" y="1425418"/>
                </a:cubicBezTo>
                <a:cubicBezTo>
                  <a:pt x="867658" y="1425142"/>
                  <a:pt x="865456" y="1424627"/>
                  <a:pt x="863324" y="1423894"/>
                </a:cubicBezTo>
                <a:lnTo>
                  <a:pt x="859609" y="1422560"/>
                </a:lnTo>
                <a:lnTo>
                  <a:pt x="857704" y="1421703"/>
                </a:lnTo>
                <a:lnTo>
                  <a:pt x="855799" y="1420750"/>
                </a:lnTo>
                <a:cubicBezTo>
                  <a:pt x="853227" y="1419512"/>
                  <a:pt x="850560" y="1417988"/>
                  <a:pt x="847893" y="1416369"/>
                </a:cubicBezTo>
                <a:lnTo>
                  <a:pt x="843797" y="1413797"/>
                </a:lnTo>
                <a:lnTo>
                  <a:pt x="841702" y="1412368"/>
                </a:lnTo>
                <a:lnTo>
                  <a:pt x="839797" y="1410940"/>
                </a:lnTo>
                <a:cubicBezTo>
                  <a:pt x="837225" y="1408939"/>
                  <a:pt x="834654" y="1406844"/>
                  <a:pt x="832176" y="1404653"/>
                </a:cubicBezTo>
                <a:lnTo>
                  <a:pt x="828653" y="1401415"/>
                </a:lnTo>
                <a:cubicBezTo>
                  <a:pt x="827414" y="1400272"/>
                  <a:pt x="826462" y="1399129"/>
                  <a:pt x="825414" y="1397986"/>
                </a:cubicBezTo>
                <a:cubicBezTo>
                  <a:pt x="824366" y="1396843"/>
                  <a:pt x="821414" y="1393414"/>
                  <a:pt x="819699" y="1391128"/>
                </a:cubicBezTo>
                <a:cubicBezTo>
                  <a:pt x="818842" y="1390032"/>
                  <a:pt x="818051" y="1388889"/>
                  <a:pt x="817318" y="1387699"/>
                </a:cubicBezTo>
                <a:cubicBezTo>
                  <a:pt x="816585" y="1386660"/>
                  <a:pt x="815918" y="1385584"/>
                  <a:pt x="815318" y="1384460"/>
                </a:cubicBezTo>
                <a:cubicBezTo>
                  <a:pt x="811222" y="1377688"/>
                  <a:pt x="810022" y="1369554"/>
                  <a:pt x="811984" y="1361886"/>
                </a:cubicBezTo>
                <a:cubicBezTo>
                  <a:pt x="813556" y="1356590"/>
                  <a:pt x="819128" y="1353580"/>
                  <a:pt x="824424" y="1355152"/>
                </a:cubicBezTo>
                <a:close/>
                <a:moveTo>
                  <a:pt x="5387120" y="1354278"/>
                </a:moveTo>
                <a:cubicBezTo>
                  <a:pt x="5414647" y="1352373"/>
                  <a:pt x="5425220" y="1360945"/>
                  <a:pt x="5409599" y="1372280"/>
                </a:cubicBezTo>
                <a:cubicBezTo>
                  <a:pt x="5398845" y="1379148"/>
                  <a:pt x="5387124" y="1384376"/>
                  <a:pt x="5374832" y="1387805"/>
                </a:cubicBezTo>
                <a:cubicBezTo>
                  <a:pt x="5360839" y="1392540"/>
                  <a:pt x="5346371" y="1395739"/>
                  <a:pt x="5331684" y="1397331"/>
                </a:cubicBezTo>
                <a:cubicBezTo>
                  <a:pt x="5326108" y="1397855"/>
                  <a:pt x="5320496" y="1397855"/>
                  <a:pt x="5314920" y="1397331"/>
                </a:cubicBezTo>
                <a:cubicBezTo>
                  <a:pt x="5311359" y="1397074"/>
                  <a:pt x="5307904" y="1395997"/>
                  <a:pt x="5304824" y="1394188"/>
                </a:cubicBezTo>
                <a:cubicBezTo>
                  <a:pt x="5300728" y="1390663"/>
                  <a:pt x="5301299" y="1385900"/>
                  <a:pt x="5308253" y="1380186"/>
                </a:cubicBezTo>
                <a:cubicBezTo>
                  <a:pt x="5312649" y="1376852"/>
                  <a:pt x="5317372" y="1373985"/>
                  <a:pt x="5322350" y="1371613"/>
                </a:cubicBezTo>
                <a:cubicBezTo>
                  <a:pt x="5328885" y="1368604"/>
                  <a:pt x="5335596" y="1365994"/>
                  <a:pt x="5342447" y="1363803"/>
                </a:cubicBezTo>
                <a:cubicBezTo>
                  <a:pt x="5356890" y="1358802"/>
                  <a:pt x="5371894" y="1355602"/>
                  <a:pt x="5387120" y="1354278"/>
                </a:cubicBezTo>
                <a:close/>
                <a:moveTo>
                  <a:pt x="180948" y="1344931"/>
                </a:moveTo>
                <a:cubicBezTo>
                  <a:pt x="181996" y="1344931"/>
                  <a:pt x="182758" y="1346265"/>
                  <a:pt x="183425" y="1349408"/>
                </a:cubicBezTo>
                <a:cubicBezTo>
                  <a:pt x="183425" y="1350932"/>
                  <a:pt x="183425" y="1352837"/>
                  <a:pt x="184091" y="1355123"/>
                </a:cubicBezTo>
                <a:cubicBezTo>
                  <a:pt x="184758" y="1357409"/>
                  <a:pt x="184091" y="1357504"/>
                  <a:pt x="184091" y="1358933"/>
                </a:cubicBezTo>
                <a:cubicBezTo>
                  <a:pt x="184091" y="1360362"/>
                  <a:pt x="184091" y="1361695"/>
                  <a:pt x="184091" y="1363314"/>
                </a:cubicBezTo>
                <a:cubicBezTo>
                  <a:pt x="184853" y="1375792"/>
                  <a:pt x="184091" y="1390080"/>
                  <a:pt x="184091" y="1405129"/>
                </a:cubicBezTo>
                <a:cubicBezTo>
                  <a:pt x="184091" y="1420179"/>
                  <a:pt x="183043" y="1435609"/>
                  <a:pt x="181615" y="1449515"/>
                </a:cubicBezTo>
                <a:cubicBezTo>
                  <a:pt x="180186" y="1463422"/>
                  <a:pt x="179329" y="1470471"/>
                  <a:pt x="177328" y="1470852"/>
                </a:cubicBezTo>
                <a:cubicBezTo>
                  <a:pt x="175328" y="1471233"/>
                  <a:pt x="173137" y="1464375"/>
                  <a:pt x="170470" y="1451040"/>
                </a:cubicBezTo>
                <a:cubicBezTo>
                  <a:pt x="169423" y="1444563"/>
                  <a:pt x="168566" y="1437419"/>
                  <a:pt x="167994" y="1430085"/>
                </a:cubicBezTo>
                <a:cubicBezTo>
                  <a:pt x="167994" y="1428180"/>
                  <a:pt x="167994" y="1426370"/>
                  <a:pt x="167994" y="1424465"/>
                </a:cubicBezTo>
                <a:cubicBezTo>
                  <a:pt x="167994" y="1422560"/>
                  <a:pt x="167994" y="1422560"/>
                  <a:pt x="167994" y="1421607"/>
                </a:cubicBezTo>
                <a:lnTo>
                  <a:pt x="167994" y="1419226"/>
                </a:lnTo>
                <a:cubicBezTo>
                  <a:pt x="167994" y="1415511"/>
                  <a:pt x="167994" y="1411701"/>
                  <a:pt x="167994" y="1407891"/>
                </a:cubicBezTo>
                <a:cubicBezTo>
                  <a:pt x="167994" y="1404081"/>
                  <a:pt x="167994" y="1400271"/>
                  <a:pt x="168470" y="1396461"/>
                </a:cubicBezTo>
                <a:cubicBezTo>
                  <a:pt x="168470" y="1394652"/>
                  <a:pt x="168470" y="1392651"/>
                  <a:pt x="168470" y="1390842"/>
                </a:cubicBezTo>
                <a:cubicBezTo>
                  <a:pt x="168470" y="1389032"/>
                  <a:pt x="168946" y="1387222"/>
                  <a:pt x="169232" y="1385317"/>
                </a:cubicBezTo>
                <a:cubicBezTo>
                  <a:pt x="170185" y="1378078"/>
                  <a:pt x="171328" y="1371030"/>
                  <a:pt x="172756" y="1364457"/>
                </a:cubicBezTo>
                <a:cubicBezTo>
                  <a:pt x="173395" y="1361562"/>
                  <a:pt x="174185" y="1358695"/>
                  <a:pt x="175138" y="1355885"/>
                </a:cubicBezTo>
                <a:cubicBezTo>
                  <a:pt x="175747" y="1353837"/>
                  <a:pt x="176471" y="1351837"/>
                  <a:pt x="177328" y="1349884"/>
                </a:cubicBezTo>
                <a:cubicBezTo>
                  <a:pt x="178662" y="1346646"/>
                  <a:pt x="179900" y="1344931"/>
                  <a:pt x="180948" y="1344931"/>
                </a:cubicBezTo>
                <a:close/>
                <a:moveTo>
                  <a:pt x="4743515" y="1338946"/>
                </a:moveTo>
                <a:cubicBezTo>
                  <a:pt x="4749314" y="1338774"/>
                  <a:pt x="4755095" y="1339679"/>
                  <a:pt x="4760565" y="1341613"/>
                </a:cubicBezTo>
                <a:cubicBezTo>
                  <a:pt x="4766532" y="1342889"/>
                  <a:pt x="4770338" y="1348756"/>
                  <a:pt x="4769063" y="1354728"/>
                </a:cubicBezTo>
                <a:cubicBezTo>
                  <a:pt x="4768573" y="1357024"/>
                  <a:pt x="4767365" y="1359100"/>
                  <a:pt x="4765613" y="1360663"/>
                </a:cubicBezTo>
                <a:cubicBezTo>
                  <a:pt x="4761882" y="1365625"/>
                  <a:pt x="4757418" y="1369997"/>
                  <a:pt x="4752373" y="1373617"/>
                </a:cubicBezTo>
                <a:cubicBezTo>
                  <a:pt x="4749421" y="1375806"/>
                  <a:pt x="4746277" y="1377998"/>
                  <a:pt x="4742848" y="1380092"/>
                </a:cubicBezTo>
                <a:cubicBezTo>
                  <a:pt x="4739419" y="1382189"/>
                  <a:pt x="4735800" y="1384475"/>
                  <a:pt x="4732085" y="1386571"/>
                </a:cubicBezTo>
                <a:cubicBezTo>
                  <a:pt x="4716865" y="1395095"/>
                  <a:pt x="4700554" y="1401506"/>
                  <a:pt x="4683603" y="1405621"/>
                </a:cubicBezTo>
                <a:cubicBezTo>
                  <a:pt x="4651694" y="1413050"/>
                  <a:pt x="4629691" y="1405906"/>
                  <a:pt x="4637883" y="1389999"/>
                </a:cubicBezTo>
                <a:cubicBezTo>
                  <a:pt x="4645957" y="1378541"/>
                  <a:pt x="4656674" y="1369197"/>
                  <a:pt x="4669125" y="1362758"/>
                </a:cubicBezTo>
                <a:cubicBezTo>
                  <a:pt x="4684950" y="1353566"/>
                  <a:pt x="4701971" y="1346613"/>
                  <a:pt x="4719703" y="1342089"/>
                </a:cubicBezTo>
                <a:cubicBezTo>
                  <a:pt x="4723843" y="1341022"/>
                  <a:pt x="4728041" y="1340193"/>
                  <a:pt x="4732276" y="1339612"/>
                </a:cubicBezTo>
                <a:cubicBezTo>
                  <a:pt x="4736006" y="1339165"/>
                  <a:pt x="4739759" y="1338946"/>
                  <a:pt x="4743515" y="1338946"/>
                </a:cubicBezTo>
                <a:close/>
                <a:moveTo>
                  <a:pt x="727112" y="1338549"/>
                </a:moveTo>
                <a:lnTo>
                  <a:pt x="726350" y="1339311"/>
                </a:lnTo>
                <a:cubicBezTo>
                  <a:pt x="725397" y="1340264"/>
                  <a:pt x="724445" y="1341121"/>
                  <a:pt x="723683" y="1341978"/>
                </a:cubicBezTo>
                <a:lnTo>
                  <a:pt x="721397" y="1344169"/>
                </a:lnTo>
                <a:cubicBezTo>
                  <a:pt x="720806" y="1344817"/>
                  <a:pt x="720178" y="1345426"/>
                  <a:pt x="719492" y="1345978"/>
                </a:cubicBezTo>
                <a:lnTo>
                  <a:pt x="717968" y="1347407"/>
                </a:lnTo>
                <a:cubicBezTo>
                  <a:pt x="717415" y="1347960"/>
                  <a:pt x="716768" y="1348407"/>
                  <a:pt x="716063" y="1348741"/>
                </a:cubicBezTo>
                <a:lnTo>
                  <a:pt x="715587" y="1348741"/>
                </a:lnTo>
                <a:lnTo>
                  <a:pt x="713396" y="1350550"/>
                </a:lnTo>
                <a:lnTo>
                  <a:pt x="712253" y="1351408"/>
                </a:lnTo>
                <a:lnTo>
                  <a:pt x="711491" y="1351979"/>
                </a:lnTo>
                <a:cubicBezTo>
                  <a:pt x="710538" y="1352837"/>
                  <a:pt x="709396" y="1353599"/>
                  <a:pt x="708252" y="1354456"/>
                </a:cubicBezTo>
                <a:lnTo>
                  <a:pt x="706538" y="1355694"/>
                </a:lnTo>
                <a:lnTo>
                  <a:pt x="705585" y="1356361"/>
                </a:lnTo>
                <a:lnTo>
                  <a:pt x="703490" y="1357694"/>
                </a:lnTo>
                <a:lnTo>
                  <a:pt x="704157" y="1356646"/>
                </a:lnTo>
                <a:lnTo>
                  <a:pt x="705490" y="1355980"/>
                </a:lnTo>
                <a:lnTo>
                  <a:pt x="705109" y="1355980"/>
                </a:lnTo>
                <a:lnTo>
                  <a:pt x="704492" y="1356260"/>
                </a:lnTo>
                <a:lnTo>
                  <a:pt x="705300" y="1355789"/>
                </a:lnTo>
                <a:lnTo>
                  <a:pt x="707205" y="1354361"/>
                </a:lnTo>
                <a:lnTo>
                  <a:pt x="707681" y="1354361"/>
                </a:lnTo>
                <a:lnTo>
                  <a:pt x="708538" y="1353694"/>
                </a:lnTo>
                <a:lnTo>
                  <a:pt x="710253" y="1352456"/>
                </a:lnTo>
                <a:lnTo>
                  <a:pt x="711872" y="1351217"/>
                </a:lnTo>
                <a:lnTo>
                  <a:pt x="712634" y="1350646"/>
                </a:lnTo>
                <a:lnTo>
                  <a:pt x="713205" y="1350646"/>
                </a:lnTo>
                <a:lnTo>
                  <a:pt x="717587" y="1347121"/>
                </a:lnTo>
                <a:lnTo>
                  <a:pt x="721778" y="1343407"/>
                </a:lnTo>
                <a:lnTo>
                  <a:pt x="725588" y="1339978"/>
                </a:lnTo>
                <a:close/>
                <a:moveTo>
                  <a:pt x="6438394" y="1337692"/>
                </a:moveTo>
                <a:cubicBezTo>
                  <a:pt x="6443824" y="1337692"/>
                  <a:pt x="6449158" y="1338646"/>
                  <a:pt x="6453920" y="1339312"/>
                </a:cubicBezTo>
                <a:cubicBezTo>
                  <a:pt x="6458073" y="1339894"/>
                  <a:pt x="6462188" y="1340788"/>
                  <a:pt x="6466207" y="1341979"/>
                </a:cubicBezTo>
                <a:cubicBezTo>
                  <a:pt x="6477828" y="1345599"/>
                  <a:pt x="6477352" y="1351504"/>
                  <a:pt x="6465541" y="1353123"/>
                </a:cubicBezTo>
                <a:cubicBezTo>
                  <a:pt x="6456463" y="1354190"/>
                  <a:pt x="6447310" y="1354352"/>
                  <a:pt x="6438204" y="1353599"/>
                </a:cubicBezTo>
                <a:cubicBezTo>
                  <a:pt x="6428593" y="1353285"/>
                  <a:pt x="6419030" y="1352105"/>
                  <a:pt x="6409629" y="1350075"/>
                </a:cubicBezTo>
                <a:cubicBezTo>
                  <a:pt x="6396103" y="1346742"/>
                  <a:pt x="6396008" y="1340455"/>
                  <a:pt x="6409819" y="1338264"/>
                </a:cubicBezTo>
                <a:cubicBezTo>
                  <a:pt x="6419297" y="1337064"/>
                  <a:pt x="6428879" y="1336873"/>
                  <a:pt x="6438394" y="1337692"/>
                </a:cubicBezTo>
                <a:close/>
                <a:moveTo>
                  <a:pt x="2209218" y="1335318"/>
                </a:moveTo>
                <a:cubicBezTo>
                  <a:pt x="2218219" y="1335670"/>
                  <a:pt x="2227154" y="1336947"/>
                  <a:pt x="2235888" y="1339128"/>
                </a:cubicBezTo>
                <a:cubicBezTo>
                  <a:pt x="2250738" y="1342224"/>
                  <a:pt x="2264292" y="1349767"/>
                  <a:pt x="2274750" y="1360749"/>
                </a:cubicBezTo>
                <a:cubicBezTo>
                  <a:pt x="2290371" y="1379800"/>
                  <a:pt x="2274274" y="1397230"/>
                  <a:pt x="2235983" y="1403327"/>
                </a:cubicBezTo>
                <a:cubicBezTo>
                  <a:pt x="2218000" y="1406212"/>
                  <a:pt x="2199617" y="1405565"/>
                  <a:pt x="2181881" y="1401421"/>
                </a:cubicBezTo>
                <a:cubicBezTo>
                  <a:pt x="2167013" y="1398411"/>
                  <a:pt x="2153335" y="1391125"/>
                  <a:pt x="2142543" y="1380465"/>
                </a:cubicBezTo>
                <a:cubicBezTo>
                  <a:pt x="2125208" y="1361416"/>
                  <a:pt x="2140829" y="1342365"/>
                  <a:pt x="2180643" y="1336842"/>
                </a:cubicBezTo>
                <a:cubicBezTo>
                  <a:pt x="2190092" y="1335356"/>
                  <a:pt x="2199665" y="1334842"/>
                  <a:pt x="2209218" y="1335318"/>
                </a:cubicBezTo>
                <a:close/>
                <a:moveTo>
                  <a:pt x="6063205" y="1327793"/>
                </a:moveTo>
                <a:cubicBezTo>
                  <a:pt x="6066062" y="1327793"/>
                  <a:pt x="6068824" y="1327793"/>
                  <a:pt x="6071587" y="1327793"/>
                </a:cubicBezTo>
                <a:cubicBezTo>
                  <a:pt x="6074349" y="1327793"/>
                  <a:pt x="6076921" y="1329126"/>
                  <a:pt x="6079492" y="1329507"/>
                </a:cubicBezTo>
                <a:cubicBezTo>
                  <a:pt x="6099971" y="1332651"/>
                  <a:pt x="6101495" y="1339032"/>
                  <a:pt x="6083683" y="1344271"/>
                </a:cubicBezTo>
                <a:cubicBezTo>
                  <a:pt x="6078588" y="1345805"/>
                  <a:pt x="6073406" y="1347014"/>
                  <a:pt x="6068158" y="1347890"/>
                </a:cubicBezTo>
                <a:cubicBezTo>
                  <a:pt x="6062328" y="1348976"/>
                  <a:pt x="6056451" y="1349700"/>
                  <a:pt x="6050536" y="1350081"/>
                </a:cubicBezTo>
                <a:cubicBezTo>
                  <a:pt x="6044602" y="1350415"/>
                  <a:pt x="6038659" y="1350415"/>
                  <a:pt x="6032725" y="1350081"/>
                </a:cubicBezTo>
                <a:cubicBezTo>
                  <a:pt x="6027219" y="1350015"/>
                  <a:pt x="6021714" y="1349634"/>
                  <a:pt x="6016246" y="1348938"/>
                </a:cubicBezTo>
                <a:cubicBezTo>
                  <a:pt x="5997196" y="1346176"/>
                  <a:pt x="5996244" y="1340271"/>
                  <a:pt x="6014056" y="1334270"/>
                </a:cubicBezTo>
                <a:cubicBezTo>
                  <a:pt x="6024390" y="1331041"/>
                  <a:pt x="6035068" y="1329022"/>
                  <a:pt x="6045869" y="1328269"/>
                </a:cubicBezTo>
                <a:cubicBezTo>
                  <a:pt x="6051679" y="1328269"/>
                  <a:pt x="6057490" y="1327698"/>
                  <a:pt x="6063205" y="1327793"/>
                </a:cubicBezTo>
                <a:close/>
                <a:moveTo>
                  <a:pt x="6669947" y="1326738"/>
                </a:moveTo>
                <a:cubicBezTo>
                  <a:pt x="6671881" y="1326643"/>
                  <a:pt x="6673824" y="1326643"/>
                  <a:pt x="6675757" y="1326738"/>
                </a:cubicBezTo>
                <a:lnTo>
                  <a:pt x="6682234" y="1326738"/>
                </a:lnTo>
                <a:cubicBezTo>
                  <a:pt x="6686711" y="1326738"/>
                  <a:pt x="6691188" y="1327786"/>
                  <a:pt x="6695665" y="1328548"/>
                </a:cubicBezTo>
                <a:cubicBezTo>
                  <a:pt x="6700141" y="1329310"/>
                  <a:pt x="6704332" y="1330453"/>
                  <a:pt x="6707952" y="1331501"/>
                </a:cubicBezTo>
                <a:cubicBezTo>
                  <a:pt x="6709733" y="1331987"/>
                  <a:pt x="6711486" y="1332596"/>
                  <a:pt x="6713191" y="1333311"/>
                </a:cubicBezTo>
                <a:cubicBezTo>
                  <a:pt x="6714734" y="1333892"/>
                  <a:pt x="6716229" y="1334597"/>
                  <a:pt x="6717667" y="1335406"/>
                </a:cubicBezTo>
                <a:cubicBezTo>
                  <a:pt x="6722239" y="1337883"/>
                  <a:pt x="6723573" y="1340169"/>
                  <a:pt x="6722144" y="1341693"/>
                </a:cubicBezTo>
                <a:cubicBezTo>
                  <a:pt x="6718296" y="1343741"/>
                  <a:pt x="6713886" y="1344512"/>
                  <a:pt x="6709571" y="1343883"/>
                </a:cubicBezTo>
                <a:lnTo>
                  <a:pt x="6704428" y="1343883"/>
                </a:lnTo>
                <a:lnTo>
                  <a:pt x="6698998" y="1343883"/>
                </a:lnTo>
                <a:lnTo>
                  <a:pt x="6693283" y="1343121"/>
                </a:lnTo>
                <a:lnTo>
                  <a:pt x="6690426" y="1343121"/>
                </a:lnTo>
                <a:lnTo>
                  <a:pt x="6687473" y="1342550"/>
                </a:lnTo>
                <a:cubicBezTo>
                  <a:pt x="6685473" y="1342550"/>
                  <a:pt x="6683568" y="1341788"/>
                  <a:pt x="6681663" y="1341407"/>
                </a:cubicBezTo>
                <a:cubicBezTo>
                  <a:pt x="6679758" y="1341026"/>
                  <a:pt x="6677853" y="1340550"/>
                  <a:pt x="6676043" y="1339978"/>
                </a:cubicBezTo>
                <a:lnTo>
                  <a:pt x="6670995" y="1338454"/>
                </a:lnTo>
                <a:cubicBezTo>
                  <a:pt x="6669452" y="1337787"/>
                  <a:pt x="6667966" y="1337025"/>
                  <a:pt x="6666518" y="1336168"/>
                </a:cubicBezTo>
                <a:cubicBezTo>
                  <a:pt x="6661089" y="1333882"/>
                  <a:pt x="6658612" y="1331691"/>
                  <a:pt x="6659279" y="1329977"/>
                </a:cubicBezTo>
                <a:cubicBezTo>
                  <a:pt x="6659946" y="1328262"/>
                  <a:pt x="6663470" y="1327024"/>
                  <a:pt x="6669947" y="1326738"/>
                </a:cubicBezTo>
                <a:close/>
                <a:moveTo>
                  <a:pt x="4386828" y="1324884"/>
                </a:moveTo>
                <a:cubicBezTo>
                  <a:pt x="4396948" y="1327800"/>
                  <a:pt x="4401092" y="1334658"/>
                  <a:pt x="4397472" y="1344850"/>
                </a:cubicBezTo>
                <a:cubicBezTo>
                  <a:pt x="4390233" y="1365233"/>
                  <a:pt x="4356229" y="1386474"/>
                  <a:pt x="4316510" y="1397809"/>
                </a:cubicBezTo>
                <a:cubicBezTo>
                  <a:pt x="4277172" y="1409048"/>
                  <a:pt x="4252026" y="1403715"/>
                  <a:pt x="4256598" y="1384760"/>
                </a:cubicBezTo>
                <a:cubicBezTo>
                  <a:pt x="4261170" y="1365806"/>
                  <a:pt x="4296984" y="1340563"/>
                  <a:pt x="4340322" y="1328563"/>
                </a:cubicBezTo>
                <a:cubicBezTo>
                  <a:pt x="4360611" y="1322991"/>
                  <a:pt x="4376708" y="1321967"/>
                  <a:pt x="4386828" y="1324884"/>
                </a:cubicBezTo>
                <a:close/>
                <a:moveTo>
                  <a:pt x="3909268" y="1322464"/>
                </a:moveTo>
                <a:cubicBezTo>
                  <a:pt x="3922603" y="1325488"/>
                  <a:pt x="3930842" y="1332180"/>
                  <a:pt x="3930747" y="1341514"/>
                </a:cubicBezTo>
                <a:cubicBezTo>
                  <a:pt x="3930556" y="1360183"/>
                  <a:pt x="3893599" y="1387996"/>
                  <a:pt x="3855499" y="1398188"/>
                </a:cubicBezTo>
                <a:cubicBezTo>
                  <a:pt x="3817399" y="1408380"/>
                  <a:pt x="3783109" y="1401427"/>
                  <a:pt x="3781585" y="1383710"/>
                </a:cubicBezTo>
                <a:cubicBezTo>
                  <a:pt x="3779871" y="1364660"/>
                  <a:pt x="3816637" y="1336085"/>
                  <a:pt x="3857214" y="1325417"/>
                </a:cubicBezTo>
                <a:cubicBezTo>
                  <a:pt x="3877502" y="1320083"/>
                  <a:pt x="3895933" y="1319440"/>
                  <a:pt x="3909268" y="1322464"/>
                </a:cubicBezTo>
                <a:close/>
                <a:moveTo>
                  <a:pt x="3333194" y="1311033"/>
                </a:moveTo>
                <a:cubicBezTo>
                  <a:pt x="3348513" y="1314415"/>
                  <a:pt x="3359799" y="1321178"/>
                  <a:pt x="3362991" y="1330274"/>
                </a:cubicBezTo>
                <a:cubicBezTo>
                  <a:pt x="3369372" y="1348467"/>
                  <a:pt x="3341182" y="1375041"/>
                  <a:pt x="3302132" y="1384757"/>
                </a:cubicBezTo>
                <a:cubicBezTo>
                  <a:pt x="3263368" y="1394282"/>
                  <a:pt x="3222313" y="1386471"/>
                  <a:pt x="3215647" y="1367517"/>
                </a:cubicBezTo>
                <a:cubicBezTo>
                  <a:pt x="3208978" y="1348562"/>
                  <a:pt x="3238983" y="1321320"/>
                  <a:pt x="3279177" y="1312081"/>
                </a:cubicBezTo>
                <a:cubicBezTo>
                  <a:pt x="3298512" y="1307652"/>
                  <a:pt x="3317870" y="1307652"/>
                  <a:pt x="3333194" y="1311033"/>
                </a:cubicBezTo>
                <a:close/>
                <a:moveTo>
                  <a:pt x="4922205" y="1310750"/>
                </a:moveTo>
                <a:cubicBezTo>
                  <a:pt x="4959638" y="1303797"/>
                  <a:pt x="4975640" y="1312179"/>
                  <a:pt x="4960305" y="1329800"/>
                </a:cubicBezTo>
                <a:cubicBezTo>
                  <a:pt x="4950900" y="1339726"/>
                  <a:pt x="4939552" y="1347602"/>
                  <a:pt x="4926967" y="1352946"/>
                </a:cubicBezTo>
                <a:cubicBezTo>
                  <a:pt x="4911691" y="1360308"/>
                  <a:pt x="4895522" y="1365661"/>
                  <a:pt x="4878866" y="1368852"/>
                </a:cubicBezTo>
                <a:cubicBezTo>
                  <a:pt x="4874675" y="1369710"/>
                  <a:pt x="4870770" y="1370281"/>
                  <a:pt x="4867150" y="1370662"/>
                </a:cubicBezTo>
                <a:cubicBezTo>
                  <a:pt x="4863832" y="1371081"/>
                  <a:pt x="4860493" y="1371338"/>
                  <a:pt x="4857149" y="1371424"/>
                </a:cubicBezTo>
                <a:cubicBezTo>
                  <a:pt x="4852296" y="1371643"/>
                  <a:pt x="4847447" y="1370929"/>
                  <a:pt x="4842862" y="1369329"/>
                </a:cubicBezTo>
                <a:cubicBezTo>
                  <a:pt x="4836575" y="1366566"/>
                  <a:pt x="4835051" y="1360756"/>
                  <a:pt x="4840671" y="1352565"/>
                </a:cubicBezTo>
                <a:cubicBezTo>
                  <a:pt x="4852196" y="1335324"/>
                  <a:pt x="4886486" y="1317798"/>
                  <a:pt x="4922205" y="1310750"/>
                </a:cubicBezTo>
                <a:close/>
                <a:moveTo>
                  <a:pt x="5882706" y="1300076"/>
                </a:moveTo>
                <a:cubicBezTo>
                  <a:pt x="5888602" y="1299685"/>
                  <a:pt x="5894526" y="1299685"/>
                  <a:pt x="5900422" y="1300076"/>
                </a:cubicBezTo>
                <a:cubicBezTo>
                  <a:pt x="5922616" y="1302076"/>
                  <a:pt x="5925092" y="1311030"/>
                  <a:pt x="5905947" y="1318173"/>
                </a:cubicBezTo>
                <a:cubicBezTo>
                  <a:pt x="5900708" y="1319993"/>
                  <a:pt x="5895365" y="1321488"/>
                  <a:pt x="5889945" y="1322650"/>
                </a:cubicBezTo>
                <a:cubicBezTo>
                  <a:pt x="5883944" y="1323984"/>
                  <a:pt x="5877467" y="1325031"/>
                  <a:pt x="5870895" y="1326079"/>
                </a:cubicBezTo>
                <a:cubicBezTo>
                  <a:pt x="5858779" y="1328070"/>
                  <a:pt x="5846492" y="1328803"/>
                  <a:pt x="5834224" y="1328270"/>
                </a:cubicBezTo>
                <a:cubicBezTo>
                  <a:pt x="5812792" y="1326936"/>
                  <a:pt x="5809173" y="1318745"/>
                  <a:pt x="5827270" y="1310744"/>
                </a:cubicBezTo>
                <a:cubicBezTo>
                  <a:pt x="5838672" y="1306496"/>
                  <a:pt x="5850530" y="1303581"/>
                  <a:pt x="5862608" y="1302076"/>
                </a:cubicBezTo>
                <a:cubicBezTo>
                  <a:pt x="5869371" y="1301124"/>
                  <a:pt x="5876229" y="1300362"/>
                  <a:pt x="5882706" y="1300076"/>
                </a:cubicBezTo>
                <a:close/>
                <a:moveTo>
                  <a:pt x="88939" y="1297783"/>
                </a:moveTo>
                <a:cubicBezTo>
                  <a:pt x="90749" y="1297306"/>
                  <a:pt x="91702" y="1301974"/>
                  <a:pt x="91511" y="1311784"/>
                </a:cubicBezTo>
                <a:cubicBezTo>
                  <a:pt x="91511" y="1316738"/>
                  <a:pt x="91511" y="1322643"/>
                  <a:pt x="90559" y="1329120"/>
                </a:cubicBezTo>
                <a:lnTo>
                  <a:pt x="90559" y="1331597"/>
                </a:lnTo>
                <a:lnTo>
                  <a:pt x="90559" y="1334073"/>
                </a:lnTo>
                <a:cubicBezTo>
                  <a:pt x="90559" y="1335788"/>
                  <a:pt x="90559" y="1337598"/>
                  <a:pt x="90559" y="1339312"/>
                </a:cubicBezTo>
                <a:lnTo>
                  <a:pt x="89701" y="1350075"/>
                </a:lnTo>
                <a:lnTo>
                  <a:pt x="88558" y="1361028"/>
                </a:lnTo>
                <a:cubicBezTo>
                  <a:pt x="88558" y="1362838"/>
                  <a:pt x="88082" y="1364648"/>
                  <a:pt x="87987" y="1366457"/>
                </a:cubicBezTo>
                <a:lnTo>
                  <a:pt x="87511" y="1371982"/>
                </a:lnTo>
                <a:cubicBezTo>
                  <a:pt x="86844" y="1379221"/>
                  <a:pt x="86082" y="1386174"/>
                  <a:pt x="85225" y="1392365"/>
                </a:cubicBezTo>
                <a:cubicBezTo>
                  <a:pt x="85225" y="1394080"/>
                  <a:pt x="85225" y="1395699"/>
                  <a:pt x="84462" y="1397223"/>
                </a:cubicBezTo>
                <a:lnTo>
                  <a:pt x="84462" y="1399414"/>
                </a:lnTo>
                <a:lnTo>
                  <a:pt x="84462" y="1401509"/>
                </a:lnTo>
                <a:cubicBezTo>
                  <a:pt x="84462" y="1404176"/>
                  <a:pt x="83605" y="1406462"/>
                  <a:pt x="83224" y="1408272"/>
                </a:cubicBezTo>
                <a:cubicBezTo>
                  <a:pt x="82367" y="1411987"/>
                  <a:pt x="81414" y="1414082"/>
                  <a:pt x="80462" y="1414463"/>
                </a:cubicBezTo>
                <a:cubicBezTo>
                  <a:pt x="79510" y="1414844"/>
                  <a:pt x="78652" y="1413416"/>
                  <a:pt x="77795" y="1410272"/>
                </a:cubicBezTo>
                <a:cubicBezTo>
                  <a:pt x="77795" y="1408748"/>
                  <a:pt x="76938" y="1406748"/>
                  <a:pt x="76557" y="1404367"/>
                </a:cubicBezTo>
                <a:cubicBezTo>
                  <a:pt x="76176" y="1401986"/>
                  <a:pt x="76557" y="1401795"/>
                  <a:pt x="76080" y="1400366"/>
                </a:cubicBezTo>
                <a:cubicBezTo>
                  <a:pt x="75604" y="1398938"/>
                  <a:pt x="76080" y="1397414"/>
                  <a:pt x="76080" y="1395794"/>
                </a:cubicBezTo>
                <a:cubicBezTo>
                  <a:pt x="76080" y="1390079"/>
                  <a:pt x="76080" y="1383412"/>
                  <a:pt x="76080" y="1376744"/>
                </a:cubicBezTo>
                <a:cubicBezTo>
                  <a:pt x="76080" y="1373125"/>
                  <a:pt x="76080" y="1369410"/>
                  <a:pt x="76080" y="1365695"/>
                </a:cubicBezTo>
                <a:cubicBezTo>
                  <a:pt x="76080" y="1361981"/>
                  <a:pt x="76652" y="1358361"/>
                  <a:pt x="76938" y="1354742"/>
                </a:cubicBezTo>
                <a:cubicBezTo>
                  <a:pt x="77700" y="1347313"/>
                  <a:pt x="78652" y="1339978"/>
                  <a:pt x="79700" y="1333121"/>
                </a:cubicBezTo>
                <a:cubicBezTo>
                  <a:pt x="80748" y="1326263"/>
                  <a:pt x="80462" y="1319786"/>
                  <a:pt x="81795" y="1314451"/>
                </a:cubicBezTo>
                <a:cubicBezTo>
                  <a:pt x="84558" y="1303784"/>
                  <a:pt x="87129" y="1298259"/>
                  <a:pt x="88939" y="1297783"/>
                </a:cubicBezTo>
                <a:close/>
                <a:moveTo>
                  <a:pt x="5135089" y="1283984"/>
                </a:moveTo>
                <a:cubicBezTo>
                  <a:pt x="5146244" y="1281346"/>
                  <a:pt x="5157960" y="1282451"/>
                  <a:pt x="5168426" y="1287127"/>
                </a:cubicBezTo>
                <a:cubicBezTo>
                  <a:pt x="5173855" y="1290937"/>
                  <a:pt x="5173379" y="1296652"/>
                  <a:pt x="5165569" y="1304463"/>
                </a:cubicBezTo>
                <a:cubicBezTo>
                  <a:pt x="5163475" y="1306491"/>
                  <a:pt x="5161213" y="1308340"/>
                  <a:pt x="5158806" y="1309987"/>
                </a:cubicBezTo>
                <a:cubicBezTo>
                  <a:pt x="5156079" y="1311950"/>
                  <a:pt x="5153250" y="1313758"/>
                  <a:pt x="5150329" y="1315416"/>
                </a:cubicBezTo>
                <a:cubicBezTo>
                  <a:pt x="5143583" y="1319283"/>
                  <a:pt x="5136581" y="1322693"/>
                  <a:pt x="5129374" y="1325608"/>
                </a:cubicBezTo>
                <a:cubicBezTo>
                  <a:pt x="5121600" y="1328789"/>
                  <a:pt x="5113649" y="1331532"/>
                  <a:pt x="5105561" y="1333800"/>
                </a:cubicBezTo>
                <a:lnTo>
                  <a:pt x="5099465" y="1335323"/>
                </a:lnTo>
                <a:lnTo>
                  <a:pt x="5093369" y="1336847"/>
                </a:lnTo>
                <a:cubicBezTo>
                  <a:pt x="5089369" y="1337704"/>
                  <a:pt x="5085463" y="1338466"/>
                  <a:pt x="5081558" y="1339039"/>
                </a:cubicBezTo>
                <a:cubicBezTo>
                  <a:pt x="5050888" y="1343610"/>
                  <a:pt x="5036600" y="1335228"/>
                  <a:pt x="5049649" y="1320274"/>
                </a:cubicBezTo>
                <a:cubicBezTo>
                  <a:pt x="5060033" y="1310645"/>
                  <a:pt x="5072155" y="1303081"/>
                  <a:pt x="5085368" y="1297985"/>
                </a:cubicBezTo>
                <a:cubicBezTo>
                  <a:pt x="5093364" y="1294489"/>
                  <a:pt x="5101611" y="1291594"/>
                  <a:pt x="5110038" y="1289317"/>
                </a:cubicBezTo>
                <a:cubicBezTo>
                  <a:pt x="5118259" y="1286984"/>
                  <a:pt x="5126628" y="1285193"/>
                  <a:pt x="5135089" y="1283984"/>
                </a:cubicBezTo>
                <a:close/>
                <a:moveTo>
                  <a:pt x="6256181" y="1280546"/>
                </a:moveTo>
                <a:cubicBezTo>
                  <a:pt x="6267173" y="1280260"/>
                  <a:pt x="6278165" y="1281222"/>
                  <a:pt x="6288947" y="1283404"/>
                </a:cubicBezTo>
                <a:cubicBezTo>
                  <a:pt x="6309235" y="1287880"/>
                  <a:pt x="6309140" y="1293500"/>
                  <a:pt x="6288947" y="1297786"/>
                </a:cubicBezTo>
                <a:cubicBezTo>
                  <a:pt x="6286661" y="1298263"/>
                  <a:pt x="6284280" y="1298739"/>
                  <a:pt x="6281898" y="1299025"/>
                </a:cubicBezTo>
                <a:cubicBezTo>
                  <a:pt x="6279517" y="1299310"/>
                  <a:pt x="6277041" y="1299787"/>
                  <a:pt x="6274564" y="1300072"/>
                </a:cubicBezTo>
                <a:cubicBezTo>
                  <a:pt x="6269516" y="1300644"/>
                  <a:pt x="6264372" y="1300930"/>
                  <a:pt x="6259229" y="1301025"/>
                </a:cubicBezTo>
                <a:cubicBezTo>
                  <a:pt x="6249151" y="1301215"/>
                  <a:pt x="6239083" y="1300510"/>
                  <a:pt x="6229130" y="1298929"/>
                </a:cubicBezTo>
                <a:cubicBezTo>
                  <a:pt x="6225044" y="1298282"/>
                  <a:pt x="6221024" y="1297263"/>
                  <a:pt x="6217128" y="1295881"/>
                </a:cubicBezTo>
                <a:cubicBezTo>
                  <a:pt x="6214366" y="1294738"/>
                  <a:pt x="6212652" y="1293595"/>
                  <a:pt x="6212271" y="1292357"/>
                </a:cubicBezTo>
                <a:cubicBezTo>
                  <a:pt x="6211890" y="1291119"/>
                  <a:pt x="6212271" y="1289881"/>
                  <a:pt x="6214652" y="1288547"/>
                </a:cubicBezTo>
                <a:cubicBezTo>
                  <a:pt x="6217728" y="1286842"/>
                  <a:pt x="6221034" y="1285585"/>
                  <a:pt x="6224463" y="1284832"/>
                </a:cubicBezTo>
                <a:cubicBezTo>
                  <a:pt x="6234835" y="1282203"/>
                  <a:pt x="6245484" y="1280765"/>
                  <a:pt x="6256181" y="1280546"/>
                </a:cubicBezTo>
                <a:close/>
                <a:moveTo>
                  <a:pt x="2597579" y="1279812"/>
                </a:moveTo>
                <a:cubicBezTo>
                  <a:pt x="2616820" y="1283455"/>
                  <a:pt x="2633369" y="1290742"/>
                  <a:pt x="2640513" y="1300552"/>
                </a:cubicBezTo>
                <a:cubicBezTo>
                  <a:pt x="2646867" y="1309382"/>
                  <a:pt x="2645809" y="1321526"/>
                  <a:pt x="2638036" y="1329127"/>
                </a:cubicBezTo>
                <a:cubicBezTo>
                  <a:pt x="2627921" y="1340062"/>
                  <a:pt x="2614567" y="1347473"/>
                  <a:pt x="2599936" y="1350273"/>
                </a:cubicBezTo>
                <a:cubicBezTo>
                  <a:pt x="2581934" y="1354083"/>
                  <a:pt x="2563341" y="1354283"/>
                  <a:pt x="2545263" y="1350844"/>
                </a:cubicBezTo>
                <a:cubicBezTo>
                  <a:pt x="2529956" y="1348825"/>
                  <a:pt x="2515564" y="1342405"/>
                  <a:pt x="2503829" y="1332366"/>
                </a:cubicBezTo>
                <a:cubicBezTo>
                  <a:pt x="2496171" y="1324622"/>
                  <a:pt x="2495437" y="1312401"/>
                  <a:pt x="2502115" y="1303791"/>
                </a:cubicBezTo>
                <a:cubicBezTo>
                  <a:pt x="2511154" y="1292104"/>
                  <a:pt x="2524050" y="1283998"/>
                  <a:pt x="2538500" y="1280931"/>
                </a:cubicBezTo>
                <a:cubicBezTo>
                  <a:pt x="2556407" y="1276168"/>
                  <a:pt x="2578338" y="1276168"/>
                  <a:pt x="2597579" y="1279812"/>
                </a:cubicBezTo>
                <a:close/>
                <a:moveTo>
                  <a:pt x="5708493" y="1279314"/>
                </a:moveTo>
                <a:cubicBezTo>
                  <a:pt x="5711922" y="1279219"/>
                  <a:pt x="5715351" y="1279409"/>
                  <a:pt x="5718685" y="1279504"/>
                </a:cubicBezTo>
                <a:cubicBezTo>
                  <a:pt x="5745164" y="1280457"/>
                  <a:pt x="5749832" y="1288077"/>
                  <a:pt x="5730782" y="1297983"/>
                </a:cubicBezTo>
                <a:cubicBezTo>
                  <a:pt x="5719047" y="1303650"/>
                  <a:pt x="5706626" y="1307746"/>
                  <a:pt x="5693825" y="1310175"/>
                </a:cubicBezTo>
                <a:cubicBezTo>
                  <a:pt x="5686805" y="1311632"/>
                  <a:pt x="5679718" y="1312718"/>
                  <a:pt x="5672584" y="1313413"/>
                </a:cubicBezTo>
                <a:cubicBezTo>
                  <a:pt x="5669060" y="1313413"/>
                  <a:pt x="5665535" y="1313985"/>
                  <a:pt x="5662106" y="1314080"/>
                </a:cubicBezTo>
                <a:cubicBezTo>
                  <a:pt x="5658677" y="1314175"/>
                  <a:pt x="5655248" y="1314080"/>
                  <a:pt x="5652010" y="1314080"/>
                </a:cubicBezTo>
                <a:cubicBezTo>
                  <a:pt x="5627435" y="1313509"/>
                  <a:pt x="5622864" y="1305984"/>
                  <a:pt x="5641437" y="1295792"/>
                </a:cubicBezTo>
                <a:cubicBezTo>
                  <a:pt x="5652667" y="1289896"/>
                  <a:pt x="5664697" y="1285686"/>
                  <a:pt x="5677156" y="1283314"/>
                </a:cubicBezTo>
                <a:cubicBezTo>
                  <a:pt x="5684081" y="1281848"/>
                  <a:pt x="5691072" y="1280771"/>
                  <a:pt x="5698111" y="1280076"/>
                </a:cubicBezTo>
                <a:cubicBezTo>
                  <a:pt x="5701540" y="1280076"/>
                  <a:pt x="5705064" y="1279409"/>
                  <a:pt x="5708493" y="1279314"/>
                </a:cubicBezTo>
                <a:close/>
                <a:moveTo>
                  <a:pt x="5328732" y="1274647"/>
                </a:moveTo>
                <a:cubicBezTo>
                  <a:pt x="5362165" y="1271789"/>
                  <a:pt x="5372261" y="1280173"/>
                  <a:pt x="5353783" y="1294651"/>
                </a:cubicBezTo>
                <a:cubicBezTo>
                  <a:pt x="5342627" y="1302662"/>
                  <a:pt x="5330242" y="1308806"/>
                  <a:pt x="5317111" y="1312844"/>
                </a:cubicBezTo>
                <a:cubicBezTo>
                  <a:pt x="5302143" y="1317949"/>
                  <a:pt x="5286590" y="1321149"/>
                  <a:pt x="5270820" y="1322369"/>
                </a:cubicBezTo>
                <a:lnTo>
                  <a:pt x="5265581" y="1322369"/>
                </a:lnTo>
                <a:lnTo>
                  <a:pt x="5260819" y="1322369"/>
                </a:lnTo>
                <a:cubicBezTo>
                  <a:pt x="5258156" y="1322579"/>
                  <a:pt x="5255481" y="1322579"/>
                  <a:pt x="5252818" y="1322369"/>
                </a:cubicBezTo>
                <a:cubicBezTo>
                  <a:pt x="5249186" y="1322254"/>
                  <a:pt x="5245658" y="1321130"/>
                  <a:pt x="5242626" y="1319131"/>
                </a:cubicBezTo>
                <a:cubicBezTo>
                  <a:pt x="5238530" y="1316082"/>
                  <a:pt x="5240054" y="1310653"/>
                  <a:pt x="5247960" y="1303700"/>
                </a:cubicBezTo>
                <a:cubicBezTo>
                  <a:pt x="5252577" y="1299794"/>
                  <a:pt x="5257589" y="1296375"/>
                  <a:pt x="5262914" y="1293508"/>
                </a:cubicBezTo>
                <a:cubicBezTo>
                  <a:pt x="5269250" y="1290203"/>
                  <a:pt x="5275806" y="1287336"/>
                  <a:pt x="5282536" y="1284935"/>
                </a:cubicBezTo>
                <a:cubicBezTo>
                  <a:pt x="5289912" y="1282259"/>
                  <a:pt x="5297452" y="1280069"/>
                  <a:pt x="5305110" y="1278364"/>
                </a:cubicBezTo>
                <a:cubicBezTo>
                  <a:pt x="5309015" y="1277409"/>
                  <a:pt x="5312921" y="1276647"/>
                  <a:pt x="5316921" y="1275980"/>
                </a:cubicBezTo>
                <a:cubicBezTo>
                  <a:pt x="5320921" y="1275314"/>
                  <a:pt x="5324827" y="1274933"/>
                  <a:pt x="5328732" y="1274647"/>
                </a:cubicBezTo>
                <a:close/>
                <a:moveTo>
                  <a:pt x="5526376" y="1271122"/>
                </a:moveTo>
                <a:cubicBezTo>
                  <a:pt x="5554379" y="1270360"/>
                  <a:pt x="5562952" y="1279600"/>
                  <a:pt x="5545426" y="1290936"/>
                </a:cubicBezTo>
                <a:cubicBezTo>
                  <a:pt x="5520451" y="1304223"/>
                  <a:pt x="5492895" y="1311958"/>
                  <a:pt x="5464654" y="1313606"/>
                </a:cubicBezTo>
                <a:cubicBezTo>
                  <a:pt x="5437984" y="1315034"/>
                  <a:pt x="5428363" y="1306652"/>
                  <a:pt x="5444175" y="1295032"/>
                </a:cubicBezTo>
                <a:cubicBezTo>
                  <a:pt x="5449118" y="1291660"/>
                  <a:pt x="5454386" y="1288793"/>
                  <a:pt x="5459891" y="1286459"/>
                </a:cubicBezTo>
                <a:cubicBezTo>
                  <a:pt x="5463063" y="1285002"/>
                  <a:pt x="5466244" y="1283668"/>
                  <a:pt x="5469416" y="1282459"/>
                </a:cubicBezTo>
                <a:cubicBezTo>
                  <a:pt x="5472940" y="1281220"/>
                  <a:pt x="5476560" y="1280077"/>
                  <a:pt x="5480370" y="1278935"/>
                </a:cubicBezTo>
                <a:cubicBezTo>
                  <a:pt x="5487895" y="1276837"/>
                  <a:pt x="5495800" y="1274932"/>
                  <a:pt x="5503516" y="1273599"/>
                </a:cubicBezTo>
                <a:cubicBezTo>
                  <a:pt x="5511059" y="1272189"/>
                  <a:pt x="5518699" y="1271360"/>
                  <a:pt x="5526376" y="1271122"/>
                </a:cubicBezTo>
                <a:close/>
                <a:moveTo>
                  <a:pt x="4598545" y="1265980"/>
                </a:moveTo>
                <a:cubicBezTo>
                  <a:pt x="4604707" y="1265456"/>
                  <a:pt x="4610912" y="1266104"/>
                  <a:pt x="4616833" y="1267885"/>
                </a:cubicBezTo>
                <a:cubicBezTo>
                  <a:pt x="4626358" y="1271028"/>
                  <a:pt x="4629216" y="1277984"/>
                  <a:pt x="4624358" y="1287985"/>
                </a:cubicBezTo>
                <a:cubicBezTo>
                  <a:pt x="4617421" y="1299586"/>
                  <a:pt x="4607570" y="1309178"/>
                  <a:pt x="4595783" y="1315798"/>
                </a:cubicBezTo>
                <a:lnTo>
                  <a:pt x="4590449" y="1318941"/>
                </a:lnTo>
                <a:lnTo>
                  <a:pt x="4584925" y="1322084"/>
                </a:lnTo>
                <a:cubicBezTo>
                  <a:pt x="4581115" y="1324180"/>
                  <a:pt x="4577209" y="1326180"/>
                  <a:pt x="4573114" y="1327990"/>
                </a:cubicBezTo>
                <a:cubicBezTo>
                  <a:pt x="4564805" y="1331762"/>
                  <a:pt x="4556244" y="1334943"/>
                  <a:pt x="4547491" y="1337515"/>
                </a:cubicBezTo>
                <a:cubicBezTo>
                  <a:pt x="4542824" y="1338848"/>
                  <a:pt x="4538443" y="1339896"/>
                  <a:pt x="4534156" y="1340753"/>
                </a:cubicBezTo>
                <a:cubicBezTo>
                  <a:pt x="4529870" y="1341611"/>
                  <a:pt x="4526060" y="1342087"/>
                  <a:pt x="4522345" y="1342468"/>
                </a:cubicBezTo>
                <a:cubicBezTo>
                  <a:pt x="4516196" y="1343277"/>
                  <a:pt x="4509955" y="1343087"/>
                  <a:pt x="4503867" y="1341896"/>
                </a:cubicBezTo>
                <a:cubicBezTo>
                  <a:pt x="4494151" y="1339515"/>
                  <a:pt x="4489675" y="1333514"/>
                  <a:pt x="4492723" y="1323989"/>
                </a:cubicBezTo>
                <a:cubicBezTo>
                  <a:pt x="4494768" y="1318313"/>
                  <a:pt x="4498017" y="1313150"/>
                  <a:pt x="4502248" y="1308845"/>
                </a:cubicBezTo>
                <a:cubicBezTo>
                  <a:pt x="4507618" y="1303119"/>
                  <a:pt x="4513663" y="1298062"/>
                  <a:pt x="4520250" y="1293795"/>
                </a:cubicBezTo>
                <a:cubicBezTo>
                  <a:pt x="4536350" y="1283299"/>
                  <a:pt x="4553995" y="1275391"/>
                  <a:pt x="4572542" y="1270362"/>
                </a:cubicBezTo>
                <a:cubicBezTo>
                  <a:pt x="4577495" y="1269028"/>
                  <a:pt x="4582067" y="1268076"/>
                  <a:pt x="4586449" y="1267314"/>
                </a:cubicBezTo>
                <a:cubicBezTo>
                  <a:pt x="4590830" y="1266552"/>
                  <a:pt x="4594831" y="1266171"/>
                  <a:pt x="4598545" y="1265980"/>
                </a:cubicBezTo>
                <a:close/>
                <a:moveTo>
                  <a:pt x="4186934" y="1252740"/>
                </a:moveTo>
                <a:cubicBezTo>
                  <a:pt x="4198828" y="1256073"/>
                  <a:pt x="4205353" y="1263074"/>
                  <a:pt x="4203353" y="1272647"/>
                </a:cubicBezTo>
                <a:cubicBezTo>
                  <a:pt x="4199352" y="1291794"/>
                  <a:pt x="4159252" y="1320750"/>
                  <a:pt x="4122009" y="1330561"/>
                </a:cubicBezTo>
                <a:cubicBezTo>
                  <a:pt x="4084766" y="1340371"/>
                  <a:pt x="4054382" y="1332275"/>
                  <a:pt x="4056572" y="1314463"/>
                </a:cubicBezTo>
                <a:cubicBezTo>
                  <a:pt x="4058858" y="1294747"/>
                  <a:pt x="4099340" y="1265027"/>
                  <a:pt x="4138297" y="1254835"/>
                </a:cubicBezTo>
                <a:cubicBezTo>
                  <a:pt x="4157776" y="1249739"/>
                  <a:pt x="4175040" y="1249406"/>
                  <a:pt x="4186934" y="1252740"/>
                </a:cubicBezTo>
                <a:close/>
                <a:moveTo>
                  <a:pt x="6486876" y="1243206"/>
                </a:moveTo>
                <a:cubicBezTo>
                  <a:pt x="6492591" y="1243206"/>
                  <a:pt x="6498878" y="1243206"/>
                  <a:pt x="6504974" y="1243968"/>
                </a:cubicBezTo>
                <a:cubicBezTo>
                  <a:pt x="6511070" y="1244730"/>
                  <a:pt x="6517166" y="1245206"/>
                  <a:pt x="6522595" y="1246159"/>
                </a:cubicBezTo>
                <a:cubicBezTo>
                  <a:pt x="6527186" y="1246883"/>
                  <a:pt x="6531701" y="1247969"/>
                  <a:pt x="6536121" y="1249397"/>
                </a:cubicBezTo>
                <a:cubicBezTo>
                  <a:pt x="6543074" y="1251874"/>
                  <a:pt x="6545646" y="1254827"/>
                  <a:pt x="6543836" y="1257398"/>
                </a:cubicBezTo>
                <a:cubicBezTo>
                  <a:pt x="6542026" y="1259970"/>
                  <a:pt x="6536692" y="1262066"/>
                  <a:pt x="6527834" y="1262732"/>
                </a:cubicBezTo>
                <a:cubicBezTo>
                  <a:pt x="6516594" y="1263418"/>
                  <a:pt x="6505307" y="1263132"/>
                  <a:pt x="6494115" y="1261875"/>
                </a:cubicBezTo>
                <a:cubicBezTo>
                  <a:pt x="6484209" y="1261227"/>
                  <a:pt x="6474408" y="1259503"/>
                  <a:pt x="6464874" y="1256732"/>
                </a:cubicBezTo>
                <a:cubicBezTo>
                  <a:pt x="6453634" y="1252636"/>
                  <a:pt x="6456873" y="1246254"/>
                  <a:pt x="6471636" y="1244063"/>
                </a:cubicBezTo>
                <a:cubicBezTo>
                  <a:pt x="6476694" y="1243444"/>
                  <a:pt x="6481781" y="1243158"/>
                  <a:pt x="6486876" y="1243206"/>
                </a:cubicBezTo>
                <a:close/>
                <a:moveTo>
                  <a:pt x="3635353" y="1239488"/>
                </a:moveTo>
                <a:cubicBezTo>
                  <a:pt x="3649855" y="1242881"/>
                  <a:pt x="3659619" y="1250215"/>
                  <a:pt x="3661000" y="1260550"/>
                </a:cubicBezTo>
                <a:cubicBezTo>
                  <a:pt x="3663667" y="1280649"/>
                  <a:pt x="3632425" y="1306462"/>
                  <a:pt x="3594325" y="1316844"/>
                </a:cubicBezTo>
                <a:cubicBezTo>
                  <a:pt x="3556225" y="1327227"/>
                  <a:pt x="3518982" y="1319607"/>
                  <a:pt x="3514600" y="1299889"/>
                </a:cubicBezTo>
                <a:cubicBezTo>
                  <a:pt x="3510219" y="1280173"/>
                  <a:pt x="3540604" y="1252930"/>
                  <a:pt x="3581275" y="1242071"/>
                </a:cubicBezTo>
                <a:cubicBezTo>
                  <a:pt x="3601611" y="1236642"/>
                  <a:pt x="3620852" y="1236095"/>
                  <a:pt x="3635353" y="1239488"/>
                </a:cubicBezTo>
                <a:close/>
                <a:moveTo>
                  <a:pt x="6058170" y="1237712"/>
                </a:moveTo>
                <a:cubicBezTo>
                  <a:pt x="6070358" y="1236450"/>
                  <a:pt x="6082683" y="1236528"/>
                  <a:pt x="6094923" y="1237971"/>
                </a:cubicBezTo>
                <a:cubicBezTo>
                  <a:pt x="6120355" y="1241210"/>
                  <a:pt x="6122450" y="1248830"/>
                  <a:pt x="6100352" y="1255878"/>
                </a:cubicBezTo>
                <a:cubicBezTo>
                  <a:pt x="6094885" y="1257564"/>
                  <a:pt x="6089322" y="1258907"/>
                  <a:pt x="6083683" y="1259879"/>
                </a:cubicBezTo>
                <a:cubicBezTo>
                  <a:pt x="6077378" y="1261031"/>
                  <a:pt x="6071025" y="1261860"/>
                  <a:pt x="6064633" y="1262355"/>
                </a:cubicBezTo>
                <a:cubicBezTo>
                  <a:pt x="6058299" y="1262946"/>
                  <a:pt x="6051946" y="1263203"/>
                  <a:pt x="6045583" y="1263117"/>
                </a:cubicBezTo>
                <a:cubicBezTo>
                  <a:pt x="6039659" y="1263117"/>
                  <a:pt x="6033744" y="1262774"/>
                  <a:pt x="6027867" y="1262069"/>
                </a:cubicBezTo>
                <a:cubicBezTo>
                  <a:pt x="6006436" y="1259402"/>
                  <a:pt x="6003673" y="1252640"/>
                  <a:pt x="6022247" y="1245496"/>
                </a:cubicBezTo>
                <a:cubicBezTo>
                  <a:pt x="6033934" y="1241577"/>
                  <a:pt x="6045983" y="1238974"/>
                  <a:pt x="6058170" y="1237712"/>
                </a:cubicBezTo>
                <a:close/>
                <a:moveTo>
                  <a:pt x="4833907" y="1223976"/>
                </a:moveTo>
                <a:cubicBezTo>
                  <a:pt x="4839413" y="1223891"/>
                  <a:pt x="4844872" y="1224994"/>
                  <a:pt x="4849909" y="1227214"/>
                </a:cubicBezTo>
                <a:cubicBezTo>
                  <a:pt x="4857720" y="1231024"/>
                  <a:pt x="4859339" y="1238263"/>
                  <a:pt x="4853053" y="1247121"/>
                </a:cubicBezTo>
                <a:cubicBezTo>
                  <a:pt x="4849166" y="1252303"/>
                  <a:pt x="4844546" y="1256894"/>
                  <a:pt x="4839337" y="1260742"/>
                </a:cubicBezTo>
                <a:cubicBezTo>
                  <a:pt x="4832862" y="1265695"/>
                  <a:pt x="4825979" y="1270095"/>
                  <a:pt x="4818763" y="1273886"/>
                </a:cubicBezTo>
                <a:cubicBezTo>
                  <a:pt x="4802797" y="1282394"/>
                  <a:pt x="4785796" y="1288795"/>
                  <a:pt x="4768185" y="1292938"/>
                </a:cubicBezTo>
                <a:cubicBezTo>
                  <a:pt x="4734085" y="1300463"/>
                  <a:pt x="4713892" y="1292176"/>
                  <a:pt x="4724179" y="1274363"/>
                </a:cubicBezTo>
                <a:cubicBezTo>
                  <a:pt x="4732863" y="1262447"/>
                  <a:pt x="4744301" y="1252807"/>
                  <a:pt x="4757517" y="1246264"/>
                </a:cubicBezTo>
                <a:cubicBezTo>
                  <a:pt x="4773954" y="1236996"/>
                  <a:pt x="4791719" y="1230309"/>
                  <a:pt x="4810190" y="1226452"/>
                </a:cubicBezTo>
                <a:cubicBezTo>
                  <a:pt x="4817973" y="1224710"/>
                  <a:pt x="4825932" y="1223881"/>
                  <a:pt x="4833907" y="1223976"/>
                </a:cubicBezTo>
                <a:close/>
                <a:moveTo>
                  <a:pt x="2890645" y="1211875"/>
                </a:moveTo>
                <a:cubicBezTo>
                  <a:pt x="2929316" y="1202921"/>
                  <a:pt x="2972846" y="1213684"/>
                  <a:pt x="2981989" y="1233973"/>
                </a:cubicBezTo>
                <a:cubicBezTo>
                  <a:pt x="2991133" y="1254261"/>
                  <a:pt x="2968368" y="1276263"/>
                  <a:pt x="2934365" y="1285217"/>
                </a:cubicBezTo>
                <a:cubicBezTo>
                  <a:pt x="2897313" y="1294647"/>
                  <a:pt x="2853974" y="1285884"/>
                  <a:pt x="2841591" y="1266833"/>
                </a:cubicBezTo>
                <a:cubicBezTo>
                  <a:pt x="2828923" y="1246831"/>
                  <a:pt x="2851974" y="1220828"/>
                  <a:pt x="2890645" y="1211875"/>
                </a:cubicBezTo>
                <a:close/>
                <a:moveTo>
                  <a:pt x="5901756" y="1202634"/>
                </a:moveTo>
                <a:cubicBezTo>
                  <a:pt x="5925473" y="1204348"/>
                  <a:pt x="5930331" y="1213873"/>
                  <a:pt x="5913281" y="1222160"/>
                </a:cubicBezTo>
                <a:cubicBezTo>
                  <a:pt x="5886745" y="1231933"/>
                  <a:pt x="5858589" y="1236552"/>
                  <a:pt x="5830318" y="1235781"/>
                </a:cubicBezTo>
                <a:cubicBezTo>
                  <a:pt x="5808220" y="1234257"/>
                  <a:pt x="5803363" y="1225018"/>
                  <a:pt x="5820793" y="1216731"/>
                </a:cubicBezTo>
                <a:cubicBezTo>
                  <a:pt x="5832947" y="1211426"/>
                  <a:pt x="5845759" y="1207806"/>
                  <a:pt x="5858893" y="1205968"/>
                </a:cubicBezTo>
                <a:cubicBezTo>
                  <a:pt x="5873009" y="1203225"/>
                  <a:pt x="5887392" y="1202101"/>
                  <a:pt x="5901756" y="1202634"/>
                </a:cubicBezTo>
                <a:close/>
                <a:moveTo>
                  <a:pt x="5038028" y="1193685"/>
                </a:moveTo>
                <a:cubicBezTo>
                  <a:pt x="5071747" y="1189017"/>
                  <a:pt x="5087558" y="1199971"/>
                  <a:pt x="5072223" y="1216640"/>
                </a:cubicBezTo>
                <a:cubicBezTo>
                  <a:pt x="5061145" y="1226993"/>
                  <a:pt x="5048221" y="1235166"/>
                  <a:pt x="5034123" y="1240738"/>
                </a:cubicBezTo>
                <a:lnTo>
                  <a:pt x="5028027" y="1243310"/>
                </a:lnTo>
                <a:lnTo>
                  <a:pt x="5021740" y="1245881"/>
                </a:lnTo>
                <a:cubicBezTo>
                  <a:pt x="5017549" y="1247501"/>
                  <a:pt x="5013263" y="1249025"/>
                  <a:pt x="5009072" y="1250358"/>
                </a:cubicBezTo>
                <a:cubicBezTo>
                  <a:pt x="5001080" y="1253006"/>
                  <a:pt x="4992896" y="1255044"/>
                  <a:pt x="4984593" y="1256454"/>
                </a:cubicBezTo>
                <a:cubicBezTo>
                  <a:pt x="4973059" y="1259159"/>
                  <a:pt x="4960978" y="1258331"/>
                  <a:pt x="4949922" y="1254073"/>
                </a:cubicBezTo>
                <a:cubicBezTo>
                  <a:pt x="4943254" y="1250263"/>
                  <a:pt x="4942302" y="1243786"/>
                  <a:pt x="4948874" y="1235594"/>
                </a:cubicBezTo>
                <a:cubicBezTo>
                  <a:pt x="4953186" y="1230499"/>
                  <a:pt x="4958225" y="1226069"/>
                  <a:pt x="4963828" y="1222450"/>
                </a:cubicBezTo>
                <a:cubicBezTo>
                  <a:pt x="4970864" y="1217706"/>
                  <a:pt x="4978289" y="1213563"/>
                  <a:pt x="4986022" y="1210067"/>
                </a:cubicBezTo>
                <a:cubicBezTo>
                  <a:pt x="5002458" y="1202085"/>
                  <a:pt x="5019982" y="1196561"/>
                  <a:pt x="5038028" y="1193685"/>
                </a:cubicBezTo>
                <a:close/>
                <a:moveTo>
                  <a:pt x="4429190" y="1187875"/>
                </a:moveTo>
                <a:cubicBezTo>
                  <a:pt x="4435658" y="1187580"/>
                  <a:pt x="4442122" y="1188523"/>
                  <a:pt x="4448240" y="1190637"/>
                </a:cubicBezTo>
                <a:cubicBezTo>
                  <a:pt x="4456394" y="1192247"/>
                  <a:pt x="4461697" y="1200162"/>
                  <a:pt x="4460085" y="1208316"/>
                </a:cubicBezTo>
                <a:cubicBezTo>
                  <a:pt x="4459814" y="1209687"/>
                  <a:pt x="4459354" y="1211011"/>
                  <a:pt x="4458718" y="1212259"/>
                </a:cubicBezTo>
                <a:cubicBezTo>
                  <a:pt x="4451332" y="1225461"/>
                  <a:pt x="4440586" y="1236462"/>
                  <a:pt x="4427571" y="1244168"/>
                </a:cubicBezTo>
                <a:cubicBezTo>
                  <a:pt x="4425761" y="1245406"/>
                  <a:pt x="4423666" y="1246644"/>
                  <a:pt x="4421665" y="1247882"/>
                </a:cubicBezTo>
                <a:cubicBezTo>
                  <a:pt x="4419665" y="1249121"/>
                  <a:pt x="4417570" y="1250359"/>
                  <a:pt x="4415474" y="1251597"/>
                </a:cubicBezTo>
                <a:cubicBezTo>
                  <a:pt x="4411188" y="1253978"/>
                  <a:pt x="4406806" y="1256169"/>
                  <a:pt x="4402425" y="1258265"/>
                </a:cubicBezTo>
                <a:cubicBezTo>
                  <a:pt x="4393687" y="1262389"/>
                  <a:pt x="4384603" y="1265732"/>
                  <a:pt x="4375279" y="1268266"/>
                </a:cubicBezTo>
                <a:cubicBezTo>
                  <a:pt x="4338512" y="1277793"/>
                  <a:pt x="4311556" y="1269599"/>
                  <a:pt x="4318129" y="1249978"/>
                </a:cubicBezTo>
                <a:cubicBezTo>
                  <a:pt x="4324701" y="1230356"/>
                  <a:pt x="4365754" y="1201591"/>
                  <a:pt x="4403282" y="1191590"/>
                </a:cubicBezTo>
                <a:lnTo>
                  <a:pt x="4410331" y="1189970"/>
                </a:lnTo>
                <a:lnTo>
                  <a:pt x="4416998" y="1188827"/>
                </a:lnTo>
                <a:cubicBezTo>
                  <a:pt x="4421032" y="1188199"/>
                  <a:pt x="4425108" y="1187875"/>
                  <a:pt x="4429190" y="1187875"/>
                </a:cubicBezTo>
                <a:close/>
                <a:moveTo>
                  <a:pt x="1258610" y="1185674"/>
                </a:moveTo>
                <a:cubicBezTo>
                  <a:pt x="1265478" y="1185903"/>
                  <a:pt x="1272288" y="1186960"/>
                  <a:pt x="1278899" y="1188817"/>
                </a:cubicBezTo>
                <a:cubicBezTo>
                  <a:pt x="1286767" y="1190932"/>
                  <a:pt x="1294463" y="1193599"/>
                  <a:pt x="1301949" y="1196818"/>
                </a:cubicBezTo>
                <a:cubicBezTo>
                  <a:pt x="1309407" y="1199952"/>
                  <a:pt x="1316608" y="1203686"/>
                  <a:pt x="1323476" y="1207963"/>
                </a:cubicBezTo>
                <a:cubicBezTo>
                  <a:pt x="1329229" y="1211277"/>
                  <a:pt x="1334487" y="1215373"/>
                  <a:pt x="1339097" y="1220155"/>
                </a:cubicBezTo>
                <a:cubicBezTo>
                  <a:pt x="1352432" y="1234918"/>
                  <a:pt x="1345764" y="1251682"/>
                  <a:pt x="1326048" y="1253492"/>
                </a:cubicBezTo>
                <a:cubicBezTo>
                  <a:pt x="1319495" y="1253835"/>
                  <a:pt x="1312922" y="1253263"/>
                  <a:pt x="1306521" y="1251777"/>
                </a:cubicBezTo>
                <a:cubicBezTo>
                  <a:pt x="1302702" y="1251015"/>
                  <a:pt x="1298911" y="1250063"/>
                  <a:pt x="1295187" y="1248920"/>
                </a:cubicBezTo>
                <a:cubicBezTo>
                  <a:pt x="1291376" y="1247777"/>
                  <a:pt x="1287567" y="1246443"/>
                  <a:pt x="1283661" y="1244919"/>
                </a:cubicBezTo>
                <a:cubicBezTo>
                  <a:pt x="1279756" y="1243395"/>
                  <a:pt x="1276137" y="1241872"/>
                  <a:pt x="1272422" y="1240062"/>
                </a:cubicBezTo>
                <a:lnTo>
                  <a:pt x="1267088" y="1237395"/>
                </a:lnTo>
                <a:lnTo>
                  <a:pt x="1262040" y="1234537"/>
                </a:lnTo>
                <a:cubicBezTo>
                  <a:pt x="1256077" y="1231118"/>
                  <a:pt x="1250571" y="1226955"/>
                  <a:pt x="1245657" y="1222155"/>
                </a:cubicBezTo>
                <a:cubicBezTo>
                  <a:pt x="1238351" y="1216221"/>
                  <a:pt x="1235093" y="1206638"/>
                  <a:pt x="1237275" y="1197485"/>
                </a:cubicBezTo>
                <a:cubicBezTo>
                  <a:pt x="1241056" y="1189322"/>
                  <a:pt x="1249686" y="1184550"/>
                  <a:pt x="1258610" y="1185674"/>
                </a:cubicBezTo>
                <a:close/>
                <a:moveTo>
                  <a:pt x="5686015" y="1183205"/>
                </a:moveTo>
                <a:cubicBezTo>
                  <a:pt x="5714590" y="1183872"/>
                  <a:pt x="5719828" y="1193206"/>
                  <a:pt x="5697921" y="1205112"/>
                </a:cubicBezTo>
                <a:cubicBezTo>
                  <a:pt x="5686100" y="1211113"/>
                  <a:pt x="5673556" y="1215533"/>
                  <a:pt x="5660583" y="1218257"/>
                </a:cubicBezTo>
                <a:cubicBezTo>
                  <a:pt x="5646715" y="1221695"/>
                  <a:pt x="5632484" y="1223524"/>
                  <a:pt x="5618197" y="1223686"/>
                </a:cubicBezTo>
                <a:cubicBezTo>
                  <a:pt x="5589622" y="1223686"/>
                  <a:pt x="5582287" y="1215685"/>
                  <a:pt x="5601337" y="1203588"/>
                </a:cubicBezTo>
                <a:cubicBezTo>
                  <a:pt x="5606843" y="1200207"/>
                  <a:pt x="5612644" y="1197330"/>
                  <a:pt x="5618673" y="1195016"/>
                </a:cubicBezTo>
                <a:cubicBezTo>
                  <a:pt x="5625645" y="1192387"/>
                  <a:pt x="5632770" y="1190196"/>
                  <a:pt x="5640009" y="1188444"/>
                </a:cubicBezTo>
                <a:cubicBezTo>
                  <a:pt x="5647667" y="1186605"/>
                  <a:pt x="5655430" y="1185205"/>
                  <a:pt x="5663250" y="1184253"/>
                </a:cubicBezTo>
                <a:cubicBezTo>
                  <a:pt x="5670803" y="1183386"/>
                  <a:pt x="5678414" y="1183043"/>
                  <a:pt x="5686015" y="1183205"/>
                </a:cubicBezTo>
                <a:close/>
                <a:moveTo>
                  <a:pt x="5259580" y="1178825"/>
                </a:moveTo>
                <a:cubicBezTo>
                  <a:pt x="5293489" y="1176254"/>
                  <a:pt x="5302824" y="1186826"/>
                  <a:pt x="5282536" y="1203400"/>
                </a:cubicBezTo>
                <a:cubicBezTo>
                  <a:pt x="5277164" y="1207609"/>
                  <a:pt x="5271352" y="1211209"/>
                  <a:pt x="5265200" y="1214162"/>
                </a:cubicBezTo>
                <a:cubicBezTo>
                  <a:pt x="5261962" y="1215877"/>
                  <a:pt x="5258628" y="1217401"/>
                  <a:pt x="5255104" y="1218925"/>
                </a:cubicBezTo>
                <a:cubicBezTo>
                  <a:pt x="5251579" y="1220450"/>
                  <a:pt x="5247960" y="1222068"/>
                  <a:pt x="5244245" y="1223401"/>
                </a:cubicBezTo>
                <a:cubicBezTo>
                  <a:pt x="5236618" y="1226249"/>
                  <a:pt x="5228825" y="1228640"/>
                  <a:pt x="5220909" y="1230545"/>
                </a:cubicBezTo>
                <a:cubicBezTo>
                  <a:pt x="5216908" y="1231498"/>
                  <a:pt x="5212908" y="1232355"/>
                  <a:pt x="5208907" y="1233022"/>
                </a:cubicBezTo>
                <a:cubicBezTo>
                  <a:pt x="5204907" y="1233688"/>
                  <a:pt x="5200906" y="1234260"/>
                  <a:pt x="5196906" y="1234736"/>
                </a:cubicBezTo>
                <a:cubicBezTo>
                  <a:pt x="5164330" y="1238260"/>
                  <a:pt x="5152424" y="1229688"/>
                  <a:pt x="5169950" y="1213114"/>
                </a:cubicBezTo>
                <a:cubicBezTo>
                  <a:pt x="5174948" y="1208448"/>
                  <a:pt x="5180479" y="1204389"/>
                  <a:pt x="5186428" y="1201019"/>
                </a:cubicBezTo>
                <a:cubicBezTo>
                  <a:pt x="5189667" y="1199114"/>
                  <a:pt x="5193191" y="1197304"/>
                  <a:pt x="5196811" y="1195493"/>
                </a:cubicBezTo>
                <a:cubicBezTo>
                  <a:pt x="5200430" y="1193683"/>
                  <a:pt x="5204335" y="1192256"/>
                  <a:pt x="5208336" y="1190732"/>
                </a:cubicBezTo>
                <a:cubicBezTo>
                  <a:pt x="5216532" y="1187588"/>
                  <a:pt x="5224934" y="1185017"/>
                  <a:pt x="5233482" y="1183016"/>
                </a:cubicBezTo>
                <a:cubicBezTo>
                  <a:pt x="5242057" y="1180930"/>
                  <a:pt x="5250784" y="1179530"/>
                  <a:pt x="5259580" y="1178825"/>
                </a:cubicBezTo>
                <a:close/>
                <a:moveTo>
                  <a:pt x="1637612" y="1178626"/>
                </a:moveTo>
                <a:cubicBezTo>
                  <a:pt x="1645556" y="1177769"/>
                  <a:pt x="1653575" y="1177769"/>
                  <a:pt x="1661519" y="1178626"/>
                </a:cubicBezTo>
                <a:cubicBezTo>
                  <a:pt x="1669749" y="1179483"/>
                  <a:pt x="1677883" y="1181112"/>
                  <a:pt x="1685808" y="1183484"/>
                </a:cubicBezTo>
                <a:cubicBezTo>
                  <a:pt x="1700848" y="1187599"/>
                  <a:pt x="1714726" y="1195133"/>
                  <a:pt x="1726385" y="1205486"/>
                </a:cubicBezTo>
                <a:cubicBezTo>
                  <a:pt x="1735910" y="1215011"/>
                  <a:pt x="1739434" y="1223870"/>
                  <a:pt x="1735910" y="1231014"/>
                </a:cubicBezTo>
                <a:cubicBezTo>
                  <a:pt x="1733909" y="1235176"/>
                  <a:pt x="1730547" y="1238538"/>
                  <a:pt x="1726385" y="1240539"/>
                </a:cubicBezTo>
                <a:cubicBezTo>
                  <a:pt x="1720660" y="1243434"/>
                  <a:pt x="1714469" y="1245272"/>
                  <a:pt x="1708097" y="1245968"/>
                </a:cubicBezTo>
                <a:cubicBezTo>
                  <a:pt x="1700296" y="1247025"/>
                  <a:pt x="1692409" y="1247215"/>
                  <a:pt x="1684570" y="1246539"/>
                </a:cubicBezTo>
                <a:cubicBezTo>
                  <a:pt x="1676445" y="1245777"/>
                  <a:pt x="1668406" y="1244253"/>
                  <a:pt x="1660567" y="1241967"/>
                </a:cubicBezTo>
                <a:cubicBezTo>
                  <a:pt x="1645841" y="1237681"/>
                  <a:pt x="1632287" y="1230090"/>
                  <a:pt x="1620943" y="1219774"/>
                </a:cubicBezTo>
                <a:cubicBezTo>
                  <a:pt x="1599988" y="1200152"/>
                  <a:pt x="1607036" y="1182627"/>
                  <a:pt x="1637612" y="1178626"/>
                </a:cubicBezTo>
                <a:close/>
                <a:moveTo>
                  <a:pt x="6288661" y="1177961"/>
                </a:moveTo>
                <a:cubicBezTo>
                  <a:pt x="6295005" y="1177628"/>
                  <a:pt x="6301367" y="1177628"/>
                  <a:pt x="6307711" y="1177961"/>
                </a:cubicBezTo>
                <a:cubicBezTo>
                  <a:pt x="6313845" y="1178590"/>
                  <a:pt x="6319922" y="1179637"/>
                  <a:pt x="6325904" y="1181104"/>
                </a:cubicBezTo>
                <a:cubicBezTo>
                  <a:pt x="6330362" y="1181933"/>
                  <a:pt x="6334705" y="1183276"/>
                  <a:pt x="6338858" y="1185105"/>
                </a:cubicBezTo>
                <a:cubicBezTo>
                  <a:pt x="6341715" y="1186534"/>
                  <a:pt x="6343144" y="1188058"/>
                  <a:pt x="6343144" y="1189486"/>
                </a:cubicBezTo>
                <a:cubicBezTo>
                  <a:pt x="6343144" y="1192439"/>
                  <a:pt x="6337429" y="1195297"/>
                  <a:pt x="6325999" y="1197964"/>
                </a:cubicBezTo>
                <a:cubicBezTo>
                  <a:pt x="6314064" y="1200526"/>
                  <a:pt x="6301910" y="1201897"/>
                  <a:pt x="6289709" y="1202059"/>
                </a:cubicBezTo>
                <a:cubicBezTo>
                  <a:pt x="6283537" y="1202145"/>
                  <a:pt x="6277374" y="1201888"/>
                  <a:pt x="6271230" y="1201297"/>
                </a:cubicBezTo>
                <a:cubicBezTo>
                  <a:pt x="6265506" y="1200878"/>
                  <a:pt x="6259810" y="1200078"/>
                  <a:pt x="6254181" y="1198916"/>
                </a:cubicBezTo>
                <a:cubicBezTo>
                  <a:pt x="6234464" y="1194725"/>
                  <a:pt x="6233797" y="1188724"/>
                  <a:pt x="6252752" y="1183200"/>
                </a:cubicBezTo>
                <a:cubicBezTo>
                  <a:pt x="6264449" y="1179942"/>
                  <a:pt x="6276517" y="1178180"/>
                  <a:pt x="6288661" y="1177961"/>
                </a:cubicBezTo>
                <a:close/>
                <a:moveTo>
                  <a:pt x="5479703" y="1171871"/>
                </a:moveTo>
                <a:cubicBezTo>
                  <a:pt x="5507706" y="1171871"/>
                  <a:pt x="5515898" y="1182634"/>
                  <a:pt x="5497800" y="1195303"/>
                </a:cubicBezTo>
                <a:cubicBezTo>
                  <a:pt x="5492095" y="1199065"/>
                  <a:pt x="5486027" y="1202246"/>
                  <a:pt x="5479703" y="1204828"/>
                </a:cubicBezTo>
                <a:cubicBezTo>
                  <a:pt x="5476083" y="1206351"/>
                  <a:pt x="5472273" y="1207780"/>
                  <a:pt x="5468368" y="1209114"/>
                </a:cubicBezTo>
                <a:cubicBezTo>
                  <a:pt x="5464463" y="1210447"/>
                  <a:pt x="5460272" y="1211971"/>
                  <a:pt x="5456081" y="1213209"/>
                </a:cubicBezTo>
                <a:cubicBezTo>
                  <a:pt x="5447813" y="1215715"/>
                  <a:pt x="5439421" y="1217782"/>
                  <a:pt x="5430935" y="1219401"/>
                </a:cubicBezTo>
                <a:cubicBezTo>
                  <a:pt x="5426744" y="1220163"/>
                  <a:pt x="5422743" y="1220734"/>
                  <a:pt x="5418838" y="1221211"/>
                </a:cubicBezTo>
                <a:cubicBezTo>
                  <a:pt x="5414933" y="1221687"/>
                  <a:pt x="5411313" y="1222068"/>
                  <a:pt x="5407789" y="1222163"/>
                </a:cubicBezTo>
                <a:cubicBezTo>
                  <a:pt x="5381119" y="1223401"/>
                  <a:pt x="5371499" y="1213209"/>
                  <a:pt x="5387882" y="1200160"/>
                </a:cubicBezTo>
                <a:cubicBezTo>
                  <a:pt x="5393400" y="1196103"/>
                  <a:pt x="5399340" y="1192655"/>
                  <a:pt x="5405598" y="1189873"/>
                </a:cubicBezTo>
                <a:cubicBezTo>
                  <a:pt x="5409122" y="1188254"/>
                  <a:pt x="5412932" y="1186635"/>
                  <a:pt x="5417028" y="1185111"/>
                </a:cubicBezTo>
                <a:cubicBezTo>
                  <a:pt x="5421124" y="1183587"/>
                  <a:pt x="5425220" y="1182253"/>
                  <a:pt x="5429506" y="1180920"/>
                </a:cubicBezTo>
                <a:cubicBezTo>
                  <a:pt x="5438040" y="1178262"/>
                  <a:pt x="5446727" y="1176100"/>
                  <a:pt x="5455509" y="1174443"/>
                </a:cubicBezTo>
                <a:cubicBezTo>
                  <a:pt x="5459795" y="1173681"/>
                  <a:pt x="5464082" y="1172919"/>
                  <a:pt x="5468082" y="1172538"/>
                </a:cubicBezTo>
                <a:cubicBezTo>
                  <a:pt x="5471940" y="1172090"/>
                  <a:pt x="5475816" y="1171871"/>
                  <a:pt x="5479703" y="1171871"/>
                </a:cubicBezTo>
                <a:close/>
                <a:moveTo>
                  <a:pt x="3910105" y="1170437"/>
                </a:moveTo>
                <a:cubicBezTo>
                  <a:pt x="3936189" y="1169366"/>
                  <a:pt x="3954584" y="1178420"/>
                  <a:pt x="3953798" y="1194065"/>
                </a:cubicBezTo>
                <a:cubicBezTo>
                  <a:pt x="3952750" y="1214924"/>
                  <a:pt x="3919318" y="1241690"/>
                  <a:pt x="3881122" y="1251786"/>
                </a:cubicBezTo>
                <a:cubicBezTo>
                  <a:pt x="3842927" y="1261882"/>
                  <a:pt x="3809875" y="1254739"/>
                  <a:pt x="3809209" y="1234451"/>
                </a:cubicBezTo>
                <a:cubicBezTo>
                  <a:pt x="3808447" y="1213591"/>
                  <a:pt x="3841975" y="1185968"/>
                  <a:pt x="3881884" y="1175015"/>
                </a:cubicBezTo>
                <a:cubicBezTo>
                  <a:pt x="3891862" y="1172277"/>
                  <a:pt x="3901411" y="1170795"/>
                  <a:pt x="3910105" y="1170437"/>
                </a:cubicBezTo>
                <a:close/>
                <a:moveTo>
                  <a:pt x="939900" y="1157954"/>
                </a:moveTo>
                <a:lnTo>
                  <a:pt x="942757" y="1158717"/>
                </a:lnTo>
                <a:cubicBezTo>
                  <a:pt x="943795" y="1158945"/>
                  <a:pt x="944814" y="1159269"/>
                  <a:pt x="945805" y="1159669"/>
                </a:cubicBezTo>
                <a:cubicBezTo>
                  <a:pt x="947834" y="1160412"/>
                  <a:pt x="949806" y="1161307"/>
                  <a:pt x="951711" y="1162336"/>
                </a:cubicBezTo>
                <a:lnTo>
                  <a:pt x="954664" y="1164146"/>
                </a:lnTo>
                <a:lnTo>
                  <a:pt x="957711" y="1166050"/>
                </a:lnTo>
                <a:cubicBezTo>
                  <a:pt x="959845" y="1167432"/>
                  <a:pt x="961883" y="1168956"/>
                  <a:pt x="963807" y="1170623"/>
                </a:cubicBezTo>
                <a:cubicBezTo>
                  <a:pt x="965836" y="1172299"/>
                  <a:pt x="967779" y="1174080"/>
                  <a:pt x="969618" y="1175957"/>
                </a:cubicBezTo>
                <a:cubicBezTo>
                  <a:pt x="971618" y="1177862"/>
                  <a:pt x="973618" y="1179862"/>
                  <a:pt x="975523" y="1182053"/>
                </a:cubicBezTo>
                <a:cubicBezTo>
                  <a:pt x="979314" y="1186444"/>
                  <a:pt x="982753" y="1191121"/>
                  <a:pt x="985810" y="1196055"/>
                </a:cubicBezTo>
                <a:cubicBezTo>
                  <a:pt x="992097" y="1205580"/>
                  <a:pt x="994478" y="1213390"/>
                  <a:pt x="992764" y="1218248"/>
                </a:cubicBezTo>
                <a:cubicBezTo>
                  <a:pt x="991859" y="1220753"/>
                  <a:pt x="989801" y="1222667"/>
                  <a:pt x="987239" y="1223391"/>
                </a:cubicBezTo>
                <a:cubicBezTo>
                  <a:pt x="985639" y="1223934"/>
                  <a:pt x="983972" y="1224258"/>
                  <a:pt x="982286" y="1224343"/>
                </a:cubicBezTo>
                <a:cubicBezTo>
                  <a:pt x="980229" y="1224525"/>
                  <a:pt x="978152" y="1224525"/>
                  <a:pt x="976095" y="1224343"/>
                </a:cubicBezTo>
                <a:cubicBezTo>
                  <a:pt x="973809" y="1224011"/>
                  <a:pt x="971542" y="1223495"/>
                  <a:pt x="969332" y="1222820"/>
                </a:cubicBezTo>
                <a:cubicBezTo>
                  <a:pt x="968160" y="1222525"/>
                  <a:pt x="967017" y="1222144"/>
                  <a:pt x="965903" y="1221677"/>
                </a:cubicBezTo>
                <a:lnTo>
                  <a:pt x="964093" y="1221010"/>
                </a:lnTo>
                <a:lnTo>
                  <a:pt x="962474" y="1220248"/>
                </a:lnTo>
                <a:cubicBezTo>
                  <a:pt x="957931" y="1218066"/>
                  <a:pt x="953654" y="1215381"/>
                  <a:pt x="949710" y="1212247"/>
                </a:cubicBezTo>
                <a:lnTo>
                  <a:pt x="948091" y="1211009"/>
                </a:lnTo>
                <a:lnTo>
                  <a:pt x="946662" y="1209675"/>
                </a:lnTo>
                <a:cubicBezTo>
                  <a:pt x="945710" y="1208818"/>
                  <a:pt x="944853" y="1207866"/>
                  <a:pt x="943900" y="1206913"/>
                </a:cubicBezTo>
                <a:cubicBezTo>
                  <a:pt x="942033" y="1204989"/>
                  <a:pt x="940281" y="1202951"/>
                  <a:pt x="938661" y="1200817"/>
                </a:cubicBezTo>
                <a:cubicBezTo>
                  <a:pt x="936918" y="1198711"/>
                  <a:pt x="935318" y="1196483"/>
                  <a:pt x="933899" y="1194150"/>
                </a:cubicBezTo>
                <a:cubicBezTo>
                  <a:pt x="932489" y="1191654"/>
                  <a:pt x="931213" y="1189073"/>
                  <a:pt x="930089" y="1186434"/>
                </a:cubicBezTo>
                <a:cubicBezTo>
                  <a:pt x="925907" y="1179529"/>
                  <a:pt x="924412" y="1171318"/>
                  <a:pt x="925898" y="1163384"/>
                </a:cubicBezTo>
                <a:cubicBezTo>
                  <a:pt x="927708" y="1158431"/>
                  <a:pt x="932375" y="1156335"/>
                  <a:pt x="939900" y="1157954"/>
                </a:cubicBezTo>
                <a:close/>
                <a:moveTo>
                  <a:pt x="3238217" y="1144153"/>
                </a:moveTo>
                <a:cubicBezTo>
                  <a:pt x="3277649" y="1135200"/>
                  <a:pt x="3313366" y="1145677"/>
                  <a:pt x="3319079" y="1167490"/>
                </a:cubicBezTo>
                <a:cubicBezTo>
                  <a:pt x="3324795" y="1189302"/>
                  <a:pt x="3296223" y="1215115"/>
                  <a:pt x="3255553" y="1223306"/>
                </a:cubicBezTo>
                <a:cubicBezTo>
                  <a:pt x="3217453" y="1231116"/>
                  <a:pt x="3183068" y="1220734"/>
                  <a:pt x="3177256" y="1199398"/>
                </a:cubicBezTo>
                <a:cubicBezTo>
                  <a:pt x="3175162" y="1186968"/>
                  <a:pt x="3180342" y="1174433"/>
                  <a:pt x="3190593" y="1167108"/>
                </a:cubicBezTo>
                <a:cubicBezTo>
                  <a:pt x="3204300" y="1155593"/>
                  <a:pt x="3220673" y="1147706"/>
                  <a:pt x="3238217" y="1144153"/>
                </a:cubicBezTo>
                <a:close/>
                <a:moveTo>
                  <a:pt x="6558218" y="1136621"/>
                </a:moveTo>
                <a:cubicBezTo>
                  <a:pt x="6570124" y="1135430"/>
                  <a:pt x="6582126" y="1135430"/>
                  <a:pt x="6594032" y="1136621"/>
                </a:cubicBezTo>
                <a:cubicBezTo>
                  <a:pt x="6600604" y="1137192"/>
                  <a:pt x="6607177" y="1138050"/>
                  <a:pt x="6613082" y="1139097"/>
                </a:cubicBezTo>
                <a:cubicBezTo>
                  <a:pt x="6618330" y="1140098"/>
                  <a:pt x="6623512" y="1141403"/>
                  <a:pt x="6628608" y="1143003"/>
                </a:cubicBezTo>
                <a:cubicBezTo>
                  <a:pt x="6644896" y="1148621"/>
                  <a:pt x="6643086" y="1156242"/>
                  <a:pt x="6625369" y="1158338"/>
                </a:cubicBezTo>
                <a:cubicBezTo>
                  <a:pt x="6620178" y="1158881"/>
                  <a:pt x="6614968" y="1159100"/>
                  <a:pt x="6609748" y="1159005"/>
                </a:cubicBezTo>
                <a:cubicBezTo>
                  <a:pt x="6603843" y="1159005"/>
                  <a:pt x="6597366" y="1159005"/>
                  <a:pt x="6590698" y="1158146"/>
                </a:cubicBezTo>
                <a:cubicBezTo>
                  <a:pt x="6584031" y="1157290"/>
                  <a:pt x="6577744" y="1156814"/>
                  <a:pt x="6571648" y="1156052"/>
                </a:cubicBezTo>
                <a:cubicBezTo>
                  <a:pt x="6566343" y="1155357"/>
                  <a:pt x="6561095" y="1154309"/>
                  <a:pt x="6555932" y="1152909"/>
                </a:cubicBezTo>
                <a:cubicBezTo>
                  <a:pt x="6546407" y="1150337"/>
                  <a:pt x="6542026" y="1147003"/>
                  <a:pt x="6542407" y="1143860"/>
                </a:cubicBezTo>
                <a:cubicBezTo>
                  <a:pt x="6542788" y="1140717"/>
                  <a:pt x="6548122" y="1137859"/>
                  <a:pt x="6558218" y="1136621"/>
                </a:cubicBezTo>
                <a:close/>
                <a:moveTo>
                  <a:pt x="2051953" y="1133479"/>
                </a:moveTo>
                <a:cubicBezTo>
                  <a:pt x="2060306" y="1133898"/>
                  <a:pt x="2068583" y="1135270"/>
                  <a:pt x="2076622" y="1137575"/>
                </a:cubicBezTo>
                <a:cubicBezTo>
                  <a:pt x="2091339" y="1141385"/>
                  <a:pt x="2104597" y="1149472"/>
                  <a:pt x="2114722" y="1160816"/>
                </a:cubicBezTo>
                <a:cubicBezTo>
                  <a:pt x="2122628" y="1170341"/>
                  <a:pt x="2124248" y="1179104"/>
                  <a:pt x="2119961" y="1186153"/>
                </a:cubicBezTo>
                <a:cubicBezTo>
                  <a:pt x="2112341" y="1195268"/>
                  <a:pt x="2101416" y="1200992"/>
                  <a:pt x="2089577" y="1202059"/>
                </a:cubicBezTo>
                <a:cubicBezTo>
                  <a:pt x="2081175" y="1203745"/>
                  <a:pt x="2072622" y="1204545"/>
                  <a:pt x="2064049" y="1204441"/>
                </a:cubicBezTo>
                <a:cubicBezTo>
                  <a:pt x="2055868" y="1204279"/>
                  <a:pt x="2047714" y="1203231"/>
                  <a:pt x="2039761" y="1201297"/>
                </a:cubicBezTo>
                <a:cubicBezTo>
                  <a:pt x="2024864" y="1198021"/>
                  <a:pt x="2011157" y="1190705"/>
                  <a:pt x="2000138" y="1180152"/>
                </a:cubicBezTo>
                <a:cubicBezTo>
                  <a:pt x="1989945" y="1169579"/>
                  <a:pt x="1987279" y="1159864"/>
                  <a:pt x="1991661" y="1151577"/>
                </a:cubicBezTo>
                <a:cubicBezTo>
                  <a:pt x="1994507" y="1147081"/>
                  <a:pt x="1998660" y="1143557"/>
                  <a:pt x="2003566" y="1141480"/>
                </a:cubicBezTo>
                <a:cubicBezTo>
                  <a:pt x="2010566" y="1138213"/>
                  <a:pt x="2018015" y="1135994"/>
                  <a:pt x="2025664" y="1134908"/>
                </a:cubicBezTo>
                <a:cubicBezTo>
                  <a:pt x="2034341" y="1133441"/>
                  <a:pt x="2043161" y="1132965"/>
                  <a:pt x="2051953" y="1133479"/>
                </a:cubicBezTo>
                <a:close/>
                <a:moveTo>
                  <a:pt x="4685604" y="1130821"/>
                </a:moveTo>
                <a:cubicBezTo>
                  <a:pt x="4691554" y="1130563"/>
                  <a:pt x="4697483" y="1131668"/>
                  <a:pt x="4702939" y="1134059"/>
                </a:cubicBezTo>
                <a:cubicBezTo>
                  <a:pt x="4711131" y="1138250"/>
                  <a:pt x="4712464" y="1146537"/>
                  <a:pt x="4705416" y="1157870"/>
                </a:cubicBezTo>
                <a:cubicBezTo>
                  <a:pt x="4701831" y="1163528"/>
                  <a:pt x="4697398" y="1168605"/>
                  <a:pt x="4692271" y="1172921"/>
                </a:cubicBezTo>
                <a:cubicBezTo>
                  <a:pt x="4686220" y="1178197"/>
                  <a:pt x="4679682" y="1182883"/>
                  <a:pt x="4672745" y="1186922"/>
                </a:cubicBezTo>
                <a:cubicBezTo>
                  <a:pt x="4664959" y="1191389"/>
                  <a:pt x="4656838" y="1195237"/>
                  <a:pt x="4648456" y="1198447"/>
                </a:cubicBezTo>
                <a:cubicBezTo>
                  <a:pt x="4639593" y="1201809"/>
                  <a:pt x="4630526" y="1204610"/>
                  <a:pt x="4621310" y="1206829"/>
                </a:cubicBezTo>
                <a:cubicBezTo>
                  <a:pt x="4584734" y="1215592"/>
                  <a:pt x="4565684" y="1207496"/>
                  <a:pt x="4575209" y="1186636"/>
                </a:cubicBezTo>
                <a:cubicBezTo>
                  <a:pt x="4582375" y="1173844"/>
                  <a:pt x="4592919" y="1163272"/>
                  <a:pt x="4605689" y="1156062"/>
                </a:cubicBezTo>
                <a:cubicBezTo>
                  <a:pt x="4609404" y="1153776"/>
                  <a:pt x="4613309" y="1151489"/>
                  <a:pt x="4617405" y="1149393"/>
                </a:cubicBezTo>
                <a:cubicBezTo>
                  <a:pt x="4621500" y="1147299"/>
                  <a:pt x="4625882" y="1145394"/>
                  <a:pt x="4630359" y="1143584"/>
                </a:cubicBezTo>
                <a:cubicBezTo>
                  <a:pt x="4639629" y="1139812"/>
                  <a:pt x="4649184" y="1136793"/>
                  <a:pt x="4658934" y="1134535"/>
                </a:cubicBezTo>
                <a:cubicBezTo>
                  <a:pt x="4667651" y="1132278"/>
                  <a:pt x="4676601" y="1131030"/>
                  <a:pt x="4685604" y="1130821"/>
                </a:cubicBezTo>
                <a:close/>
                <a:moveTo>
                  <a:pt x="6097209" y="1125767"/>
                </a:moveTo>
                <a:cubicBezTo>
                  <a:pt x="6103934" y="1125767"/>
                  <a:pt x="6110649" y="1126253"/>
                  <a:pt x="6117307" y="1127196"/>
                </a:cubicBezTo>
                <a:cubicBezTo>
                  <a:pt x="6141119" y="1130910"/>
                  <a:pt x="6141691" y="1140531"/>
                  <a:pt x="6119212" y="1147770"/>
                </a:cubicBezTo>
                <a:cubicBezTo>
                  <a:pt x="6113487" y="1149637"/>
                  <a:pt x="6107629" y="1151065"/>
                  <a:pt x="6101686" y="1152056"/>
                </a:cubicBezTo>
                <a:lnTo>
                  <a:pt x="6092161" y="1153675"/>
                </a:lnTo>
                <a:lnTo>
                  <a:pt x="6081683" y="1155009"/>
                </a:lnTo>
                <a:cubicBezTo>
                  <a:pt x="6074730" y="1155676"/>
                  <a:pt x="6067681" y="1156056"/>
                  <a:pt x="6061014" y="1156152"/>
                </a:cubicBezTo>
                <a:cubicBezTo>
                  <a:pt x="6054346" y="1156247"/>
                  <a:pt x="6047965" y="1156152"/>
                  <a:pt x="6042440" y="1155485"/>
                </a:cubicBezTo>
                <a:cubicBezTo>
                  <a:pt x="6018151" y="1152532"/>
                  <a:pt x="6014437" y="1143769"/>
                  <a:pt x="6034439" y="1135768"/>
                </a:cubicBezTo>
                <a:cubicBezTo>
                  <a:pt x="6047365" y="1131111"/>
                  <a:pt x="6060842" y="1128158"/>
                  <a:pt x="6074539" y="1127005"/>
                </a:cubicBezTo>
                <a:cubicBezTo>
                  <a:pt x="6082159" y="1126243"/>
                  <a:pt x="6089875" y="1125767"/>
                  <a:pt x="6097209" y="1125767"/>
                </a:cubicBezTo>
                <a:close/>
                <a:moveTo>
                  <a:pt x="4205142" y="1096743"/>
                </a:moveTo>
                <a:cubicBezTo>
                  <a:pt x="4229636" y="1096315"/>
                  <a:pt x="4245263" y="1106387"/>
                  <a:pt x="4240691" y="1123104"/>
                </a:cubicBezTo>
                <a:cubicBezTo>
                  <a:pt x="4234595" y="1145392"/>
                  <a:pt x="4199733" y="1170062"/>
                  <a:pt x="4164491" y="1180254"/>
                </a:cubicBezTo>
                <a:cubicBezTo>
                  <a:pt x="4126962" y="1191588"/>
                  <a:pt x="4095815" y="1183111"/>
                  <a:pt x="4098673" y="1162061"/>
                </a:cubicBezTo>
                <a:cubicBezTo>
                  <a:pt x="4101531" y="1140534"/>
                  <a:pt x="4139249" y="1111293"/>
                  <a:pt x="4178112" y="1100815"/>
                </a:cubicBezTo>
                <a:cubicBezTo>
                  <a:pt x="4187827" y="1098196"/>
                  <a:pt x="4196977" y="1096886"/>
                  <a:pt x="4205142" y="1096743"/>
                </a:cubicBezTo>
                <a:close/>
                <a:moveTo>
                  <a:pt x="4910203" y="1096531"/>
                </a:moveTo>
                <a:cubicBezTo>
                  <a:pt x="4929253" y="1092911"/>
                  <a:pt x="4943731" y="1093672"/>
                  <a:pt x="4951065" y="1097959"/>
                </a:cubicBezTo>
                <a:cubicBezTo>
                  <a:pt x="4958399" y="1102245"/>
                  <a:pt x="4958971" y="1109865"/>
                  <a:pt x="4951065" y="1119961"/>
                </a:cubicBezTo>
                <a:cubicBezTo>
                  <a:pt x="4947039" y="1125019"/>
                  <a:pt x="4942399" y="1129563"/>
                  <a:pt x="4937254" y="1133487"/>
                </a:cubicBezTo>
                <a:cubicBezTo>
                  <a:pt x="4930926" y="1138268"/>
                  <a:pt x="4924203" y="1142507"/>
                  <a:pt x="4917156" y="1146155"/>
                </a:cubicBezTo>
                <a:cubicBezTo>
                  <a:pt x="4909430" y="1150175"/>
                  <a:pt x="4901443" y="1153680"/>
                  <a:pt x="4893248" y="1156633"/>
                </a:cubicBezTo>
                <a:cubicBezTo>
                  <a:pt x="4888962" y="1158061"/>
                  <a:pt x="4884676" y="1159585"/>
                  <a:pt x="4880390" y="1160824"/>
                </a:cubicBezTo>
                <a:cubicBezTo>
                  <a:pt x="4876103" y="1162062"/>
                  <a:pt x="4871722" y="1163205"/>
                  <a:pt x="4867340" y="1164157"/>
                </a:cubicBezTo>
                <a:cubicBezTo>
                  <a:pt x="4853979" y="1167910"/>
                  <a:pt x="4839840" y="1167910"/>
                  <a:pt x="4826478" y="1164157"/>
                </a:cubicBezTo>
                <a:cubicBezTo>
                  <a:pt x="4818382" y="1161109"/>
                  <a:pt x="4816286" y="1154251"/>
                  <a:pt x="4821906" y="1144441"/>
                </a:cubicBezTo>
                <a:cubicBezTo>
                  <a:pt x="4830628" y="1132220"/>
                  <a:pt x="4842291" y="1122390"/>
                  <a:pt x="4855815" y="1115866"/>
                </a:cubicBezTo>
                <a:cubicBezTo>
                  <a:pt x="4864094" y="1111284"/>
                  <a:pt x="4872726" y="1107360"/>
                  <a:pt x="4881628" y="1104150"/>
                </a:cubicBezTo>
                <a:cubicBezTo>
                  <a:pt x="4890940" y="1100873"/>
                  <a:pt x="4900494" y="1098321"/>
                  <a:pt x="4910203" y="1096531"/>
                </a:cubicBezTo>
                <a:close/>
                <a:moveTo>
                  <a:pt x="5870799" y="1090430"/>
                </a:moveTo>
                <a:cubicBezTo>
                  <a:pt x="5877619" y="1090011"/>
                  <a:pt x="5884468" y="1090069"/>
                  <a:pt x="5891278" y="1090620"/>
                </a:cubicBezTo>
                <a:cubicBezTo>
                  <a:pt x="5896345" y="1090954"/>
                  <a:pt x="5901308" y="1092183"/>
                  <a:pt x="5905947" y="1094240"/>
                </a:cubicBezTo>
                <a:cubicBezTo>
                  <a:pt x="5908661" y="1095241"/>
                  <a:pt x="5910699" y="1097527"/>
                  <a:pt x="5911376" y="1100336"/>
                </a:cubicBezTo>
                <a:cubicBezTo>
                  <a:pt x="5911947" y="1104908"/>
                  <a:pt x="5906327" y="1109861"/>
                  <a:pt x="5894517" y="1115004"/>
                </a:cubicBezTo>
                <a:cubicBezTo>
                  <a:pt x="5880820" y="1120253"/>
                  <a:pt x="5866561" y="1123929"/>
                  <a:pt x="5852035" y="1125958"/>
                </a:cubicBezTo>
                <a:cubicBezTo>
                  <a:pt x="5838014" y="1128625"/>
                  <a:pt x="5823717" y="1129578"/>
                  <a:pt x="5809458" y="1128816"/>
                </a:cubicBezTo>
                <a:cubicBezTo>
                  <a:pt x="5806677" y="1128578"/>
                  <a:pt x="5803915" y="1128197"/>
                  <a:pt x="5801172" y="1127673"/>
                </a:cubicBezTo>
                <a:cubicBezTo>
                  <a:pt x="5799076" y="1127263"/>
                  <a:pt x="5797028" y="1126625"/>
                  <a:pt x="5795076" y="1125768"/>
                </a:cubicBezTo>
                <a:cubicBezTo>
                  <a:pt x="5792313" y="1124968"/>
                  <a:pt x="5790113" y="1122872"/>
                  <a:pt x="5789170" y="1120148"/>
                </a:cubicBezTo>
                <a:cubicBezTo>
                  <a:pt x="5788122" y="1115766"/>
                  <a:pt x="5792980" y="1110623"/>
                  <a:pt x="5804124" y="1105099"/>
                </a:cubicBezTo>
                <a:cubicBezTo>
                  <a:pt x="5817935" y="1099460"/>
                  <a:pt x="5832347" y="1095440"/>
                  <a:pt x="5847082" y="1093097"/>
                </a:cubicBezTo>
                <a:lnTo>
                  <a:pt x="5853083" y="1092145"/>
                </a:lnTo>
                <a:lnTo>
                  <a:pt x="5859084" y="1091479"/>
                </a:lnTo>
                <a:cubicBezTo>
                  <a:pt x="5863084" y="1091001"/>
                  <a:pt x="5866989" y="1090716"/>
                  <a:pt x="5870799" y="1090430"/>
                </a:cubicBezTo>
                <a:close/>
                <a:moveTo>
                  <a:pt x="2410953" y="1071759"/>
                </a:moveTo>
                <a:cubicBezTo>
                  <a:pt x="2443624" y="1065377"/>
                  <a:pt x="2490201" y="1078236"/>
                  <a:pt x="2503250" y="1097476"/>
                </a:cubicBezTo>
                <a:cubicBezTo>
                  <a:pt x="2516300" y="1116717"/>
                  <a:pt x="2497345" y="1141482"/>
                  <a:pt x="2465722" y="1147863"/>
                </a:cubicBezTo>
                <a:cubicBezTo>
                  <a:pt x="2448263" y="1150778"/>
                  <a:pt x="2430384" y="1149835"/>
                  <a:pt x="2413334" y="1145101"/>
                </a:cubicBezTo>
                <a:cubicBezTo>
                  <a:pt x="2398437" y="1142091"/>
                  <a:pt x="2384845" y="1134490"/>
                  <a:pt x="2374472" y="1123384"/>
                </a:cubicBezTo>
                <a:cubicBezTo>
                  <a:pt x="2360185" y="1104334"/>
                  <a:pt x="2378282" y="1078140"/>
                  <a:pt x="2410953" y="1071759"/>
                </a:cubicBezTo>
                <a:close/>
                <a:moveTo>
                  <a:pt x="5164044" y="1068049"/>
                </a:moveTo>
                <a:cubicBezTo>
                  <a:pt x="5171341" y="1067001"/>
                  <a:pt x="5178750" y="1067001"/>
                  <a:pt x="5186047" y="1068049"/>
                </a:cubicBezTo>
                <a:cubicBezTo>
                  <a:pt x="5190919" y="1068601"/>
                  <a:pt x="5195555" y="1070440"/>
                  <a:pt x="5199477" y="1073383"/>
                </a:cubicBezTo>
                <a:cubicBezTo>
                  <a:pt x="5205192" y="1078431"/>
                  <a:pt x="5204239" y="1086051"/>
                  <a:pt x="5195191" y="1094624"/>
                </a:cubicBezTo>
                <a:cubicBezTo>
                  <a:pt x="5183244" y="1104568"/>
                  <a:pt x="5169766" y="1112512"/>
                  <a:pt x="5155281" y="1118150"/>
                </a:cubicBezTo>
                <a:cubicBezTo>
                  <a:pt x="5146969" y="1121589"/>
                  <a:pt x="5138480" y="1124580"/>
                  <a:pt x="5129849" y="1127104"/>
                </a:cubicBezTo>
                <a:cubicBezTo>
                  <a:pt x="5121764" y="1129475"/>
                  <a:pt x="5113519" y="1131257"/>
                  <a:pt x="5105179" y="1132438"/>
                </a:cubicBezTo>
                <a:cubicBezTo>
                  <a:pt x="5093499" y="1135162"/>
                  <a:pt x="5081232" y="1133714"/>
                  <a:pt x="5070508" y="1128342"/>
                </a:cubicBezTo>
                <a:cubicBezTo>
                  <a:pt x="5067538" y="1126494"/>
                  <a:pt x="5065818" y="1123170"/>
                  <a:pt x="5066032" y="1119674"/>
                </a:cubicBezTo>
                <a:cubicBezTo>
                  <a:pt x="5066732" y="1115140"/>
                  <a:pt x="5068947" y="1110978"/>
                  <a:pt x="5072318" y="1107863"/>
                </a:cubicBezTo>
                <a:cubicBezTo>
                  <a:pt x="5083830" y="1097233"/>
                  <a:pt x="5097196" y="1088804"/>
                  <a:pt x="5111752" y="1083003"/>
                </a:cubicBezTo>
                <a:cubicBezTo>
                  <a:pt x="5115943" y="1081098"/>
                  <a:pt x="5120324" y="1079384"/>
                  <a:pt x="5124706" y="1077764"/>
                </a:cubicBezTo>
                <a:cubicBezTo>
                  <a:pt x="5129087" y="1076145"/>
                  <a:pt x="5133564" y="1074716"/>
                  <a:pt x="5138041" y="1073478"/>
                </a:cubicBezTo>
                <a:cubicBezTo>
                  <a:pt x="5146548" y="1070973"/>
                  <a:pt x="5155244" y="1069154"/>
                  <a:pt x="5164044" y="1068049"/>
                </a:cubicBezTo>
                <a:close/>
                <a:moveTo>
                  <a:pt x="5657629" y="1066047"/>
                </a:moveTo>
                <a:cubicBezTo>
                  <a:pt x="5664230" y="1065819"/>
                  <a:pt x="5670831" y="1066495"/>
                  <a:pt x="5677251" y="1068048"/>
                </a:cubicBezTo>
                <a:cubicBezTo>
                  <a:pt x="5681004" y="1068686"/>
                  <a:pt x="5684395" y="1070686"/>
                  <a:pt x="5686776" y="1073667"/>
                </a:cubicBezTo>
                <a:cubicBezTo>
                  <a:pt x="5689633" y="1078239"/>
                  <a:pt x="5685442" y="1084621"/>
                  <a:pt x="5673727" y="1091384"/>
                </a:cubicBezTo>
                <a:cubicBezTo>
                  <a:pt x="5670879" y="1093098"/>
                  <a:pt x="5667916" y="1094622"/>
                  <a:pt x="5664868" y="1095956"/>
                </a:cubicBezTo>
                <a:cubicBezTo>
                  <a:pt x="5661725" y="1097480"/>
                  <a:pt x="5658296" y="1098909"/>
                  <a:pt x="5654772" y="1100242"/>
                </a:cubicBezTo>
                <a:cubicBezTo>
                  <a:pt x="5647304" y="1103081"/>
                  <a:pt x="5639665" y="1105462"/>
                  <a:pt x="5631912" y="1107386"/>
                </a:cubicBezTo>
                <a:cubicBezTo>
                  <a:pt x="5616329" y="1111339"/>
                  <a:pt x="5600356" y="1113510"/>
                  <a:pt x="5584287" y="1113863"/>
                </a:cubicBezTo>
                <a:cubicBezTo>
                  <a:pt x="5578400" y="1114006"/>
                  <a:pt x="5572514" y="1113425"/>
                  <a:pt x="5566761" y="1112148"/>
                </a:cubicBezTo>
                <a:cubicBezTo>
                  <a:pt x="5563160" y="1111615"/>
                  <a:pt x="5559817" y="1109948"/>
                  <a:pt x="5557236" y="1107386"/>
                </a:cubicBezTo>
                <a:cubicBezTo>
                  <a:pt x="5554950" y="1103290"/>
                  <a:pt x="5557807" y="1097385"/>
                  <a:pt x="5567428" y="1090622"/>
                </a:cubicBezTo>
                <a:cubicBezTo>
                  <a:pt x="5580077" y="1082754"/>
                  <a:pt x="5593859" y="1076877"/>
                  <a:pt x="5608290" y="1073191"/>
                </a:cubicBezTo>
                <a:cubicBezTo>
                  <a:pt x="5616481" y="1070867"/>
                  <a:pt x="5624816" y="1069124"/>
                  <a:pt x="5633245" y="1067952"/>
                </a:cubicBezTo>
                <a:cubicBezTo>
                  <a:pt x="5641313" y="1066733"/>
                  <a:pt x="5649466" y="1066095"/>
                  <a:pt x="5657629" y="1066047"/>
                </a:cubicBezTo>
                <a:close/>
                <a:moveTo>
                  <a:pt x="3596853" y="1064475"/>
                </a:moveTo>
                <a:cubicBezTo>
                  <a:pt x="3624388" y="1063345"/>
                  <a:pt x="3644784" y="1073454"/>
                  <a:pt x="3646427" y="1091384"/>
                </a:cubicBezTo>
                <a:cubicBezTo>
                  <a:pt x="3648427" y="1113292"/>
                  <a:pt x="3620614" y="1137866"/>
                  <a:pt x="3582990" y="1147963"/>
                </a:cubicBezTo>
                <a:cubicBezTo>
                  <a:pt x="3545366" y="1158059"/>
                  <a:pt x="3512600" y="1149677"/>
                  <a:pt x="3507457" y="1128436"/>
                </a:cubicBezTo>
                <a:cubicBezTo>
                  <a:pt x="3502218" y="1106719"/>
                  <a:pt x="3528317" y="1080811"/>
                  <a:pt x="3567369" y="1069477"/>
                </a:cubicBezTo>
                <a:cubicBezTo>
                  <a:pt x="3577704" y="1066477"/>
                  <a:pt x="3587675" y="1064852"/>
                  <a:pt x="3596853" y="1064475"/>
                </a:cubicBezTo>
                <a:close/>
                <a:moveTo>
                  <a:pt x="5408075" y="1060905"/>
                </a:moveTo>
                <a:cubicBezTo>
                  <a:pt x="5439412" y="1059476"/>
                  <a:pt x="5450557" y="1070430"/>
                  <a:pt x="5433602" y="1085384"/>
                </a:cubicBezTo>
                <a:cubicBezTo>
                  <a:pt x="5421315" y="1094557"/>
                  <a:pt x="5407608" y="1101672"/>
                  <a:pt x="5393026" y="1106435"/>
                </a:cubicBezTo>
                <a:cubicBezTo>
                  <a:pt x="5376349" y="1112434"/>
                  <a:pt x="5359019" y="1116426"/>
                  <a:pt x="5341400" y="1118340"/>
                </a:cubicBezTo>
                <a:cubicBezTo>
                  <a:pt x="5309491" y="1121293"/>
                  <a:pt x="5296156" y="1110530"/>
                  <a:pt x="5313301" y="1094814"/>
                </a:cubicBezTo>
                <a:cubicBezTo>
                  <a:pt x="5325685" y="1084889"/>
                  <a:pt x="5339751" y="1077279"/>
                  <a:pt x="5354830" y="1072335"/>
                </a:cubicBezTo>
                <a:cubicBezTo>
                  <a:pt x="5371992" y="1066182"/>
                  <a:pt x="5389898" y="1062334"/>
                  <a:pt x="5408075" y="1060905"/>
                </a:cubicBezTo>
                <a:close/>
                <a:moveTo>
                  <a:pt x="6338477" y="1054993"/>
                </a:moveTo>
                <a:cubicBezTo>
                  <a:pt x="6345526" y="1054993"/>
                  <a:pt x="6352669" y="1054993"/>
                  <a:pt x="6359527" y="1055469"/>
                </a:cubicBezTo>
                <a:cubicBezTo>
                  <a:pt x="6362956" y="1055469"/>
                  <a:pt x="6366385" y="1056041"/>
                  <a:pt x="6369624" y="1056517"/>
                </a:cubicBezTo>
                <a:cubicBezTo>
                  <a:pt x="6372862" y="1056993"/>
                  <a:pt x="6376006" y="1057565"/>
                  <a:pt x="6379149" y="1058232"/>
                </a:cubicBezTo>
                <a:cubicBezTo>
                  <a:pt x="6403342" y="1063566"/>
                  <a:pt x="6403914" y="1071471"/>
                  <a:pt x="6381149" y="1077282"/>
                </a:cubicBezTo>
                <a:cubicBezTo>
                  <a:pt x="6375072" y="1078796"/>
                  <a:pt x="6368900" y="1079911"/>
                  <a:pt x="6362671" y="1080615"/>
                </a:cubicBezTo>
                <a:cubicBezTo>
                  <a:pt x="6355879" y="1081511"/>
                  <a:pt x="6349040" y="1082025"/>
                  <a:pt x="6342192" y="1082139"/>
                </a:cubicBezTo>
                <a:cubicBezTo>
                  <a:pt x="6329019" y="1082663"/>
                  <a:pt x="6315836" y="1081768"/>
                  <a:pt x="6302854" y="1079472"/>
                </a:cubicBezTo>
                <a:cubicBezTo>
                  <a:pt x="6300253" y="1078996"/>
                  <a:pt x="6297682" y="1078396"/>
                  <a:pt x="6295138" y="1077663"/>
                </a:cubicBezTo>
                <a:cubicBezTo>
                  <a:pt x="6293176" y="1077129"/>
                  <a:pt x="6291262" y="1076434"/>
                  <a:pt x="6289423" y="1075567"/>
                </a:cubicBezTo>
                <a:cubicBezTo>
                  <a:pt x="6286375" y="1074138"/>
                  <a:pt x="6284566" y="1072614"/>
                  <a:pt x="6284280" y="1070900"/>
                </a:cubicBezTo>
                <a:cubicBezTo>
                  <a:pt x="6283518" y="1067661"/>
                  <a:pt x="6288471" y="1064042"/>
                  <a:pt x="6299329" y="1060708"/>
                </a:cubicBezTo>
                <a:cubicBezTo>
                  <a:pt x="6312102" y="1057222"/>
                  <a:pt x="6325247" y="1055307"/>
                  <a:pt x="6338477" y="1054993"/>
                </a:cubicBezTo>
                <a:close/>
                <a:moveTo>
                  <a:pt x="4467481" y="1034330"/>
                </a:moveTo>
                <a:cubicBezTo>
                  <a:pt x="4482420" y="1029397"/>
                  <a:pt x="4498549" y="1029397"/>
                  <a:pt x="4513487" y="1034330"/>
                </a:cubicBezTo>
                <a:cubicBezTo>
                  <a:pt x="4522216" y="1037255"/>
                  <a:pt x="4526923" y="1046703"/>
                  <a:pt x="4524000" y="1055428"/>
                </a:cubicBezTo>
                <a:cubicBezTo>
                  <a:pt x="4523568" y="1056714"/>
                  <a:pt x="4522980" y="1057953"/>
                  <a:pt x="4522250" y="1059095"/>
                </a:cubicBezTo>
                <a:cubicBezTo>
                  <a:pt x="4514237" y="1072554"/>
                  <a:pt x="4503012" y="1083813"/>
                  <a:pt x="4489579" y="1091861"/>
                </a:cubicBezTo>
                <a:cubicBezTo>
                  <a:pt x="4481769" y="1097119"/>
                  <a:pt x="4473588" y="1101796"/>
                  <a:pt x="4465100" y="1105863"/>
                </a:cubicBezTo>
                <a:cubicBezTo>
                  <a:pt x="4460719" y="1107768"/>
                  <a:pt x="4456337" y="1109768"/>
                  <a:pt x="4452051" y="1111388"/>
                </a:cubicBezTo>
                <a:cubicBezTo>
                  <a:pt x="4447691" y="1113074"/>
                  <a:pt x="4443239" y="1114502"/>
                  <a:pt x="4438716" y="1115674"/>
                </a:cubicBezTo>
                <a:cubicBezTo>
                  <a:pt x="4424248" y="1120456"/>
                  <a:pt x="4408666" y="1120722"/>
                  <a:pt x="4394044" y="1116436"/>
                </a:cubicBezTo>
                <a:cubicBezTo>
                  <a:pt x="4385158" y="1114236"/>
                  <a:pt x="4379739" y="1105254"/>
                  <a:pt x="4381938" y="1096367"/>
                </a:cubicBezTo>
                <a:cubicBezTo>
                  <a:pt x="4382175" y="1095405"/>
                  <a:pt x="4382497" y="1094471"/>
                  <a:pt x="4382899" y="1093576"/>
                </a:cubicBezTo>
                <a:cubicBezTo>
                  <a:pt x="4390131" y="1079565"/>
                  <a:pt x="4401027" y="1067782"/>
                  <a:pt x="4414427" y="1059476"/>
                </a:cubicBezTo>
                <a:cubicBezTo>
                  <a:pt x="4422492" y="1053790"/>
                  <a:pt x="4430996" y="1048761"/>
                  <a:pt x="4439859" y="1044427"/>
                </a:cubicBezTo>
                <a:cubicBezTo>
                  <a:pt x="4448699" y="1040131"/>
                  <a:pt x="4457954" y="1036750"/>
                  <a:pt x="4467481" y="1034330"/>
                </a:cubicBezTo>
                <a:close/>
                <a:moveTo>
                  <a:pt x="6649278" y="1009269"/>
                </a:moveTo>
                <a:cubicBezTo>
                  <a:pt x="6661937" y="1007888"/>
                  <a:pt x="6674719" y="1007888"/>
                  <a:pt x="6687378" y="1009269"/>
                </a:cubicBezTo>
                <a:lnTo>
                  <a:pt x="6696903" y="1010507"/>
                </a:lnTo>
                <a:lnTo>
                  <a:pt x="6706428" y="1012317"/>
                </a:lnTo>
                <a:cubicBezTo>
                  <a:pt x="6712181" y="1013431"/>
                  <a:pt x="6717848" y="1014955"/>
                  <a:pt x="6723382" y="1016889"/>
                </a:cubicBezTo>
                <a:cubicBezTo>
                  <a:pt x="6733955" y="1020794"/>
                  <a:pt x="6738718" y="1024414"/>
                  <a:pt x="6737765" y="1027176"/>
                </a:cubicBezTo>
                <a:cubicBezTo>
                  <a:pt x="6736813" y="1029938"/>
                  <a:pt x="6730145" y="1032034"/>
                  <a:pt x="6718144" y="1032986"/>
                </a:cubicBezTo>
                <a:cubicBezTo>
                  <a:pt x="6693664" y="1035091"/>
                  <a:pt x="6669004" y="1032529"/>
                  <a:pt x="6645468" y="1025461"/>
                </a:cubicBezTo>
                <a:cubicBezTo>
                  <a:pt x="6624894" y="1018794"/>
                  <a:pt x="6626418" y="1012412"/>
                  <a:pt x="6649278" y="1009269"/>
                </a:cubicBezTo>
                <a:close/>
                <a:moveTo>
                  <a:pt x="2827409" y="1005717"/>
                </a:moveTo>
                <a:cubicBezTo>
                  <a:pt x="2854787" y="1006347"/>
                  <a:pt x="2879754" y="1017063"/>
                  <a:pt x="2887685" y="1033565"/>
                </a:cubicBezTo>
                <a:cubicBezTo>
                  <a:pt x="2892457" y="1044585"/>
                  <a:pt x="2889828" y="1057406"/>
                  <a:pt x="2881110" y="1065664"/>
                </a:cubicBezTo>
                <a:cubicBezTo>
                  <a:pt x="2870283" y="1077018"/>
                  <a:pt x="2856091" y="1084590"/>
                  <a:pt x="2840630" y="1087286"/>
                </a:cubicBezTo>
                <a:cubicBezTo>
                  <a:pt x="2807676" y="1094144"/>
                  <a:pt x="2770432" y="1084238"/>
                  <a:pt x="2757954" y="1064997"/>
                </a:cubicBezTo>
                <a:cubicBezTo>
                  <a:pt x="2751268" y="1054796"/>
                  <a:pt x="2752125" y="1041404"/>
                  <a:pt x="2760048" y="1032136"/>
                </a:cubicBezTo>
                <a:cubicBezTo>
                  <a:pt x="2770176" y="1019944"/>
                  <a:pt x="2784215" y="1011629"/>
                  <a:pt x="2799769" y="1008609"/>
                </a:cubicBezTo>
                <a:cubicBezTo>
                  <a:pt x="2808889" y="1006418"/>
                  <a:pt x="2818283" y="1005507"/>
                  <a:pt x="2827409" y="1005717"/>
                </a:cubicBezTo>
                <a:close/>
                <a:moveTo>
                  <a:pt x="6120736" y="992797"/>
                </a:moveTo>
                <a:cubicBezTo>
                  <a:pt x="6127813" y="992721"/>
                  <a:pt x="6134880" y="993197"/>
                  <a:pt x="6141881" y="994226"/>
                </a:cubicBezTo>
                <a:cubicBezTo>
                  <a:pt x="6153787" y="996226"/>
                  <a:pt x="6159788" y="1000226"/>
                  <a:pt x="6159979" y="1004798"/>
                </a:cubicBezTo>
                <a:cubicBezTo>
                  <a:pt x="6160169" y="1009370"/>
                  <a:pt x="6154549" y="1014323"/>
                  <a:pt x="6143119" y="1018229"/>
                </a:cubicBezTo>
                <a:cubicBezTo>
                  <a:pt x="6128470" y="1022667"/>
                  <a:pt x="6113411" y="1025611"/>
                  <a:pt x="6098161" y="1026992"/>
                </a:cubicBezTo>
                <a:cubicBezTo>
                  <a:pt x="6089779" y="1027849"/>
                  <a:pt x="6081397" y="1028325"/>
                  <a:pt x="6073682" y="1028420"/>
                </a:cubicBezTo>
                <a:cubicBezTo>
                  <a:pt x="6066900" y="1028582"/>
                  <a:pt x="6060109" y="1028163"/>
                  <a:pt x="6053394" y="1027182"/>
                </a:cubicBezTo>
                <a:cubicBezTo>
                  <a:pt x="6030534" y="1023944"/>
                  <a:pt x="6028629" y="1012323"/>
                  <a:pt x="6050155" y="1003846"/>
                </a:cubicBezTo>
                <a:cubicBezTo>
                  <a:pt x="6064805" y="998760"/>
                  <a:pt x="6080035" y="995559"/>
                  <a:pt x="6095494" y="994321"/>
                </a:cubicBezTo>
                <a:cubicBezTo>
                  <a:pt x="6104067" y="993368"/>
                  <a:pt x="6112734" y="992892"/>
                  <a:pt x="6120736" y="992797"/>
                </a:cubicBezTo>
                <a:close/>
                <a:moveTo>
                  <a:pt x="3927919" y="991829"/>
                </a:moveTo>
                <a:cubicBezTo>
                  <a:pt x="3952887" y="990896"/>
                  <a:pt x="3969443" y="1000611"/>
                  <a:pt x="3969228" y="1018042"/>
                </a:cubicBezTo>
                <a:cubicBezTo>
                  <a:pt x="3968942" y="1041283"/>
                  <a:pt x="3940653" y="1066143"/>
                  <a:pt x="3902553" y="1077573"/>
                </a:cubicBezTo>
                <a:cubicBezTo>
                  <a:pt x="3862453" y="1089670"/>
                  <a:pt x="3830925" y="1080810"/>
                  <a:pt x="3830925" y="1056808"/>
                </a:cubicBezTo>
                <a:cubicBezTo>
                  <a:pt x="3830925" y="1032805"/>
                  <a:pt x="3860738" y="1007659"/>
                  <a:pt x="3900457" y="996420"/>
                </a:cubicBezTo>
                <a:cubicBezTo>
                  <a:pt x="3910339" y="993634"/>
                  <a:pt x="3919597" y="992140"/>
                  <a:pt x="3927919" y="991829"/>
                </a:cubicBezTo>
                <a:close/>
                <a:moveTo>
                  <a:pt x="4755041" y="976704"/>
                </a:moveTo>
                <a:cubicBezTo>
                  <a:pt x="4769126" y="972475"/>
                  <a:pt x="4784202" y="972952"/>
                  <a:pt x="4797998" y="978038"/>
                </a:cubicBezTo>
                <a:cubicBezTo>
                  <a:pt x="4805692" y="981324"/>
                  <a:pt x="4809267" y="990221"/>
                  <a:pt x="4805985" y="997907"/>
                </a:cubicBezTo>
                <a:cubicBezTo>
                  <a:pt x="4805471" y="999117"/>
                  <a:pt x="4804804" y="1000250"/>
                  <a:pt x="4803999" y="1001279"/>
                </a:cubicBezTo>
                <a:cubicBezTo>
                  <a:pt x="4802421" y="1004003"/>
                  <a:pt x="4800570" y="1006556"/>
                  <a:pt x="4798475" y="1008899"/>
                </a:cubicBezTo>
                <a:cubicBezTo>
                  <a:pt x="4796009" y="1011699"/>
                  <a:pt x="4793368" y="1014338"/>
                  <a:pt x="4790569" y="1016805"/>
                </a:cubicBezTo>
                <a:cubicBezTo>
                  <a:pt x="4783901" y="1022510"/>
                  <a:pt x="4776764" y="1027635"/>
                  <a:pt x="4769233" y="1032140"/>
                </a:cubicBezTo>
                <a:cubicBezTo>
                  <a:pt x="4752683" y="1041998"/>
                  <a:pt x="4734776" y="1049380"/>
                  <a:pt x="4716083" y="1054048"/>
                </a:cubicBezTo>
                <a:cubicBezTo>
                  <a:pt x="4702562" y="1058267"/>
                  <a:pt x="4688076" y="1058267"/>
                  <a:pt x="4674554" y="1054048"/>
                </a:cubicBezTo>
                <a:cubicBezTo>
                  <a:pt x="4666743" y="1051533"/>
                  <a:pt x="4662449" y="1043160"/>
                  <a:pt x="4664964" y="1035350"/>
                </a:cubicBezTo>
                <a:cubicBezTo>
                  <a:pt x="4665292" y="1034331"/>
                  <a:pt x="4665728" y="1033350"/>
                  <a:pt x="4666268" y="1032426"/>
                </a:cubicBezTo>
                <a:cubicBezTo>
                  <a:pt x="4674388" y="1018853"/>
                  <a:pt x="4685999" y="1007699"/>
                  <a:pt x="4699891" y="1000136"/>
                </a:cubicBezTo>
                <a:cubicBezTo>
                  <a:pt x="4703891" y="997564"/>
                  <a:pt x="4708273" y="995088"/>
                  <a:pt x="4712654" y="992707"/>
                </a:cubicBezTo>
                <a:cubicBezTo>
                  <a:pt x="4717146" y="990316"/>
                  <a:pt x="4721756" y="988154"/>
                  <a:pt x="4726466" y="986229"/>
                </a:cubicBezTo>
                <a:cubicBezTo>
                  <a:pt x="4735701" y="982239"/>
                  <a:pt x="4745260" y="979057"/>
                  <a:pt x="4755041" y="976704"/>
                </a:cubicBezTo>
                <a:close/>
                <a:moveTo>
                  <a:pt x="5878038" y="953079"/>
                </a:moveTo>
                <a:cubicBezTo>
                  <a:pt x="5907756" y="955651"/>
                  <a:pt x="5911090" y="965747"/>
                  <a:pt x="5887563" y="978225"/>
                </a:cubicBezTo>
                <a:cubicBezTo>
                  <a:pt x="5873447" y="985188"/>
                  <a:pt x="5858454" y="990188"/>
                  <a:pt x="5842986" y="993084"/>
                </a:cubicBezTo>
                <a:cubicBezTo>
                  <a:pt x="5834842" y="994713"/>
                  <a:pt x="5826603" y="995827"/>
                  <a:pt x="5818316" y="996418"/>
                </a:cubicBezTo>
                <a:lnTo>
                  <a:pt x="5812220" y="996418"/>
                </a:lnTo>
                <a:lnTo>
                  <a:pt x="5806124" y="996418"/>
                </a:lnTo>
                <a:cubicBezTo>
                  <a:pt x="5802124" y="996418"/>
                  <a:pt x="5798123" y="996418"/>
                  <a:pt x="5794313" y="996418"/>
                </a:cubicBezTo>
                <a:cubicBezTo>
                  <a:pt x="5765738" y="994703"/>
                  <a:pt x="5761166" y="985178"/>
                  <a:pt x="5783169" y="972320"/>
                </a:cubicBezTo>
                <a:cubicBezTo>
                  <a:pt x="5789703" y="968548"/>
                  <a:pt x="5796552" y="965357"/>
                  <a:pt x="5803648" y="962795"/>
                </a:cubicBezTo>
                <a:cubicBezTo>
                  <a:pt x="5807458" y="961366"/>
                  <a:pt x="5811363" y="960128"/>
                  <a:pt x="5815363" y="958985"/>
                </a:cubicBezTo>
                <a:cubicBezTo>
                  <a:pt x="5819364" y="957842"/>
                  <a:pt x="5823555" y="956889"/>
                  <a:pt x="5827746" y="956032"/>
                </a:cubicBezTo>
                <a:cubicBezTo>
                  <a:pt x="5844291" y="952727"/>
                  <a:pt x="5861217" y="951736"/>
                  <a:pt x="5878038" y="953079"/>
                </a:cubicBezTo>
                <a:close/>
                <a:moveTo>
                  <a:pt x="5047935" y="943748"/>
                </a:moveTo>
                <a:cubicBezTo>
                  <a:pt x="5067747" y="940796"/>
                  <a:pt x="5081653" y="941938"/>
                  <a:pt x="5088511" y="946510"/>
                </a:cubicBezTo>
                <a:cubicBezTo>
                  <a:pt x="5095369" y="951083"/>
                  <a:pt x="5095369" y="958893"/>
                  <a:pt x="5087273" y="969180"/>
                </a:cubicBezTo>
                <a:cubicBezTo>
                  <a:pt x="5077054" y="980877"/>
                  <a:pt x="5064454" y="990268"/>
                  <a:pt x="5050316" y="996707"/>
                </a:cubicBezTo>
                <a:cubicBezTo>
                  <a:pt x="5033772" y="1004956"/>
                  <a:pt x="5016079" y="1010680"/>
                  <a:pt x="4997833" y="1013662"/>
                </a:cubicBezTo>
                <a:cubicBezTo>
                  <a:pt x="4995547" y="1013662"/>
                  <a:pt x="4993261" y="1014424"/>
                  <a:pt x="4991071" y="1014614"/>
                </a:cubicBezTo>
                <a:cubicBezTo>
                  <a:pt x="4988880" y="1014805"/>
                  <a:pt x="4986880" y="1015186"/>
                  <a:pt x="4984879" y="1015376"/>
                </a:cubicBezTo>
                <a:cubicBezTo>
                  <a:pt x="4980879" y="1015376"/>
                  <a:pt x="4977259" y="1015376"/>
                  <a:pt x="4973926" y="1015376"/>
                </a:cubicBezTo>
                <a:cubicBezTo>
                  <a:pt x="4968622" y="1015395"/>
                  <a:pt x="4963381" y="1014224"/>
                  <a:pt x="4958590" y="1011947"/>
                </a:cubicBezTo>
                <a:cubicBezTo>
                  <a:pt x="4951447" y="1007851"/>
                  <a:pt x="4950589" y="1000517"/>
                  <a:pt x="4957352" y="990325"/>
                </a:cubicBezTo>
                <a:cubicBezTo>
                  <a:pt x="4961435" y="984525"/>
                  <a:pt x="4966345" y="979362"/>
                  <a:pt x="4971925" y="974990"/>
                </a:cubicBezTo>
                <a:cubicBezTo>
                  <a:pt x="4978590" y="969923"/>
                  <a:pt x="4985775" y="965579"/>
                  <a:pt x="4993357" y="962036"/>
                </a:cubicBezTo>
                <a:cubicBezTo>
                  <a:pt x="5010469" y="953092"/>
                  <a:pt x="5028891" y="946920"/>
                  <a:pt x="5047935" y="943748"/>
                </a:cubicBezTo>
                <a:close/>
                <a:moveTo>
                  <a:pt x="5607814" y="930601"/>
                </a:moveTo>
                <a:cubicBezTo>
                  <a:pt x="5614281" y="930382"/>
                  <a:pt x="5620730" y="931317"/>
                  <a:pt x="5626864" y="933364"/>
                </a:cubicBezTo>
                <a:cubicBezTo>
                  <a:pt x="5630855" y="934345"/>
                  <a:pt x="5634284" y="936878"/>
                  <a:pt x="5636389" y="940412"/>
                </a:cubicBezTo>
                <a:cubicBezTo>
                  <a:pt x="5639151" y="946127"/>
                  <a:pt x="5634770" y="953652"/>
                  <a:pt x="5622578" y="960986"/>
                </a:cubicBezTo>
                <a:cubicBezTo>
                  <a:pt x="5615853" y="964710"/>
                  <a:pt x="5608852" y="967892"/>
                  <a:pt x="5601623" y="970511"/>
                </a:cubicBezTo>
                <a:cubicBezTo>
                  <a:pt x="5593155" y="973788"/>
                  <a:pt x="5584497" y="976588"/>
                  <a:pt x="5575715" y="978893"/>
                </a:cubicBezTo>
                <a:cubicBezTo>
                  <a:pt x="5571238" y="980131"/>
                  <a:pt x="5566190" y="981179"/>
                  <a:pt x="5562189" y="982132"/>
                </a:cubicBezTo>
                <a:cubicBezTo>
                  <a:pt x="5558189" y="983084"/>
                  <a:pt x="5553331" y="984037"/>
                  <a:pt x="5549045" y="984799"/>
                </a:cubicBezTo>
                <a:cubicBezTo>
                  <a:pt x="5541406" y="986170"/>
                  <a:pt x="5533662" y="986875"/>
                  <a:pt x="5525899" y="986894"/>
                </a:cubicBezTo>
                <a:cubicBezTo>
                  <a:pt x="5511992" y="986894"/>
                  <a:pt x="5503039" y="983370"/>
                  <a:pt x="5499896" y="978322"/>
                </a:cubicBezTo>
                <a:cubicBezTo>
                  <a:pt x="5496752" y="973273"/>
                  <a:pt x="5499705" y="966606"/>
                  <a:pt x="5509516" y="959462"/>
                </a:cubicBezTo>
                <a:cubicBezTo>
                  <a:pt x="5523546" y="950481"/>
                  <a:pt x="5538872" y="943708"/>
                  <a:pt x="5554950" y="939364"/>
                </a:cubicBezTo>
                <a:cubicBezTo>
                  <a:pt x="5564018" y="936632"/>
                  <a:pt x="5573238" y="934468"/>
                  <a:pt x="5582573" y="932887"/>
                </a:cubicBezTo>
                <a:cubicBezTo>
                  <a:pt x="5590916" y="931487"/>
                  <a:pt x="5599356" y="930725"/>
                  <a:pt x="5607814" y="930601"/>
                </a:cubicBezTo>
                <a:close/>
                <a:moveTo>
                  <a:pt x="3206122" y="926341"/>
                </a:moveTo>
                <a:cubicBezTo>
                  <a:pt x="3232125" y="926265"/>
                  <a:pt x="3253682" y="936624"/>
                  <a:pt x="3259539" y="953840"/>
                </a:cubicBezTo>
                <a:cubicBezTo>
                  <a:pt x="3267350" y="976796"/>
                  <a:pt x="3244873" y="1001084"/>
                  <a:pt x="3209343" y="1010514"/>
                </a:cubicBezTo>
                <a:cubicBezTo>
                  <a:pt x="3173720" y="1020039"/>
                  <a:pt x="3138476" y="1010514"/>
                  <a:pt x="3129524" y="988321"/>
                </a:cubicBezTo>
                <a:cubicBezTo>
                  <a:pt x="3120569" y="966128"/>
                  <a:pt x="3142097" y="939934"/>
                  <a:pt x="3179054" y="930028"/>
                </a:cubicBezTo>
                <a:cubicBezTo>
                  <a:pt x="3188293" y="927551"/>
                  <a:pt x="3197454" y="926367"/>
                  <a:pt x="3206122" y="926341"/>
                </a:cubicBezTo>
                <a:close/>
                <a:moveTo>
                  <a:pt x="5344162" y="924126"/>
                </a:moveTo>
                <a:cubicBezTo>
                  <a:pt x="5347733" y="924182"/>
                  <a:pt x="5351295" y="924478"/>
                  <a:pt x="5354830" y="924983"/>
                </a:cubicBezTo>
                <a:cubicBezTo>
                  <a:pt x="5359802" y="925498"/>
                  <a:pt x="5364526" y="927412"/>
                  <a:pt x="5368451" y="930508"/>
                </a:cubicBezTo>
                <a:cubicBezTo>
                  <a:pt x="5373880" y="935746"/>
                  <a:pt x="5371785" y="943651"/>
                  <a:pt x="5361212" y="952986"/>
                </a:cubicBezTo>
                <a:cubicBezTo>
                  <a:pt x="5355622" y="957796"/>
                  <a:pt x="5349521" y="961977"/>
                  <a:pt x="5343019" y="965464"/>
                </a:cubicBezTo>
                <a:cubicBezTo>
                  <a:pt x="5335482" y="969645"/>
                  <a:pt x="5327651" y="973274"/>
                  <a:pt x="5319588" y="976322"/>
                </a:cubicBezTo>
                <a:cubicBezTo>
                  <a:pt x="5311141" y="979589"/>
                  <a:pt x="5302485" y="982294"/>
                  <a:pt x="5293679" y="984418"/>
                </a:cubicBezTo>
                <a:cubicBezTo>
                  <a:pt x="5285161" y="986571"/>
                  <a:pt x="5276505" y="988133"/>
                  <a:pt x="5267771" y="989085"/>
                </a:cubicBezTo>
                <a:cubicBezTo>
                  <a:pt x="5251103" y="990705"/>
                  <a:pt x="5239196" y="989085"/>
                  <a:pt x="5233767" y="984228"/>
                </a:cubicBezTo>
                <a:cubicBezTo>
                  <a:pt x="5228338" y="979370"/>
                  <a:pt x="5228910" y="972607"/>
                  <a:pt x="5237101" y="963844"/>
                </a:cubicBezTo>
                <a:cubicBezTo>
                  <a:pt x="5248605" y="952968"/>
                  <a:pt x="5262133" y="944462"/>
                  <a:pt x="5276916" y="938794"/>
                </a:cubicBezTo>
                <a:cubicBezTo>
                  <a:pt x="5285573" y="935156"/>
                  <a:pt x="5294487" y="932165"/>
                  <a:pt x="5303586" y="929841"/>
                </a:cubicBezTo>
                <a:cubicBezTo>
                  <a:pt x="5312585" y="927450"/>
                  <a:pt x="5321756" y="925764"/>
                  <a:pt x="5331018" y="924793"/>
                </a:cubicBezTo>
                <a:cubicBezTo>
                  <a:pt x="5335780" y="924316"/>
                  <a:pt x="5340543" y="924126"/>
                  <a:pt x="5344162" y="924126"/>
                </a:cubicBezTo>
                <a:close/>
                <a:moveTo>
                  <a:pt x="4259835" y="908648"/>
                </a:moveTo>
                <a:cubicBezTo>
                  <a:pt x="4285083" y="907112"/>
                  <a:pt x="4300460" y="917578"/>
                  <a:pt x="4296602" y="936509"/>
                </a:cubicBezTo>
                <a:cubicBezTo>
                  <a:pt x="4291840" y="959655"/>
                  <a:pt x="4259550" y="986039"/>
                  <a:pt x="4222784" y="996993"/>
                </a:cubicBezTo>
                <a:cubicBezTo>
                  <a:pt x="4186017" y="1007947"/>
                  <a:pt x="4158871" y="1000136"/>
                  <a:pt x="4160300" y="977466"/>
                </a:cubicBezTo>
                <a:cubicBezTo>
                  <a:pt x="4162014" y="954606"/>
                  <a:pt x="4193351" y="926698"/>
                  <a:pt x="4231642" y="914316"/>
                </a:cubicBezTo>
                <a:cubicBezTo>
                  <a:pt x="4241905" y="911006"/>
                  <a:pt x="4251419" y="909160"/>
                  <a:pt x="4259835" y="908648"/>
                </a:cubicBezTo>
                <a:close/>
                <a:moveTo>
                  <a:pt x="6415343" y="908593"/>
                </a:moveTo>
                <a:cubicBezTo>
                  <a:pt x="6423440" y="908593"/>
                  <a:pt x="6431631" y="908593"/>
                  <a:pt x="6439156" y="909260"/>
                </a:cubicBezTo>
                <a:cubicBezTo>
                  <a:pt x="6445985" y="909736"/>
                  <a:pt x="6452767" y="910717"/>
                  <a:pt x="6459444" y="912213"/>
                </a:cubicBezTo>
                <a:cubicBezTo>
                  <a:pt x="6463997" y="913108"/>
                  <a:pt x="6468379" y="914746"/>
                  <a:pt x="6472398" y="917070"/>
                </a:cubicBezTo>
                <a:cubicBezTo>
                  <a:pt x="6474713" y="918175"/>
                  <a:pt x="6476351" y="920347"/>
                  <a:pt x="6476780" y="922881"/>
                </a:cubicBezTo>
                <a:cubicBezTo>
                  <a:pt x="6476599" y="925395"/>
                  <a:pt x="6475113" y="927634"/>
                  <a:pt x="6472874" y="928786"/>
                </a:cubicBezTo>
                <a:cubicBezTo>
                  <a:pt x="6469074" y="931139"/>
                  <a:pt x="6464931" y="932872"/>
                  <a:pt x="6460587" y="933930"/>
                </a:cubicBezTo>
                <a:cubicBezTo>
                  <a:pt x="6445395" y="937320"/>
                  <a:pt x="6429869" y="939006"/>
                  <a:pt x="6414296" y="938978"/>
                </a:cubicBezTo>
                <a:cubicBezTo>
                  <a:pt x="6399065" y="939559"/>
                  <a:pt x="6383816" y="938378"/>
                  <a:pt x="6368861" y="935454"/>
                </a:cubicBezTo>
                <a:cubicBezTo>
                  <a:pt x="6364823" y="934577"/>
                  <a:pt x="6360956" y="933034"/>
                  <a:pt x="6357431" y="930881"/>
                </a:cubicBezTo>
                <a:cubicBezTo>
                  <a:pt x="6355384" y="929748"/>
                  <a:pt x="6354117" y="927595"/>
                  <a:pt x="6354098" y="925262"/>
                </a:cubicBezTo>
                <a:cubicBezTo>
                  <a:pt x="6354574" y="921261"/>
                  <a:pt x="6360384" y="917070"/>
                  <a:pt x="6371528" y="913927"/>
                </a:cubicBezTo>
                <a:cubicBezTo>
                  <a:pt x="6378139" y="912251"/>
                  <a:pt x="6384854" y="911012"/>
                  <a:pt x="6391626" y="910212"/>
                </a:cubicBezTo>
                <a:lnTo>
                  <a:pt x="6403247" y="909164"/>
                </a:lnTo>
                <a:cubicBezTo>
                  <a:pt x="6407247" y="909164"/>
                  <a:pt x="6411248" y="909164"/>
                  <a:pt x="6415343" y="908593"/>
                </a:cubicBezTo>
                <a:close/>
                <a:moveTo>
                  <a:pt x="1403194" y="894969"/>
                </a:moveTo>
                <a:cubicBezTo>
                  <a:pt x="1430883" y="894721"/>
                  <a:pt x="1457201" y="907056"/>
                  <a:pt x="1474727" y="928497"/>
                </a:cubicBezTo>
                <a:cubicBezTo>
                  <a:pt x="1489585" y="948023"/>
                  <a:pt x="1485681" y="959929"/>
                  <a:pt x="1463202" y="963453"/>
                </a:cubicBezTo>
                <a:cubicBezTo>
                  <a:pt x="1456896" y="964482"/>
                  <a:pt x="1450458" y="964482"/>
                  <a:pt x="1444151" y="963453"/>
                </a:cubicBezTo>
                <a:cubicBezTo>
                  <a:pt x="1437607" y="962406"/>
                  <a:pt x="1431217" y="960577"/>
                  <a:pt x="1425102" y="958024"/>
                </a:cubicBezTo>
                <a:cubicBezTo>
                  <a:pt x="1412147" y="952709"/>
                  <a:pt x="1400613" y="944461"/>
                  <a:pt x="1391383" y="933926"/>
                </a:cubicBezTo>
                <a:cubicBezTo>
                  <a:pt x="1382335" y="923258"/>
                  <a:pt x="1379001" y="913923"/>
                  <a:pt x="1381095" y="906970"/>
                </a:cubicBezTo>
                <a:cubicBezTo>
                  <a:pt x="1382277" y="903398"/>
                  <a:pt x="1384811" y="900426"/>
                  <a:pt x="1388145" y="898683"/>
                </a:cubicBezTo>
                <a:cubicBezTo>
                  <a:pt x="1392840" y="896388"/>
                  <a:pt x="1397974" y="895121"/>
                  <a:pt x="1403194" y="894969"/>
                </a:cubicBezTo>
                <a:close/>
                <a:moveTo>
                  <a:pt x="1827438" y="875347"/>
                </a:moveTo>
                <a:cubicBezTo>
                  <a:pt x="1841087" y="873766"/>
                  <a:pt x="1854918" y="875395"/>
                  <a:pt x="1867824" y="880110"/>
                </a:cubicBezTo>
                <a:cubicBezTo>
                  <a:pt x="1880359" y="884501"/>
                  <a:pt x="1891570" y="892006"/>
                  <a:pt x="1900399" y="901922"/>
                </a:cubicBezTo>
                <a:cubicBezTo>
                  <a:pt x="1909924" y="912399"/>
                  <a:pt x="1912211" y="922020"/>
                  <a:pt x="1908591" y="929544"/>
                </a:cubicBezTo>
                <a:cubicBezTo>
                  <a:pt x="1904971" y="937069"/>
                  <a:pt x="1895542" y="942403"/>
                  <a:pt x="1880492" y="944403"/>
                </a:cubicBezTo>
                <a:cubicBezTo>
                  <a:pt x="1867100" y="946061"/>
                  <a:pt x="1853508" y="944594"/>
                  <a:pt x="1840773" y="940117"/>
                </a:cubicBezTo>
                <a:cubicBezTo>
                  <a:pt x="1834534" y="937936"/>
                  <a:pt x="1828581" y="934993"/>
                  <a:pt x="1823056" y="931354"/>
                </a:cubicBezTo>
                <a:cubicBezTo>
                  <a:pt x="1817637" y="927820"/>
                  <a:pt x="1812712" y="923591"/>
                  <a:pt x="1808388" y="918781"/>
                </a:cubicBezTo>
                <a:cubicBezTo>
                  <a:pt x="1798863" y="907923"/>
                  <a:pt x="1795815" y="898017"/>
                  <a:pt x="1798863" y="890206"/>
                </a:cubicBezTo>
                <a:cubicBezTo>
                  <a:pt x="1800863" y="886044"/>
                  <a:pt x="1804226" y="882681"/>
                  <a:pt x="1808388" y="880681"/>
                </a:cubicBezTo>
                <a:cubicBezTo>
                  <a:pt x="1814360" y="877766"/>
                  <a:pt x="1820818" y="875966"/>
                  <a:pt x="1827438" y="875347"/>
                </a:cubicBezTo>
                <a:close/>
                <a:moveTo>
                  <a:pt x="6802726" y="852869"/>
                </a:moveTo>
                <a:cubicBezTo>
                  <a:pt x="6810060" y="852869"/>
                  <a:pt x="6817870" y="853822"/>
                  <a:pt x="6825776" y="854870"/>
                </a:cubicBezTo>
                <a:cubicBezTo>
                  <a:pt x="6833682" y="855917"/>
                  <a:pt x="6841397" y="857251"/>
                  <a:pt x="6848827" y="858965"/>
                </a:cubicBezTo>
                <a:lnTo>
                  <a:pt x="6859399" y="861728"/>
                </a:lnTo>
                <a:cubicBezTo>
                  <a:pt x="6862733" y="862775"/>
                  <a:pt x="6865972" y="863823"/>
                  <a:pt x="6868924" y="864966"/>
                </a:cubicBezTo>
                <a:cubicBezTo>
                  <a:pt x="6874001" y="866614"/>
                  <a:pt x="6878764" y="869090"/>
                  <a:pt x="6883021" y="872300"/>
                </a:cubicBezTo>
                <a:cubicBezTo>
                  <a:pt x="6885784" y="874586"/>
                  <a:pt x="6886736" y="876777"/>
                  <a:pt x="6885879" y="878587"/>
                </a:cubicBezTo>
                <a:cubicBezTo>
                  <a:pt x="6883955" y="880987"/>
                  <a:pt x="6881135" y="882502"/>
                  <a:pt x="6878068" y="882778"/>
                </a:cubicBezTo>
                <a:cubicBezTo>
                  <a:pt x="6872172" y="883940"/>
                  <a:pt x="6866172" y="884483"/>
                  <a:pt x="6860161" y="884397"/>
                </a:cubicBezTo>
                <a:cubicBezTo>
                  <a:pt x="6856828" y="884397"/>
                  <a:pt x="6853399" y="884397"/>
                  <a:pt x="6849779" y="884397"/>
                </a:cubicBezTo>
                <a:lnTo>
                  <a:pt x="6838635" y="883730"/>
                </a:lnTo>
                <a:cubicBezTo>
                  <a:pt x="6831110" y="883064"/>
                  <a:pt x="6823395" y="882206"/>
                  <a:pt x="6815775" y="880968"/>
                </a:cubicBezTo>
                <a:cubicBezTo>
                  <a:pt x="6808155" y="879730"/>
                  <a:pt x="6800916" y="878587"/>
                  <a:pt x="6794248" y="876968"/>
                </a:cubicBezTo>
                <a:cubicBezTo>
                  <a:pt x="6788267" y="875663"/>
                  <a:pt x="6782371" y="873948"/>
                  <a:pt x="6776627" y="871824"/>
                </a:cubicBezTo>
                <a:cubicBezTo>
                  <a:pt x="6767102" y="868109"/>
                  <a:pt x="6762530" y="864299"/>
                  <a:pt x="6763578" y="860966"/>
                </a:cubicBezTo>
                <a:cubicBezTo>
                  <a:pt x="6764626" y="857632"/>
                  <a:pt x="6771007" y="854679"/>
                  <a:pt x="6782723" y="853441"/>
                </a:cubicBezTo>
                <a:cubicBezTo>
                  <a:pt x="6789372" y="852850"/>
                  <a:pt x="6796049" y="852660"/>
                  <a:pt x="6802726" y="852869"/>
                </a:cubicBezTo>
                <a:close/>
                <a:moveTo>
                  <a:pt x="3597936" y="846683"/>
                </a:moveTo>
                <a:cubicBezTo>
                  <a:pt x="3623685" y="846875"/>
                  <a:pt x="3640901" y="858948"/>
                  <a:pt x="3641187" y="879165"/>
                </a:cubicBezTo>
                <a:cubicBezTo>
                  <a:pt x="3641187" y="903454"/>
                  <a:pt x="3615279" y="926790"/>
                  <a:pt x="3578132" y="935553"/>
                </a:cubicBezTo>
                <a:cubicBezTo>
                  <a:pt x="3540984" y="944316"/>
                  <a:pt x="3513457" y="933934"/>
                  <a:pt x="3510028" y="909836"/>
                </a:cubicBezTo>
                <a:cubicBezTo>
                  <a:pt x="3506599" y="885356"/>
                  <a:pt x="3530983" y="860877"/>
                  <a:pt x="3569655" y="850590"/>
                </a:cubicBezTo>
                <a:cubicBezTo>
                  <a:pt x="3579823" y="847875"/>
                  <a:pt x="3589354" y="846619"/>
                  <a:pt x="3597936" y="846683"/>
                </a:cubicBezTo>
                <a:close/>
                <a:moveTo>
                  <a:pt x="6140166" y="836680"/>
                </a:moveTo>
                <a:cubicBezTo>
                  <a:pt x="6148386" y="836604"/>
                  <a:pt x="6156597" y="837109"/>
                  <a:pt x="6164740" y="838205"/>
                </a:cubicBezTo>
                <a:cubicBezTo>
                  <a:pt x="6170951" y="838957"/>
                  <a:pt x="6177056" y="840424"/>
                  <a:pt x="6182933" y="842586"/>
                </a:cubicBezTo>
                <a:cubicBezTo>
                  <a:pt x="6187124" y="844396"/>
                  <a:pt x="6189410" y="846491"/>
                  <a:pt x="6189791" y="848682"/>
                </a:cubicBezTo>
                <a:cubicBezTo>
                  <a:pt x="6190648" y="853254"/>
                  <a:pt x="6183886" y="858207"/>
                  <a:pt x="6169598" y="864113"/>
                </a:cubicBezTo>
                <a:cubicBezTo>
                  <a:pt x="6154644" y="869694"/>
                  <a:pt x="6139071" y="873438"/>
                  <a:pt x="6123211" y="875257"/>
                </a:cubicBezTo>
                <a:cubicBezTo>
                  <a:pt x="6115182" y="876200"/>
                  <a:pt x="6107105" y="876676"/>
                  <a:pt x="6099018" y="876685"/>
                </a:cubicBezTo>
                <a:cubicBezTo>
                  <a:pt x="6091312" y="876657"/>
                  <a:pt x="6083616" y="876181"/>
                  <a:pt x="6075967" y="875257"/>
                </a:cubicBezTo>
                <a:cubicBezTo>
                  <a:pt x="6049012" y="871542"/>
                  <a:pt x="6046249" y="862493"/>
                  <a:pt x="6069300" y="851539"/>
                </a:cubicBezTo>
                <a:cubicBezTo>
                  <a:pt x="6083787" y="844996"/>
                  <a:pt x="6099161" y="840624"/>
                  <a:pt x="6114925" y="838585"/>
                </a:cubicBezTo>
                <a:cubicBezTo>
                  <a:pt x="6123288" y="837433"/>
                  <a:pt x="6131717" y="836795"/>
                  <a:pt x="6140166" y="836680"/>
                </a:cubicBezTo>
                <a:close/>
                <a:moveTo>
                  <a:pt x="4569113" y="835924"/>
                </a:moveTo>
                <a:cubicBezTo>
                  <a:pt x="4583069" y="831962"/>
                  <a:pt x="4597931" y="832590"/>
                  <a:pt x="4611499" y="837734"/>
                </a:cubicBezTo>
                <a:cubicBezTo>
                  <a:pt x="4620553" y="841306"/>
                  <a:pt x="4625001" y="851536"/>
                  <a:pt x="4621434" y="860584"/>
                </a:cubicBezTo>
                <a:cubicBezTo>
                  <a:pt x="4621308" y="860908"/>
                  <a:pt x="4621170" y="861232"/>
                  <a:pt x="4621024" y="861546"/>
                </a:cubicBezTo>
                <a:cubicBezTo>
                  <a:pt x="4613684" y="875767"/>
                  <a:pt x="4602581" y="887693"/>
                  <a:pt x="4588925" y="896027"/>
                </a:cubicBezTo>
                <a:cubicBezTo>
                  <a:pt x="4580820" y="901637"/>
                  <a:pt x="4572247" y="906552"/>
                  <a:pt x="4563302" y="910695"/>
                </a:cubicBezTo>
                <a:cubicBezTo>
                  <a:pt x="4558730" y="912791"/>
                  <a:pt x="4553777" y="914791"/>
                  <a:pt x="4549491" y="916506"/>
                </a:cubicBezTo>
                <a:cubicBezTo>
                  <a:pt x="4544974" y="918258"/>
                  <a:pt x="4540364" y="919754"/>
                  <a:pt x="4535680" y="920982"/>
                </a:cubicBezTo>
                <a:cubicBezTo>
                  <a:pt x="4521356" y="925688"/>
                  <a:pt x="4505903" y="925688"/>
                  <a:pt x="4491579" y="920982"/>
                </a:cubicBezTo>
                <a:cubicBezTo>
                  <a:pt x="4486957" y="919296"/>
                  <a:pt x="4483168" y="915877"/>
                  <a:pt x="4481006" y="911457"/>
                </a:cubicBezTo>
                <a:cubicBezTo>
                  <a:pt x="4479048" y="906762"/>
                  <a:pt x="4479048" y="901485"/>
                  <a:pt x="4481006" y="896789"/>
                </a:cubicBezTo>
                <a:cubicBezTo>
                  <a:pt x="4488245" y="881863"/>
                  <a:pt x="4499660" y="869357"/>
                  <a:pt x="4513867" y="860784"/>
                </a:cubicBezTo>
                <a:cubicBezTo>
                  <a:pt x="4522286" y="854898"/>
                  <a:pt x="4531211" y="849764"/>
                  <a:pt x="4540538" y="845449"/>
                </a:cubicBezTo>
                <a:cubicBezTo>
                  <a:pt x="4549736" y="841372"/>
                  <a:pt x="4559305" y="838181"/>
                  <a:pt x="4569113" y="835924"/>
                </a:cubicBezTo>
                <a:close/>
                <a:moveTo>
                  <a:pt x="2270259" y="810484"/>
                </a:moveTo>
                <a:cubicBezTo>
                  <a:pt x="2286671" y="808979"/>
                  <a:pt x="2303197" y="811570"/>
                  <a:pt x="2318360" y="818009"/>
                </a:cubicBezTo>
                <a:cubicBezTo>
                  <a:pt x="2331934" y="822419"/>
                  <a:pt x="2343564" y="831363"/>
                  <a:pt x="2351317" y="843345"/>
                </a:cubicBezTo>
                <a:cubicBezTo>
                  <a:pt x="2359889" y="861157"/>
                  <a:pt x="2343983" y="883636"/>
                  <a:pt x="2319884" y="888399"/>
                </a:cubicBezTo>
                <a:cubicBezTo>
                  <a:pt x="2304082" y="890637"/>
                  <a:pt x="2287976" y="888904"/>
                  <a:pt x="2273021" y="883351"/>
                </a:cubicBezTo>
                <a:cubicBezTo>
                  <a:pt x="2259058" y="879483"/>
                  <a:pt x="2246637" y="871359"/>
                  <a:pt x="2237493" y="860110"/>
                </a:cubicBezTo>
                <a:cubicBezTo>
                  <a:pt x="2225015" y="840488"/>
                  <a:pt x="2242160" y="814104"/>
                  <a:pt x="2270259" y="810484"/>
                </a:cubicBezTo>
                <a:close/>
                <a:moveTo>
                  <a:pt x="4914074" y="787385"/>
                </a:moveTo>
                <a:cubicBezTo>
                  <a:pt x="4921447" y="787949"/>
                  <a:pt x="4928719" y="789818"/>
                  <a:pt x="4935540" y="792966"/>
                </a:cubicBezTo>
                <a:cubicBezTo>
                  <a:pt x="4944398" y="798491"/>
                  <a:pt x="4946589" y="807730"/>
                  <a:pt x="4939254" y="818779"/>
                </a:cubicBezTo>
                <a:cubicBezTo>
                  <a:pt x="4928870" y="831562"/>
                  <a:pt x="4915882" y="841982"/>
                  <a:pt x="4901154" y="849354"/>
                </a:cubicBezTo>
                <a:cubicBezTo>
                  <a:pt x="4884527" y="858918"/>
                  <a:pt x="4866541" y="865880"/>
                  <a:pt x="4847814" y="870024"/>
                </a:cubicBezTo>
                <a:cubicBezTo>
                  <a:pt x="4843851" y="870786"/>
                  <a:pt x="4839842" y="871300"/>
                  <a:pt x="4835813" y="871548"/>
                </a:cubicBezTo>
                <a:cubicBezTo>
                  <a:pt x="4832229" y="871786"/>
                  <a:pt x="4828634" y="871786"/>
                  <a:pt x="4825050" y="871548"/>
                </a:cubicBezTo>
                <a:cubicBezTo>
                  <a:pt x="4819295" y="871310"/>
                  <a:pt x="4813653" y="869881"/>
                  <a:pt x="4808476" y="867357"/>
                </a:cubicBezTo>
                <a:cubicBezTo>
                  <a:pt x="4800628" y="863775"/>
                  <a:pt x="4797173" y="854507"/>
                  <a:pt x="4800756" y="846659"/>
                </a:cubicBezTo>
                <a:cubicBezTo>
                  <a:pt x="4801037" y="846049"/>
                  <a:pt x="4801356" y="845449"/>
                  <a:pt x="4801713" y="844878"/>
                </a:cubicBezTo>
                <a:cubicBezTo>
                  <a:pt x="4805037" y="838725"/>
                  <a:pt x="4809459" y="833238"/>
                  <a:pt x="4814763" y="828685"/>
                </a:cubicBezTo>
                <a:cubicBezTo>
                  <a:pt x="4817715" y="825923"/>
                  <a:pt x="4821144" y="823161"/>
                  <a:pt x="4824288" y="820399"/>
                </a:cubicBezTo>
                <a:cubicBezTo>
                  <a:pt x="4827431" y="817636"/>
                  <a:pt x="4832003" y="815065"/>
                  <a:pt x="4836194" y="812493"/>
                </a:cubicBezTo>
                <a:cubicBezTo>
                  <a:pt x="4853467" y="801958"/>
                  <a:pt x="4872309" y="794243"/>
                  <a:pt x="4892010" y="789633"/>
                </a:cubicBezTo>
                <a:cubicBezTo>
                  <a:pt x="4899230" y="787561"/>
                  <a:pt x="4906702" y="786820"/>
                  <a:pt x="4914074" y="787385"/>
                </a:cubicBezTo>
                <a:close/>
                <a:moveTo>
                  <a:pt x="5859846" y="783818"/>
                </a:moveTo>
                <a:cubicBezTo>
                  <a:pt x="5875562" y="784580"/>
                  <a:pt x="5884611" y="789247"/>
                  <a:pt x="5886516" y="795058"/>
                </a:cubicBezTo>
                <a:cubicBezTo>
                  <a:pt x="5888421" y="800868"/>
                  <a:pt x="5883087" y="808107"/>
                  <a:pt x="5870228" y="814870"/>
                </a:cubicBezTo>
                <a:cubicBezTo>
                  <a:pt x="5855093" y="822137"/>
                  <a:pt x="5839091" y="827424"/>
                  <a:pt x="5822603" y="830586"/>
                </a:cubicBezTo>
                <a:cubicBezTo>
                  <a:pt x="5806144" y="834615"/>
                  <a:pt x="5789256" y="836596"/>
                  <a:pt x="5772311" y="836492"/>
                </a:cubicBezTo>
                <a:cubicBezTo>
                  <a:pt x="5757357" y="836492"/>
                  <a:pt x="5748308" y="832205"/>
                  <a:pt x="5745832" y="826967"/>
                </a:cubicBezTo>
                <a:cubicBezTo>
                  <a:pt x="5743355" y="821728"/>
                  <a:pt x="5747641" y="814203"/>
                  <a:pt x="5759548" y="807059"/>
                </a:cubicBezTo>
                <a:cubicBezTo>
                  <a:pt x="5774521" y="799106"/>
                  <a:pt x="5790561" y="793334"/>
                  <a:pt x="5807173" y="789914"/>
                </a:cubicBezTo>
                <a:cubicBezTo>
                  <a:pt x="5811840" y="788867"/>
                  <a:pt x="5816698" y="787819"/>
                  <a:pt x="5821270" y="787057"/>
                </a:cubicBezTo>
                <a:cubicBezTo>
                  <a:pt x="5825842" y="786295"/>
                  <a:pt x="5830795" y="785628"/>
                  <a:pt x="5834986" y="785152"/>
                </a:cubicBezTo>
                <a:cubicBezTo>
                  <a:pt x="5843225" y="784018"/>
                  <a:pt x="5851540" y="783571"/>
                  <a:pt x="5859846" y="783818"/>
                </a:cubicBezTo>
                <a:close/>
                <a:moveTo>
                  <a:pt x="5540568" y="763437"/>
                </a:moveTo>
                <a:cubicBezTo>
                  <a:pt x="5547969" y="763037"/>
                  <a:pt x="5555379" y="763513"/>
                  <a:pt x="5562666" y="764866"/>
                </a:cubicBezTo>
                <a:cubicBezTo>
                  <a:pt x="5567133" y="765532"/>
                  <a:pt x="5571267" y="767599"/>
                  <a:pt x="5574477" y="770771"/>
                </a:cubicBezTo>
                <a:cubicBezTo>
                  <a:pt x="5578858" y="775819"/>
                  <a:pt x="5576001" y="783249"/>
                  <a:pt x="5564952" y="792012"/>
                </a:cubicBezTo>
                <a:cubicBezTo>
                  <a:pt x="5551417" y="802480"/>
                  <a:pt x="5536129" y="810443"/>
                  <a:pt x="5519803" y="815539"/>
                </a:cubicBezTo>
                <a:cubicBezTo>
                  <a:pt x="5515327" y="816968"/>
                  <a:pt x="5510278" y="818301"/>
                  <a:pt x="5506183" y="819539"/>
                </a:cubicBezTo>
                <a:cubicBezTo>
                  <a:pt x="5502087" y="820777"/>
                  <a:pt x="5496658" y="821825"/>
                  <a:pt x="5492371" y="822682"/>
                </a:cubicBezTo>
                <a:cubicBezTo>
                  <a:pt x="5483332" y="824502"/>
                  <a:pt x="5474160" y="825550"/>
                  <a:pt x="5464939" y="825826"/>
                </a:cubicBezTo>
                <a:cubicBezTo>
                  <a:pt x="5458138" y="826102"/>
                  <a:pt x="5451328" y="825597"/>
                  <a:pt x="5444651" y="824302"/>
                </a:cubicBezTo>
                <a:cubicBezTo>
                  <a:pt x="5440546" y="823721"/>
                  <a:pt x="5436755" y="821778"/>
                  <a:pt x="5433888" y="818777"/>
                </a:cubicBezTo>
                <a:cubicBezTo>
                  <a:pt x="5429983" y="813824"/>
                  <a:pt x="5432840" y="806395"/>
                  <a:pt x="5443413" y="797346"/>
                </a:cubicBezTo>
                <a:cubicBezTo>
                  <a:pt x="5449242" y="792288"/>
                  <a:pt x="5455633" y="787907"/>
                  <a:pt x="5462463" y="784297"/>
                </a:cubicBezTo>
                <a:cubicBezTo>
                  <a:pt x="5470159" y="780201"/>
                  <a:pt x="5478151" y="776705"/>
                  <a:pt x="5486371" y="773819"/>
                </a:cubicBezTo>
                <a:cubicBezTo>
                  <a:pt x="5490657" y="772295"/>
                  <a:pt x="5495038" y="770962"/>
                  <a:pt x="5499515" y="769723"/>
                </a:cubicBezTo>
                <a:cubicBezTo>
                  <a:pt x="5501801" y="769057"/>
                  <a:pt x="5503992" y="768485"/>
                  <a:pt x="5506278" y="768009"/>
                </a:cubicBezTo>
                <a:lnTo>
                  <a:pt x="5513136" y="766580"/>
                </a:lnTo>
                <a:cubicBezTo>
                  <a:pt x="5522185" y="764837"/>
                  <a:pt x="5531357" y="763780"/>
                  <a:pt x="5540568" y="763437"/>
                </a:cubicBezTo>
                <a:close/>
                <a:moveTo>
                  <a:pt x="5223576" y="762008"/>
                </a:moveTo>
                <a:cubicBezTo>
                  <a:pt x="5242626" y="760008"/>
                  <a:pt x="5256056" y="762008"/>
                  <a:pt x="5261676" y="767152"/>
                </a:cubicBezTo>
                <a:cubicBezTo>
                  <a:pt x="5267295" y="772295"/>
                  <a:pt x="5265771" y="780582"/>
                  <a:pt x="5256151" y="791059"/>
                </a:cubicBezTo>
                <a:cubicBezTo>
                  <a:pt x="5244787" y="802604"/>
                  <a:pt x="5231214" y="811738"/>
                  <a:pt x="5216241" y="817920"/>
                </a:cubicBezTo>
                <a:cubicBezTo>
                  <a:pt x="5199437" y="825492"/>
                  <a:pt x="5181580" y="830464"/>
                  <a:pt x="5163282" y="832684"/>
                </a:cubicBezTo>
                <a:cubicBezTo>
                  <a:pt x="5155613" y="833722"/>
                  <a:pt x="5147854" y="833950"/>
                  <a:pt x="5140137" y="833350"/>
                </a:cubicBezTo>
                <a:cubicBezTo>
                  <a:pt x="5135172" y="833112"/>
                  <a:pt x="5130366" y="831531"/>
                  <a:pt x="5126230" y="828778"/>
                </a:cubicBezTo>
                <a:cubicBezTo>
                  <a:pt x="5120229" y="824111"/>
                  <a:pt x="5120801" y="816205"/>
                  <a:pt x="5129183" y="805823"/>
                </a:cubicBezTo>
                <a:cubicBezTo>
                  <a:pt x="5133971" y="799975"/>
                  <a:pt x="5139512" y="794784"/>
                  <a:pt x="5145661" y="790393"/>
                </a:cubicBezTo>
                <a:lnTo>
                  <a:pt x="5150900" y="786773"/>
                </a:lnTo>
                <a:lnTo>
                  <a:pt x="5156329" y="783439"/>
                </a:lnTo>
                <a:cubicBezTo>
                  <a:pt x="5160139" y="781344"/>
                  <a:pt x="5164140" y="779248"/>
                  <a:pt x="5168331" y="777343"/>
                </a:cubicBezTo>
                <a:cubicBezTo>
                  <a:pt x="5176902" y="773419"/>
                  <a:pt x="5185793" y="770238"/>
                  <a:pt x="5194905" y="767818"/>
                </a:cubicBezTo>
                <a:cubicBezTo>
                  <a:pt x="5199573" y="766485"/>
                  <a:pt x="5204430" y="765342"/>
                  <a:pt x="5209098" y="764389"/>
                </a:cubicBezTo>
                <a:cubicBezTo>
                  <a:pt x="5213765" y="763437"/>
                  <a:pt x="5218813" y="762008"/>
                  <a:pt x="5223576" y="762008"/>
                </a:cubicBezTo>
                <a:close/>
                <a:moveTo>
                  <a:pt x="3963304" y="759873"/>
                </a:moveTo>
                <a:cubicBezTo>
                  <a:pt x="3986481" y="759793"/>
                  <a:pt x="4000589" y="770723"/>
                  <a:pt x="3999804" y="790011"/>
                </a:cubicBezTo>
                <a:cubicBezTo>
                  <a:pt x="3998756" y="815729"/>
                  <a:pt x="3972753" y="839541"/>
                  <a:pt x="3936272" y="850400"/>
                </a:cubicBezTo>
                <a:cubicBezTo>
                  <a:pt x="3899601" y="861353"/>
                  <a:pt x="3872645" y="852686"/>
                  <a:pt x="3870645" y="828873"/>
                </a:cubicBezTo>
                <a:cubicBezTo>
                  <a:pt x="3868454" y="802584"/>
                  <a:pt x="3896743" y="774771"/>
                  <a:pt x="3937320" y="763722"/>
                </a:cubicBezTo>
                <a:cubicBezTo>
                  <a:pt x="3946845" y="761150"/>
                  <a:pt x="3955578" y="759900"/>
                  <a:pt x="3963304" y="759873"/>
                </a:cubicBezTo>
                <a:close/>
                <a:moveTo>
                  <a:pt x="2725048" y="743859"/>
                </a:moveTo>
                <a:cubicBezTo>
                  <a:pt x="2750351" y="745002"/>
                  <a:pt x="2774568" y="756861"/>
                  <a:pt x="2782712" y="774291"/>
                </a:cubicBezTo>
                <a:cubicBezTo>
                  <a:pt x="2792237" y="795056"/>
                  <a:pt x="2776426" y="818678"/>
                  <a:pt x="2747661" y="826488"/>
                </a:cubicBezTo>
                <a:cubicBezTo>
                  <a:pt x="2716224" y="834965"/>
                  <a:pt x="2677362" y="822678"/>
                  <a:pt x="2665742" y="800104"/>
                </a:cubicBezTo>
                <a:cubicBezTo>
                  <a:pt x="2654883" y="779055"/>
                  <a:pt x="2670314" y="754574"/>
                  <a:pt x="2699936" y="746478"/>
                </a:cubicBezTo>
                <a:cubicBezTo>
                  <a:pt x="2708056" y="744288"/>
                  <a:pt x="2716612" y="743478"/>
                  <a:pt x="2725048" y="743859"/>
                </a:cubicBezTo>
                <a:close/>
                <a:moveTo>
                  <a:pt x="6490781" y="729616"/>
                </a:moveTo>
                <a:cubicBezTo>
                  <a:pt x="6504974" y="729406"/>
                  <a:pt x="6519128" y="731073"/>
                  <a:pt x="6532882" y="734568"/>
                </a:cubicBezTo>
                <a:cubicBezTo>
                  <a:pt x="6546312" y="738188"/>
                  <a:pt x="6551932" y="742474"/>
                  <a:pt x="6550503" y="746665"/>
                </a:cubicBezTo>
                <a:cubicBezTo>
                  <a:pt x="6549074" y="750856"/>
                  <a:pt x="6540026" y="754952"/>
                  <a:pt x="6524214" y="758286"/>
                </a:cubicBezTo>
                <a:cubicBezTo>
                  <a:pt x="6509851" y="761153"/>
                  <a:pt x="6495239" y="762620"/>
                  <a:pt x="6480590" y="762667"/>
                </a:cubicBezTo>
                <a:cubicBezTo>
                  <a:pt x="6466950" y="762829"/>
                  <a:pt x="6453329" y="761429"/>
                  <a:pt x="6440013" y="758476"/>
                </a:cubicBezTo>
                <a:cubicBezTo>
                  <a:pt x="6427059" y="755333"/>
                  <a:pt x="6420963" y="751428"/>
                  <a:pt x="6422297" y="747237"/>
                </a:cubicBezTo>
                <a:cubicBezTo>
                  <a:pt x="6423630" y="743046"/>
                  <a:pt x="6431822" y="738569"/>
                  <a:pt x="6446681" y="734759"/>
                </a:cubicBezTo>
                <a:cubicBezTo>
                  <a:pt x="6453777" y="733073"/>
                  <a:pt x="6460968" y="731797"/>
                  <a:pt x="6468207" y="730949"/>
                </a:cubicBezTo>
                <a:cubicBezTo>
                  <a:pt x="6475694" y="730025"/>
                  <a:pt x="6483238" y="729587"/>
                  <a:pt x="6490781" y="729616"/>
                </a:cubicBezTo>
                <a:close/>
                <a:moveTo>
                  <a:pt x="4323749" y="681037"/>
                </a:moveTo>
                <a:cubicBezTo>
                  <a:pt x="4331548" y="681037"/>
                  <a:pt x="4339348" y="682373"/>
                  <a:pt x="4346799" y="685045"/>
                </a:cubicBezTo>
                <a:cubicBezTo>
                  <a:pt x="4357257" y="689474"/>
                  <a:pt x="4362315" y="701399"/>
                  <a:pt x="4358229" y="712000"/>
                </a:cubicBezTo>
                <a:cubicBezTo>
                  <a:pt x="4352773" y="726726"/>
                  <a:pt x="4343017" y="739470"/>
                  <a:pt x="4330226" y="748576"/>
                </a:cubicBezTo>
                <a:cubicBezTo>
                  <a:pt x="4322874" y="754396"/>
                  <a:pt x="4314962" y="759473"/>
                  <a:pt x="4306604" y="763721"/>
                </a:cubicBezTo>
                <a:cubicBezTo>
                  <a:pt x="4302413" y="765912"/>
                  <a:pt x="4297936" y="767912"/>
                  <a:pt x="4293459" y="769722"/>
                </a:cubicBezTo>
                <a:lnTo>
                  <a:pt x="4286696" y="772198"/>
                </a:lnTo>
                <a:lnTo>
                  <a:pt x="4280219" y="774199"/>
                </a:lnTo>
                <a:cubicBezTo>
                  <a:pt x="4245453" y="783343"/>
                  <a:pt x="4221260" y="772198"/>
                  <a:pt x="4225260" y="748100"/>
                </a:cubicBezTo>
                <a:cubicBezTo>
                  <a:pt x="4228996" y="733460"/>
                  <a:pt x="4237468" y="720468"/>
                  <a:pt x="4249358" y="711143"/>
                </a:cubicBezTo>
                <a:cubicBezTo>
                  <a:pt x="4252707" y="708228"/>
                  <a:pt x="4256204" y="705495"/>
                  <a:pt x="4259836" y="702952"/>
                </a:cubicBezTo>
                <a:lnTo>
                  <a:pt x="4262693" y="701047"/>
                </a:lnTo>
                <a:lnTo>
                  <a:pt x="4264122" y="700189"/>
                </a:lnTo>
                <a:lnTo>
                  <a:pt x="4264789" y="700189"/>
                </a:lnTo>
                <a:lnTo>
                  <a:pt x="4265646" y="699713"/>
                </a:lnTo>
                <a:lnTo>
                  <a:pt x="4272123" y="696094"/>
                </a:lnTo>
                <a:cubicBezTo>
                  <a:pt x="4281239" y="691426"/>
                  <a:pt x="4290816" y="687731"/>
                  <a:pt x="4300698" y="685045"/>
                </a:cubicBezTo>
                <a:cubicBezTo>
                  <a:pt x="4308150" y="682373"/>
                  <a:pt x="4315949" y="681037"/>
                  <a:pt x="4323749" y="681037"/>
                </a:cubicBezTo>
                <a:close/>
                <a:moveTo>
                  <a:pt x="3130661" y="660182"/>
                </a:moveTo>
                <a:cubicBezTo>
                  <a:pt x="3145119" y="656496"/>
                  <a:pt x="3160331" y="657058"/>
                  <a:pt x="3174476" y="661802"/>
                </a:cubicBezTo>
                <a:cubicBezTo>
                  <a:pt x="3186363" y="665554"/>
                  <a:pt x="3196079" y="674222"/>
                  <a:pt x="3201145" y="685614"/>
                </a:cubicBezTo>
                <a:cubicBezTo>
                  <a:pt x="3210671" y="709141"/>
                  <a:pt x="3191621" y="735049"/>
                  <a:pt x="3159046" y="744383"/>
                </a:cubicBezTo>
                <a:cubicBezTo>
                  <a:pt x="3126470" y="753718"/>
                  <a:pt x="3093513" y="742382"/>
                  <a:pt x="3084560" y="718666"/>
                </a:cubicBezTo>
                <a:cubicBezTo>
                  <a:pt x="3075701" y="694472"/>
                  <a:pt x="3096085" y="668279"/>
                  <a:pt x="3130661" y="660182"/>
                </a:cubicBezTo>
                <a:close/>
                <a:moveTo>
                  <a:pt x="6177599" y="636939"/>
                </a:moveTo>
                <a:cubicBezTo>
                  <a:pt x="6185896" y="636815"/>
                  <a:pt x="6194183" y="637454"/>
                  <a:pt x="6202364" y="638844"/>
                </a:cubicBezTo>
                <a:cubicBezTo>
                  <a:pt x="6207375" y="639587"/>
                  <a:pt x="6212175" y="641378"/>
                  <a:pt x="6216461" y="644083"/>
                </a:cubicBezTo>
                <a:cubicBezTo>
                  <a:pt x="6219147" y="645635"/>
                  <a:pt x="6220786" y="648512"/>
                  <a:pt x="6220748" y="651608"/>
                </a:cubicBezTo>
                <a:cubicBezTo>
                  <a:pt x="6220748" y="657037"/>
                  <a:pt x="6213604" y="663038"/>
                  <a:pt x="6200745" y="668181"/>
                </a:cubicBezTo>
                <a:cubicBezTo>
                  <a:pt x="6193440" y="671020"/>
                  <a:pt x="6185924" y="673277"/>
                  <a:pt x="6178266" y="674944"/>
                </a:cubicBezTo>
                <a:cubicBezTo>
                  <a:pt x="6174075" y="675896"/>
                  <a:pt x="6169789" y="676754"/>
                  <a:pt x="6165312" y="677516"/>
                </a:cubicBezTo>
                <a:cubicBezTo>
                  <a:pt x="6160835" y="678278"/>
                  <a:pt x="6156359" y="679040"/>
                  <a:pt x="6151882" y="679706"/>
                </a:cubicBezTo>
                <a:cubicBezTo>
                  <a:pt x="6142357" y="680850"/>
                  <a:pt x="6133784" y="681611"/>
                  <a:pt x="6125402" y="681897"/>
                </a:cubicBezTo>
                <a:cubicBezTo>
                  <a:pt x="6117868" y="682231"/>
                  <a:pt x="6110324" y="682002"/>
                  <a:pt x="6102828" y="681230"/>
                </a:cubicBezTo>
                <a:cubicBezTo>
                  <a:pt x="6076920" y="677897"/>
                  <a:pt x="6073205" y="664752"/>
                  <a:pt x="6095780" y="653513"/>
                </a:cubicBezTo>
                <a:cubicBezTo>
                  <a:pt x="6103276" y="649969"/>
                  <a:pt x="6111086" y="647131"/>
                  <a:pt x="6119116" y="645035"/>
                </a:cubicBezTo>
                <a:lnTo>
                  <a:pt x="6126069" y="643226"/>
                </a:lnTo>
                <a:lnTo>
                  <a:pt x="6133213" y="641797"/>
                </a:lnTo>
                <a:cubicBezTo>
                  <a:pt x="6138071" y="640844"/>
                  <a:pt x="6142738" y="639987"/>
                  <a:pt x="6148072" y="639320"/>
                </a:cubicBezTo>
                <a:cubicBezTo>
                  <a:pt x="6157854" y="637939"/>
                  <a:pt x="6167722" y="637149"/>
                  <a:pt x="6177599" y="636939"/>
                </a:cubicBezTo>
                <a:close/>
                <a:moveTo>
                  <a:pt x="4717453" y="604082"/>
                </a:moveTo>
                <a:cubicBezTo>
                  <a:pt x="4724442" y="605130"/>
                  <a:pt x="4730038" y="607416"/>
                  <a:pt x="4733990" y="610655"/>
                </a:cubicBezTo>
                <a:cubicBezTo>
                  <a:pt x="4741896" y="617132"/>
                  <a:pt x="4743515" y="627419"/>
                  <a:pt x="4735705" y="639230"/>
                </a:cubicBezTo>
                <a:cubicBezTo>
                  <a:pt x="4731722" y="645497"/>
                  <a:pt x="4726844" y="651136"/>
                  <a:pt x="4721227" y="655994"/>
                </a:cubicBezTo>
                <a:cubicBezTo>
                  <a:pt x="4714686" y="661937"/>
                  <a:pt x="4707607" y="667262"/>
                  <a:pt x="4700081" y="671901"/>
                </a:cubicBezTo>
                <a:cubicBezTo>
                  <a:pt x="4692153" y="676873"/>
                  <a:pt x="4683840" y="681207"/>
                  <a:pt x="4675221" y="684855"/>
                </a:cubicBezTo>
                <a:cubicBezTo>
                  <a:pt x="4670935" y="686664"/>
                  <a:pt x="4666553" y="688284"/>
                  <a:pt x="4662267" y="689713"/>
                </a:cubicBezTo>
                <a:lnTo>
                  <a:pt x="4655790" y="691618"/>
                </a:lnTo>
                <a:lnTo>
                  <a:pt x="4649313" y="693237"/>
                </a:lnTo>
                <a:cubicBezTo>
                  <a:pt x="4635447" y="697504"/>
                  <a:pt x="4620511" y="696656"/>
                  <a:pt x="4607213" y="690855"/>
                </a:cubicBezTo>
                <a:cubicBezTo>
                  <a:pt x="4598245" y="685360"/>
                  <a:pt x="4595430" y="673634"/>
                  <a:pt x="4600926" y="664662"/>
                </a:cubicBezTo>
                <a:cubicBezTo>
                  <a:pt x="4609343" y="649498"/>
                  <a:pt x="4621637" y="636839"/>
                  <a:pt x="4636550" y="627990"/>
                </a:cubicBezTo>
                <a:cubicBezTo>
                  <a:pt x="4640836" y="625228"/>
                  <a:pt x="4645313" y="622656"/>
                  <a:pt x="4649885" y="620180"/>
                </a:cubicBezTo>
                <a:cubicBezTo>
                  <a:pt x="4654457" y="617704"/>
                  <a:pt x="4659410" y="615608"/>
                  <a:pt x="4663982" y="613608"/>
                </a:cubicBezTo>
                <a:cubicBezTo>
                  <a:pt x="4673189" y="609760"/>
                  <a:pt x="4682763" y="606855"/>
                  <a:pt x="4692557" y="604940"/>
                </a:cubicBezTo>
                <a:cubicBezTo>
                  <a:pt x="4702082" y="603225"/>
                  <a:pt x="4710464" y="603035"/>
                  <a:pt x="4717453" y="604082"/>
                </a:cubicBezTo>
                <a:close/>
                <a:moveTo>
                  <a:pt x="5832985" y="583790"/>
                </a:moveTo>
                <a:cubicBezTo>
                  <a:pt x="5849654" y="584742"/>
                  <a:pt x="5859369" y="588552"/>
                  <a:pt x="5861560" y="594077"/>
                </a:cubicBezTo>
                <a:cubicBezTo>
                  <a:pt x="5863751" y="599601"/>
                  <a:pt x="5858798" y="606936"/>
                  <a:pt x="5846129" y="614936"/>
                </a:cubicBezTo>
                <a:cubicBezTo>
                  <a:pt x="5831670" y="623500"/>
                  <a:pt x="5816049" y="629919"/>
                  <a:pt x="5799743" y="633986"/>
                </a:cubicBezTo>
                <a:cubicBezTo>
                  <a:pt x="5795456" y="635129"/>
                  <a:pt x="5790980" y="636082"/>
                  <a:pt x="5786598" y="636939"/>
                </a:cubicBezTo>
                <a:lnTo>
                  <a:pt x="5780026" y="638082"/>
                </a:lnTo>
                <a:lnTo>
                  <a:pt x="5773549" y="639035"/>
                </a:lnTo>
                <a:cubicBezTo>
                  <a:pt x="5765214" y="640149"/>
                  <a:pt x="5756814" y="640625"/>
                  <a:pt x="5748403" y="640463"/>
                </a:cubicBezTo>
                <a:cubicBezTo>
                  <a:pt x="5732496" y="639892"/>
                  <a:pt x="5722971" y="636558"/>
                  <a:pt x="5719828" y="630938"/>
                </a:cubicBezTo>
                <a:cubicBezTo>
                  <a:pt x="5718437" y="627805"/>
                  <a:pt x="5718837" y="624166"/>
                  <a:pt x="5720876" y="621413"/>
                </a:cubicBezTo>
                <a:cubicBezTo>
                  <a:pt x="5724038" y="616851"/>
                  <a:pt x="5728086" y="612965"/>
                  <a:pt x="5732782" y="609984"/>
                </a:cubicBezTo>
                <a:cubicBezTo>
                  <a:pt x="5747184" y="600954"/>
                  <a:pt x="5762995" y="594391"/>
                  <a:pt x="5779550" y="590553"/>
                </a:cubicBezTo>
                <a:cubicBezTo>
                  <a:pt x="5796923" y="585647"/>
                  <a:pt x="5814935" y="583361"/>
                  <a:pt x="5832985" y="583790"/>
                </a:cubicBezTo>
                <a:close/>
                <a:moveTo>
                  <a:pt x="3574570" y="576038"/>
                </a:moveTo>
                <a:cubicBezTo>
                  <a:pt x="3597475" y="576011"/>
                  <a:pt x="3614352" y="587102"/>
                  <a:pt x="3617566" y="606176"/>
                </a:cubicBezTo>
                <a:cubicBezTo>
                  <a:pt x="3621852" y="631607"/>
                  <a:pt x="3600230" y="656182"/>
                  <a:pt x="3566893" y="666088"/>
                </a:cubicBezTo>
                <a:cubicBezTo>
                  <a:pt x="3533555" y="675994"/>
                  <a:pt x="3505075" y="666088"/>
                  <a:pt x="3499646" y="641418"/>
                </a:cubicBezTo>
                <a:cubicBezTo>
                  <a:pt x="3494217" y="616748"/>
                  <a:pt x="3515363" y="590555"/>
                  <a:pt x="3549938" y="579887"/>
                </a:cubicBezTo>
                <a:cubicBezTo>
                  <a:pt x="3558630" y="577291"/>
                  <a:pt x="3566935" y="576047"/>
                  <a:pt x="3574570" y="576038"/>
                </a:cubicBezTo>
                <a:close/>
                <a:moveTo>
                  <a:pt x="5093271" y="566833"/>
                </a:moveTo>
                <a:cubicBezTo>
                  <a:pt x="5099537" y="568047"/>
                  <a:pt x="5105565" y="570486"/>
                  <a:pt x="5110990" y="574077"/>
                </a:cubicBezTo>
                <a:cubicBezTo>
                  <a:pt x="5117848" y="580173"/>
                  <a:pt x="5118610" y="589317"/>
                  <a:pt x="5110990" y="599509"/>
                </a:cubicBezTo>
                <a:cubicBezTo>
                  <a:pt x="5099329" y="613139"/>
                  <a:pt x="5084786" y="624007"/>
                  <a:pt x="5068413" y="631322"/>
                </a:cubicBezTo>
                <a:cubicBezTo>
                  <a:pt x="5050573" y="640847"/>
                  <a:pt x="5031251" y="647296"/>
                  <a:pt x="5011263" y="650372"/>
                </a:cubicBezTo>
                <a:cubicBezTo>
                  <a:pt x="5004187" y="651382"/>
                  <a:pt x="4997003" y="651382"/>
                  <a:pt x="4989927" y="650372"/>
                </a:cubicBezTo>
                <a:cubicBezTo>
                  <a:pt x="4984640" y="649705"/>
                  <a:pt x="4979602" y="647743"/>
                  <a:pt x="4975258" y="644657"/>
                </a:cubicBezTo>
                <a:cubicBezTo>
                  <a:pt x="4967842" y="638942"/>
                  <a:pt x="4966466" y="628293"/>
                  <a:pt x="4972183" y="620883"/>
                </a:cubicBezTo>
                <a:cubicBezTo>
                  <a:pt x="4972315" y="620702"/>
                  <a:pt x="4972451" y="620540"/>
                  <a:pt x="4972591" y="620369"/>
                </a:cubicBezTo>
                <a:cubicBezTo>
                  <a:pt x="4983497" y="605957"/>
                  <a:pt x="4997752" y="594413"/>
                  <a:pt x="5014120" y="586745"/>
                </a:cubicBezTo>
                <a:cubicBezTo>
                  <a:pt x="5023742" y="581640"/>
                  <a:pt x="5033741" y="577277"/>
                  <a:pt x="5044029" y="573696"/>
                </a:cubicBezTo>
                <a:cubicBezTo>
                  <a:pt x="5048954" y="571915"/>
                  <a:pt x="5053979" y="570419"/>
                  <a:pt x="5059078" y="569219"/>
                </a:cubicBezTo>
                <a:cubicBezTo>
                  <a:pt x="5064041" y="568133"/>
                  <a:pt x="5069067" y="567372"/>
                  <a:pt x="5074128" y="566933"/>
                </a:cubicBezTo>
                <a:cubicBezTo>
                  <a:pt x="5080502" y="565628"/>
                  <a:pt x="5087005" y="565618"/>
                  <a:pt x="5093271" y="566833"/>
                </a:cubicBezTo>
                <a:close/>
                <a:moveTo>
                  <a:pt x="5467606" y="553694"/>
                </a:moveTo>
                <a:cubicBezTo>
                  <a:pt x="5484560" y="552646"/>
                  <a:pt x="5496181" y="555980"/>
                  <a:pt x="5501991" y="561886"/>
                </a:cubicBezTo>
                <a:cubicBezTo>
                  <a:pt x="5507801" y="567791"/>
                  <a:pt x="5506372" y="576173"/>
                  <a:pt x="5497228" y="585317"/>
                </a:cubicBezTo>
                <a:cubicBezTo>
                  <a:pt x="5483436" y="597166"/>
                  <a:pt x="5467491" y="606253"/>
                  <a:pt x="5450270" y="612082"/>
                </a:cubicBezTo>
                <a:lnTo>
                  <a:pt x="5442841" y="614845"/>
                </a:lnTo>
                <a:lnTo>
                  <a:pt x="5435316" y="617321"/>
                </a:lnTo>
                <a:cubicBezTo>
                  <a:pt x="5430268" y="618940"/>
                  <a:pt x="5425219" y="620369"/>
                  <a:pt x="5420266" y="621607"/>
                </a:cubicBezTo>
                <a:cubicBezTo>
                  <a:pt x="5411151" y="623903"/>
                  <a:pt x="5401835" y="625341"/>
                  <a:pt x="5392453" y="625894"/>
                </a:cubicBezTo>
                <a:cubicBezTo>
                  <a:pt x="5385858" y="626322"/>
                  <a:pt x="5379237" y="625703"/>
                  <a:pt x="5372832" y="624084"/>
                </a:cubicBezTo>
                <a:cubicBezTo>
                  <a:pt x="5368389" y="623112"/>
                  <a:pt x="5364359" y="620788"/>
                  <a:pt x="5361307" y="617416"/>
                </a:cubicBezTo>
                <a:cubicBezTo>
                  <a:pt x="5356258" y="611701"/>
                  <a:pt x="5357497" y="603415"/>
                  <a:pt x="5366450" y="594175"/>
                </a:cubicBezTo>
                <a:cubicBezTo>
                  <a:pt x="5372162" y="588698"/>
                  <a:pt x="5378566" y="583993"/>
                  <a:pt x="5385500" y="580174"/>
                </a:cubicBezTo>
                <a:cubicBezTo>
                  <a:pt x="5393767" y="575411"/>
                  <a:pt x="5402359" y="571239"/>
                  <a:pt x="5411218" y="567696"/>
                </a:cubicBezTo>
                <a:cubicBezTo>
                  <a:pt x="5420533" y="563924"/>
                  <a:pt x="5430077" y="560743"/>
                  <a:pt x="5439793" y="558171"/>
                </a:cubicBezTo>
                <a:cubicBezTo>
                  <a:pt x="5448918" y="555885"/>
                  <a:pt x="5458223" y="554389"/>
                  <a:pt x="5467606" y="553694"/>
                </a:cubicBezTo>
                <a:close/>
                <a:moveTo>
                  <a:pt x="3987742" y="480175"/>
                </a:moveTo>
                <a:cubicBezTo>
                  <a:pt x="4009495" y="480157"/>
                  <a:pt x="4023640" y="491661"/>
                  <a:pt x="4023425" y="511307"/>
                </a:cubicBezTo>
                <a:cubicBezTo>
                  <a:pt x="4023139" y="537501"/>
                  <a:pt x="3998565" y="562932"/>
                  <a:pt x="3965323" y="573219"/>
                </a:cubicBezTo>
                <a:cubicBezTo>
                  <a:pt x="3932080" y="583507"/>
                  <a:pt x="3906744" y="573219"/>
                  <a:pt x="3905696" y="547692"/>
                </a:cubicBezTo>
                <a:cubicBezTo>
                  <a:pt x="3904648" y="522166"/>
                  <a:pt x="3929223" y="494733"/>
                  <a:pt x="3963703" y="484158"/>
                </a:cubicBezTo>
                <a:cubicBezTo>
                  <a:pt x="3972395" y="481466"/>
                  <a:pt x="3980491" y="480181"/>
                  <a:pt x="3987742" y="480175"/>
                </a:cubicBezTo>
                <a:close/>
                <a:moveTo>
                  <a:pt x="4425381" y="392145"/>
                </a:moveTo>
                <a:cubicBezTo>
                  <a:pt x="4431401" y="392335"/>
                  <a:pt x="4437298" y="393897"/>
                  <a:pt x="4442621" y="396717"/>
                </a:cubicBezTo>
                <a:cubicBezTo>
                  <a:pt x="4451885" y="401803"/>
                  <a:pt x="4456115" y="412843"/>
                  <a:pt x="4452623" y="422816"/>
                </a:cubicBezTo>
                <a:cubicBezTo>
                  <a:pt x="4450725" y="429731"/>
                  <a:pt x="4447489" y="436199"/>
                  <a:pt x="4443098" y="441865"/>
                </a:cubicBezTo>
                <a:cubicBezTo>
                  <a:pt x="4437903" y="448676"/>
                  <a:pt x="4431853" y="454791"/>
                  <a:pt x="4425095" y="460059"/>
                </a:cubicBezTo>
                <a:cubicBezTo>
                  <a:pt x="4410347" y="471994"/>
                  <a:pt x="4393289" y="480746"/>
                  <a:pt x="4374994" y="485776"/>
                </a:cubicBezTo>
                <a:cubicBezTo>
                  <a:pt x="4361031" y="490882"/>
                  <a:pt x="4345713" y="490882"/>
                  <a:pt x="4331750" y="485776"/>
                </a:cubicBezTo>
                <a:cubicBezTo>
                  <a:pt x="4321541" y="480947"/>
                  <a:pt x="4316644" y="469174"/>
                  <a:pt x="4320416" y="458535"/>
                </a:cubicBezTo>
                <a:cubicBezTo>
                  <a:pt x="4325677" y="442952"/>
                  <a:pt x="4335666" y="429406"/>
                  <a:pt x="4348991" y="419768"/>
                </a:cubicBezTo>
                <a:cubicBezTo>
                  <a:pt x="4364548" y="407633"/>
                  <a:pt x="4382551" y="399023"/>
                  <a:pt x="4401759" y="394527"/>
                </a:cubicBezTo>
                <a:cubicBezTo>
                  <a:pt x="4409486" y="392649"/>
                  <a:pt x="4417435" y="391850"/>
                  <a:pt x="4425381" y="392145"/>
                </a:cubicBezTo>
                <a:close/>
                <a:moveTo>
                  <a:pt x="6173028" y="391609"/>
                </a:moveTo>
                <a:cubicBezTo>
                  <a:pt x="6189857" y="389282"/>
                  <a:pt x="6207018" y="389373"/>
                  <a:pt x="6223987" y="391954"/>
                </a:cubicBezTo>
                <a:cubicBezTo>
                  <a:pt x="6253324" y="397573"/>
                  <a:pt x="6251228" y="410146"/>
                  <a:pt x="6219796" y="423291"/>
                </a:cubicBezTo>
                <a:cubicBezTo>
                  <a:pt x="6203946" y="429758"/>
                  <a:pt x="6187334" y="434178"/>
                  <a:pt x="6170361" y="436436"/>
                </a:cubicBezTo>
                <a:cubicBezTo>
                  <a:pt x="6154378" y="438721"/>
                  <a:pt x="6138147" y="438721"/>
                  <a:pt x="6122164" y="436436"/>
                </a:cubicBezTo>
                <a:cubicBezTo>
                  <a:pt x="6116687" y="435769"/>
                  <a:pt x="6111373" y="434159"/>
                  <a:pt x="6106448" y="431673"/>
                </a:cubicBezTo>
                <a:cubicBezTo>
                  <a:pt x="6103019" y="429673"/>
                  <a:pt x="6101305" y="427291"/>
                  <a:pt x="6101495" y="424624"/>
                </a:cubicBezTo>
                <a:cubicBezTo>
                  <a:pt x="6102114" y="420967"/>
                  <a:pt x="6104219" y="417728"/>
                  <a:pt x="6107305" y="415671"/>
                </a:cubicBezTo>
                <a:cubicBezTo>
                  <a:pt x="6112449" y="411661"/>
                  <a:pt x="6118078" y="408337"/>
                  <a:pt x="6124069" y="405765"/>
                </a:cubicBezTo>
                <a:cubicBezTo>
                  <a:pt x="6139705" y="398679"/>
                  <a:pt x="6156200" y="393935"/>
                  <a:pt x="6173028" y="391609"/>
                </a:cubicBezTo>
                <a:close/>
                <a:moveTo>
                  <a:pt x="5785456" y="317277"/>
                </a:moveTo>
                <a:cubicBezTo>
                  <a:pt x="5789675" y="316935"/>
                  <a:pt x="5793904" y="316935"/>
                  <a:pt x="5798124" y="317277"/>
                </a:cubicBezTo>
                <a:cubicBezTo>
                  <a:pt x="5825937" y="320040"/>
                  <a:pt x="5829461" y="338614"/>
                  <a:pt x="5805934" y="353950"/>
                </a:cubicBezTo>
                <a:cubicBezTo>
                  <a:pt x="5798972" y="358293"/>
                  <a:pt x="5791637" y="362027"/>
                  <a:pt x="5784027" y="365093"/>
                </a:cubicBezTo>
                <a:cubicBezTo>
                  <a:pt x="5775092" y="368769"/>
                  <a:pt x="5765968" y="371952"/>
                  <a:pt x="5756690" y="374618"/>
                </a:cubicBezTo>
                <a:cubicBezTo>
                  <a:pt x="5747441" y="377218"/>
                  <a:pt x="5738059" y="379314"/>
                  <a:pt x="5728591" y="380905"/>
                </a:cubicBezTo>
                <a:cubicBezTo>
                  <a:pt x="5720581" y="382428"/>
                  <a:pt x="5712456" y="383190"/>
                  <a:pt x="5704303" y="383190"/>
                </a:cubicBezTo>
                <a:cubicBezTo>
                  <a:pt x="5676585" y="382428"/>
                  <a:pt x="5667631" y="365951"/>
                  <a:pt x="5686967" y="349949"/>
                </a:cubicBezTo>
                <a:cubicBezTo>
                  <a:pt x="5702836" y="338832"/>
                  <a:pt x="5720533" y="330613"/>
                  <a:pt x="5739259" y="325660"/>
                </a:cubicBezTo>
                <a:cubicBezTo>
                  <a:pt x="5749642" y="322670"/>
                  <a:pt x="5760205" y="320345"/>
                  <a:pt x="5770882" y="318707"/>
                </a:cubicBezTo>
                <a:cubicBezTo>
                  <a:pt x="5775712" y="317973"/>
                  <a:pt x="5780579" y="317497"/>
                  <a:pt x="5785456" y="317277"/>
                </a:cubicBezTo>
                <a:close/>
                <a:moveTo>
                  <a:pt x="4903775" y="315822"/>
                </a:moveTo>
                <a:cubicBezTo>
                  <a:pt x="4910111" y="316940"/>
                  <a:pt x="4916224" y="319321"/>
                  <a:pt x="4921728" y="322898"/>
                </a:cubicBezTo>
                <a:cubicBezTo>
                  <a:pt x="4929725" y="330185"/>
                  <a:pt x="4930485" y="342501"/>
                  <a:pt x="4923442" y="350711"/>
                </a:cubicBezTo>
                <a:cubicBezTo>
                  <a:pt x="4919388" y="357568"/>
                  <a:pt x="4914203" y="363683"/>
                  <a:pt x="4908107" y="368809"/>
                </a:cubicBezTo>
                <a:cubicBezTo>
                  <a:pt x="4900965" y="375076"/>
                  <a:pt x="4893248" y="380658"/>
                  <a:pt x="4885057" y="385478"/>
                </a:cubicBezTo>
                <a:cubicBezTo>
                  <a:pt x="4868341" y="395811"/>
                  <a:pt x="4849823" y="402889"/>
                  <a:pt x="4830478" y="406336"/>
                </a:cubicBezTo>
                <a:cubicBezTo>
                  <a:pt x="4823372" y="407376"/>
                  <a:pt x="4816154" y="407376"/>
                  <a:pt x="4809047" y="406336"/>
                </a:cubicBezTo>
                <a:cubicBezTo>
                  <a:pt x="4803711" y="405699"/>
                  <a:pt x="4798611" y="403775"/>
                  <a:pt x="4794188" y="400718"/>
                </a:cubicBezTo>
                <a:cubicBezTo>
                  <a:pt x="4786230" y="394592"/>
                  <a:pt x="4784396" y="383333"/>
                  <a:pt x="4789997" y="375000"/>
                </a:cubicBezTo>
                <a:cubicBezTo>
                  <a:pt x="4793620" y="367847"/>
                  <a:pt x="4798490" y="361397"/>
                  <a:pt x="4804380" y="355950"/>
                </a:cubicBezTo>
                <a:cubicBezTo>
                  <a:pt x="4807725" y="352577"/>
                  <a:pt x="4811255" y="349405"/>
                  <a:pt x="4814953" y="346424"/>
                </a:cubicBezTo>
                <a:cubicBezTo>
                  <a:pt x="4818858" y="343568"/>
                  <a:pt x="4823049" y="340710"/>
                  <a:pt x="4827335" y="338043"/>
                </a:cubicBezTo>
                <a:cubicBezTo>
                  <a:pt x="4844775" y="327127"/>
                  <a:pt x="4864195" y="319746"/>
                  <a:pt x="4884485" y="316325"/>
                </a:cubicBezTo>
                <a:cubicBezTo>
                  <a:pt x="4890881" y="314849"/>
                  <a:pt x="4897440" y="314704"/>
                  <a:pt x="4903775" y="315822"/>
                </a:cubicBezTo>
                <a:close/>
                <a:moveTo>
                  <a:pt x="3044636" y="312896"/>
                </a:moveTo>
                <a:cubicBezTo>
                  <a:pt x="3070640" y="306133"/>
                  <a:pt x="3098929" y="318801"/>
                  <a:pt x="3106739" y="340423"/>
                </a:cubicBezTo>
                <a:cubicBezTo>
                  <a:pt x="3115502" y="364521"/>
                  <a:pt x="3096357" y="391572"/>
                  <a:pt x="3067496" y="396811"/>
                </a:cubicBezTo>
                <a:cubicBezTo>
                  <a:pt x="3041684" y="401383"/>
                  <a:pt x="3015013" y="387286"/>
                  <a:pt x="3008822" y="365855"/>
                </a:cubicBezTo>
                <a:cubicBezTo>
                  <a:pt x="3002631" y="344424"/>
                  <a:pt x="3018633" y="319563"/>
                  <a:pt x="3044636" y="312896"/>
                </a:cubicBezTo>
                <a:close/>
                <a:moveTo>
                  <a:pt x="5335780" y="299561"/>
                </a:moveTo>
                <a:cubicBezTo>
                  <a:pt x="5354830" y="297847"/>
                  <a:pt x="5367784" y="301847"/>
                  <a:pt x="5373023" y="309087"/>
                </a:cubicBezTo>
                <a:cubicBezTo>
                  <a:pt x="5378262" y="316324"/>
                  <a:pt x="5375785" y="326897"/>
                  <a:pt x="5364070" y="337661"/>
                </a:cubicBezTo>
                <a:cubicBezTo>
                  <a:pt x="5350561" y="349472"/>
                  <a:pt x="5335087" y="358816"/>
                  <a:pt x="5318350" y="365284"/>
                </a:cubicBezTo>
                <a:cubicBezTo>
                  <a:pt x="5313778" y="367189"/>
                  <a:pt x="5308825" y="368998"/>
                  <a:pt x="5304443" y="370523"/>
                </a:cubicBezTo>
                <a:cubicBezTo>
                  <a:pt x="5300062" y="372047"/>
                  <a:pt x="5294918" y="373666"/>
                  <a:pt x="5290632" y="374903"/>
                </a:cubicBezTo>
                <a:cubicBezTo>
                  <a:pt x="5282233" y="377275"/>
                  <a:pt x="5273617" y="378809"/>
                  <a:pt x="5264914" y="379475"/>
                </a:cubicBezTo>
                <a:cubicBezTo>
                  <a:pt x="5253426" y="381514"/>
                  <a:pt x="5241631" y="378267"/>
                  <a:pt x="5232815" y="370618"/>
                </a:cubicBezTo>
                <a:cubicBezTo>
                  <a:pt x="5227100" y="364903"/>
                  <a:pt x="5227862" y="355759"/>
                  <a:pt x="5236625" y="345567"/>
                </a:cubicBezTo>
                <a:cubicBezTo>
                  <a:pt x="5248814" y="332869"/>
                  <a:pt x="5263464" y="322792"/>
                  <a:pt x="5279678" y="315945"/>
                </a:cubicBezTo>
                <a:cubicBezTo>
                  <a:pt x="5284250" y="313725"/>
                  <a:pt x="5288917" y="311724"/>
                  <a:pt x="5293680" y="309944"/>
                </a:cubicBezTo>
                <a:lnTo>
                  <a:pt x="5300919" y="307277"/>
                </a:lnTo>
                <a:lnTo>
                  <a:pt x="5308158" y="304991"/>
                </a:lnTo>
                <a:cubicBezTo>
                  <a:pt x="5317175" y="302323"/>
                  <a:pt x="5326423" y="300505"/>
                  <a:pt x="5335780" y="299561"/>
                </a:cubicBezTo>
                <a:close/>
                <a:moveTo>
                  <a:pt x="3563550" y="217860"/>
                </a:moveTo>
                <a:cubicBezTo>
                  <a:pt x="3583668" y="218074"/>
                  <a:pt x="3598563" y="229647"/>
                  <a:pt x="3601563" y="249364"/>
                </a:cubicBezTo>
                <a:cubicBezTo>
                  <a:pt x="3605564" y="275653"/>
                  <a:pt x="3586895" y="299561"/>
                  <a:pt x="3556891" y="307371"/>
                </a:cubicBezTo>
                <a:cubicBezTo>
                  <a:pt x="3526887" y="315182"/>
                  <a:pt x="3509838" y="306323"/>
                  <a:pt x="3502408" y="283273"/>
                </a:cubicBezTo>
                <a:cubicBezTo>
                  <a:pt x="3494502" y="258603"/>
                  <a:pt x="3512028" y="231648"/>
                  <a:pt x="3541937" y="221551"/>
                </a:cubicBezTo>
                <a:cubicBezTo>
                  <a:pt x="3549557" y="218979"/>
                  <a:pt x="3556844" y="217789"/>
                  <a:pt x="3563550" y="217860"/>
                </a:cubicBezTo>
                <a:close/>
                <a:moveTo>
                  <a:pt x="4034141" y="112729"/>
                </a:moveTo>
                <a:cubicBezTo>
                  <a:pt x="4053554" y="112889"/>
                  <a:pt x="4068145" y="125587"/>
                  <a:pt x="4067145" y="144875"/>
                </a:cubicBezTo>
                <a:cubicBezTo>
                  <a:pt x="4066002" y="167450"/>
                  <a:pt x="4044190" y="192500"/>
                  <a:pt x="4019520" y="201073"/>
                </a:cubicBezTo>
                <a:cubicBezTo>
                  <a:pt x="3994850" y="209645"/>
                  <a:pt x="3971609" y="198501"/>
                  <a:pt x="3969799" y="176879"/>
                </a:cubicBezTo>
                <a:cubicBezTo>
                  <a:pt x="3967894" y="155448"/>
                  <a:pt x="3988087" y="127540"/>
                  <a:pt x="4013519" y="116967"/>
                </a:cubicBezTo>
                <a:cubicBezTo>
                  <a:pt x="4020663" y="114014"/>
                  <a:pt x="4027670" y="112675"/>
                  <a:pt x="4034141" y="112729"/>
                </a:cubicBezTo>
                <a:close/>
                <a:moveTo>
                  <a:pt x="4596544" y="0"/>
                </a:moveTo>
                <a:cubicBezTo>
                  <a:pt x="4600162" y="19"/>
                  <a:pt x="4603768" y="400"/>
                  <a:pt x="4607308" y="1143"/>
                </a:cubicBezTo>
                <a:cubicBezTo>
                  <a:pt x="4613044" y="2267"/>
                  <a:pt x="4618297" y="5124"/>
                  <a:pt x="4622357" y="9335"/>
                </a:cubicBezTo>
                <a:cubicBezTo>
                  <a:pt x="4629215" y="17050"/>
                  <a:pt x="4629501" y="28385"/>
                  <a:pt x="4621214" y="42196"/>
                </a:cubicBezTo>
                <a:cubicBezTo>
                  <a:pt x="4601621" y="68551"/>
                  <a:pt x="4572753" y="86496"/>
                  <a:pt x="4540442" y="92393"/>
                </a:cubicBezTo>
                <a:cubicBezTo>
                  <a:pt x="4528976" y="94821"/>
                  <a:pt x="4517032" y="91830"/>
                  <a:pt x="4508057" y="84296"/>
                </a:cubicBezTo>
                <a:cubicBezTo>
                  <a:pt x="4501110" y="76457"/>
                  <a:pt x="4499995" y="65037"/>
                  <a:pt x="4505295" y="56007"/>
                </a:cubicBezTo>
                <a:cubicBezTo>
                  <a:pt x="4508454" y="49425"/>
                  <a:pt x="4512633" y="43377"/>
                  <a:pt x="4517677" y="38100"/>
                </a:cubicBezTo>
                <a:cubicBezTo>
                  <a:pt x="4523436" y="31985"/>
                  <a:pt x="4529821" y="26499"/>
                  <a:pt x="4536727" y="21717"/>
                </a:cubicBezTo>
                <a:cubicBezTo>
                  <a:pt x="4550971" y="11573"/>
                  <a:pt x="4567203" y="4563"/>
                  <a:pt x="4584352" y="1143"/>
                </a:cubicBezTo>
                <a:cubicBezTo>
                  <a:pt x="4588373" y="390"/>
                  <a:pt x="4592454" y="10"/>
                  <a:pt x="4596544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59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 sz="1799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2C6C590-A7F1-D240-A6BF-B5C8A49BD634}"/>
              </a:ext>
            </a:extLst>
          </p:cNvPr>
          <p:cNvSpPr txBox="1">
            <a:spLocks/>
          </p:cNvSpPr>
          <p:nvPr userDrawn="1"/>
        </p:nvSpPr>
        <p:spPr>
          <a:xfrm>
            <a:off x="661729" y="3250234"/>
            <a:ext cx="3563650" cy="77095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1088502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17479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dist"/>
            <a:r>
              <a:rPr lang="zh-CN" altLang="en-US" sz="4000" spc="300" dirty="0">
                <a:solidFill>
                  <a:srgbClr val="004D6D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创造极致体验</a:t>
            </a:r>
            <a:endParaRPr lang="en-US" sz="4000" spc="300" dirty="0">
              <a:solidFill>
                <a:srgbClr val="004D6D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" name="Web">
            <a:extLst>
              <a:ext uri="{FF2B5EF4-FFF2-40B4-BE49-F238E27FC236}">
                <a16:creationId xmlns:a16="http://schemas.microsoft.com/office/drawing/2014/main" id="{C1719994-6C9E-541D-7CFA-B18263AE4F6D}"/>
              </a:ext>
            </a:extLst>
          </p:cNvPr>
          <p:cNvSpPr txBox="1"/>
          <p:nvPr userDrawn="1"/>
        </p:nvSpPr>
        <p:spPr>
          <a:xfrm>
            <a:off x="723167" y="3933850"/>
            <a:ext cx="3430203" cy="257369"/>
          </a:xfrm>
          <a:prstGeom prst="rect">
            <a:avLst/>
          </a:prstGeom>
          <a:noFill/>
        </p:spPr>
        <p:txBody>
          <a:bodyPr wrap="square" lIns="71998" tIns="35999" rIns="71998" bIns="35999" rtlCol="0" anchor="b" anchorCtr="0">
            <a:spAutoFit/>
          </a:bodyPr>
          <a:lstStyle/>
          <a:p>
            <a:pPr algn="dist"/>
            <a:r>
              <a:rPr lang="en-US" altLang="zh-CN" sz="1200" spc="0" dirty="0">
                <a:solidFill>
                  <a:srgbClr val="014C6C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  <a:cs typeface="Arial" panose="020B0604020202020204" pitchFamily="34" charset="0"/>
              </a:rPr>
              <a:t>www.aactechnologies.com</a:t>
            </a:r>
            <a:endParaRPr lang="zh-CN" altLang="en-US" sz="1200" spc="0" dirty="0">
              <a:solidFill>
                <a:srgbClr val="014C6C"/>
              </a:solidFill>
              <a:latin typeface="Microsoft YaHei Light" panose="020B0503020204020204" pitchFamily="34" charset="-122"/>
              <a:ea typeface="Microsoft YaHei Light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6" name="图片 5" descr="徽标&#10;&#10;中度可信度描述已自动生成">
            <a:extLst>
              <a:ext uri="{FF2B5EF4-FFF2-40B4-BE49-F238E27FC236}">
                <a16:creationId xmlns:a16="http://schemas.microsoft.com/office/drawing/2014/main" id="{02F9F329-034D-29DC-B9CC-E75677FB7D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168" y="2480411"/>
            <a:ext cx="2376264" cy="596785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A750868E-9805-0113-E584-7330C5E95591}"/>
              </a:ext>
            </a:extLst>
          </p:cNvPr>
          <p:cNvSpPr/>
          <p:nvPr userDrawn="1"/>
        </p:nvSpPr>
        <p:spPr>
          <a:xfrm>
            <a:off x="2850065" y="6535273"/>
            <a:ext cx="6495045" cy="2462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92">
              <a:defRPr/>
            </a:pPr>
            <a:r>
              <a:rPr lang="en-US" altLang="zh-CN" sz="1000" dirty="0">
                <a:solidFill>
                  <a:prstClr val="white">
                    <a:lumMod val="50000"/>
                  </a:prst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libaba PuHuiTi L" pitchFamily="18" charset="-122"/>
              </a:rPr>
              <a:t>Copyright © 2026 AAC Technologies. Confidential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917981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任意多边形: 形状 3">
            <a:extLst>
              <a:ext uri="{FF2B5EF4-FFF2-40B4-BE49-F238E27FC236}">
                <a16:creationId xmlns:a16="http://schemas.microsoft.com/office/drawing/2014/main" id="{6C74DD71-5A8C-D4B2-9A74-2807B7BC7C6B}"/>
              </a:ext>
            </a:extLst>
          </p:cNvPr>
          <p:cNvSpPr/>
          <p:nvPr userDrawn="1"/>
        </p:nvSpPr>
        <p:spPr>
          <a:xfrm>
            <a:off x="0" y="-1"/>
            <a:ext cx="12194821" cy="6859588"/>
          </a:xfrm>
          <a:custGeom>
            <a:avLst/>
            <a:gdLst>
              <a:gd name="connsiteX0" fmla="*/ 0 w 12192000"/>
              <a:gd name="connsiteY0" fmla="*/ 0 h 5022013"/>
              <a:gd name="connsiteX1" fmla="*/ 12192000 w 12192000"/>
              <a:gd name="connsiteY1" fmla="*/ 0 h 5022013"/>
              <a:gd name="connsiteX2" fmla="*/ 12192000 w 12192000"/>
              <a:gd name="connsiteY2" fmla="*/ 5022013 h 5022013"/>
              <a:gd name="connsiteX3" fmla="*/ 0 w 12192000"/>
              <a:gd name="connsiteY3" fmla="*/ 5022013 h 5022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022013">
                <a:moveTo>
                  <a:pt x="0" y="0"/>
                </a:moveTo>
                <a:lnTo>
                  <a:pt x="12192000" y="0"/>
                </a:lnTo>
                <a:lnTo>
                  <a:pt x="12192000" y="5022013"/>
                </a:lnTo>
                <a:lnTo>
                  <a:pt x="0" y="502201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10000"/>
                </a:schemeClr>
              </a:gs>
              <a:gs pos="58000">
                <a:schemeClr val="accent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BB5E839-852C-4597-9A86-B8C9CE8069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5837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6" imgH="416" progId="TCLayout.ActiveDocument.1">
                  <p:embed/>
                </p:oleObj>
              </mc:Choice>
              <mc:Fallback>
                <p:oleObj name="think-cell 幻灯片" r:id="rId3" imgW="416" imgH="41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B5E839-852C-4597-9A86-B8C9CE8069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图片 4">
            <a:extLst>
              <a:ext uri="{FF2B5EF4-FFF2-40B4-BE49-F238E27FC236}">
                <a16:creationId xmlns:a16="http://schemas.microsoft.com/office/drawing/2014/main" id="{9E62DC6F-138E-466A-85D1-9B1BF3AE43B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8080" y="513657"/>
            <a:ext cx="1432115" cy="359668"/>
          </a:xfrm>
          <a:prstGeom prst="rect">
            <a:avLst/>
          </a:prstGeom>
        </p:spPr>
      </p:pic>
      <p:sp>
        <p:nvSpPr>
          <p:cNvPr id="8" name="任意多边形: 形状 2">
            <a:extLst>
              <a:ext uri="{FF2B5EF4-FFF2-40B4-BE49-F238E27FC236}">
                <a16:creationId xmlns:a16="http://schemas.microsoft.com/office/drawing/2014/main" id="{D3838FAF-3EE5-4738-D836-9F91AD913C39}"/>
              </a:ext>
            </a:extLst>
          </p:cNvPr>
          <p:cNvSpPr/>
          <p:nvPr userDrawn="1"/>
        </p:nvSpPr>
        <p:spPr>
          <a:xfrm>
            <a:off x="0" y="5331889"/>
            <a:ext cx="12194823" cy="1151185"/>
          </a:xfrm>
          <a:custGeom>
            <a:avLst/>
            <a:gdLst>
              <a:gd name="connsiteX0" fmla="*/ 0 w 12192000"/>
              <a:gd name="connsiteY0" fmla="*/ 0 h 2679112"/>
              <a:gd name="connsiteX1" fmla="*/ 47798 w 12192000"/>
              <a:gd name="connsiteY1" fmla="*/ 20497 h 2679112"/>
              <a:gd name="connsiteX2" fmla="*/ 6096000 w 12192000"/>
              <a:gd name="connsiteY2" fmla="*/ 996930 h 2679112"/>
              <a:gd name="connsiteX3" fmla="*/ 12144202 w 12192000"/>
              <a:gd name="connsiteY3" fmla="*/ 20497 h 2679112"/>
              <a:gd name="connsiteX4" fmla="*/ 12192000 w 12192000"/>
              <a:gd name="connsiteY4" fmla="*/ 0 h 2679112"/>
              <a:gd name="connsiteX5" fmla="*/ 12192000 w 12192000"/>
              <a:gd name="connsiteY5" fmla="*/ 2679112 h 2679112"/>
              <a:gd name="connsiteX6" fmla="*/ 0 w 12192000"/>
              <a:gd name="connsiteY6" fmla="*/ 2679112 h 2679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679112">
                <a:moveTo>
                  <a:pt x="0" y="0"/>
                </a:moveTo>
                <a:lnTo>
                  <a:pt x="47798" y="20497"/>
                </a:lnTo>
                <a:cubicBezTo>
                  <a:pt x="1595668" y="623787"/>
                  <a:pt x="3734030" y="996930"/>
                  <a:pt x="6096000" y="996930"/>
                </a:cubicBezTo>
                <a:cubicBezTo>
                  <a:pt x="8457970" y="996930"/>
                  <a:pt x="10596333" y="623787"/>
                  <a:pt x="12144202" y="20497"/>
                </a:cubicBezTo>
                <a:lnTo>
                  <a:pt x="12192000" y="0"/>
                </a:lnTo>
                <a:lnTo>
                  <a:pt x="12192000" y="2679112"/>
                </a:lnTo>
                <a:lnTo>
                  <a:pt x="0" y="2679112"/>
                </a:lnTo>
                <a:close/>
              </a:path>
            </a:pathLst>
          </a:custGeom>
          <a:gradFill flip="none" rotWithShape="1">
            <a:gsLst>
              <a:gs pos="0">
                <a:schemeClr val="accent6">
                  <a:lumMod val="75000"/>
                  <a:alpha val="20000"/>
                </a:schemeClr>
              </a:gs>
              <a:gs pos="71000">
                <a:schemeClr val="accent1">
                  <a:alpha val="38000"/>
                </a:schemeClr>
              </a:gs>
            </a:gsLst>
            <a:lin ang="2700000" scaled="1"/>
            <a:tileRect/>
          </a:gradFill>
          <a:ln w="12700">
            <a:noFill/>
          </a:ln>
          <a:effectLst>
            <a:outerShdw blurRad="127000" dist="50800" dir="5400000" algn="ctr" rotWithShape="0">
              <a:schemeClr val="accent1">
                <a:alpha val="15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2800" b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任意多边形: 形状 3">
            <a:extLst>
              <a:ext uri="{FF2B5EF4-FFF2-40B4-BE49-F238E27FC236}">
                <a16:creationId xmlns:a16="http://schemas.microsoft.com/office/drawing/2014/main" id="{8D29F608-E7B3-5BDD-551F-D0175CAED4EC}"/>
              </a:ext>
            </a:extLst>
          </p:cNvPr>
          <p:cNvSpPr/>
          <p:nvPr userDrawn="1"/>
        </p:nvSpPr>
        <p:spPr>
          <a:xfrm>
            <a:off x="0" y="5518518"/>
            <a:ext cx="12194823" cy="1341070"/>
          </a:xfrm>
          <a:custGeom>
            <a:avLst/>
            <a:gdLst>
              <a:gd name="connsiteX0" fmla="*/ 0 w 12192000"/>
              <a:gd name="connsiteY0" fmla="*/ 0 h 2679112"/>
              <a:gd name="connsiteX1" fmla="*/ 47798 w 12192000"/>
              <a:gd name="connsiteY1" fmla="*/ 20497 h 2679112"/>
              <a:gd name="connsiteX2" fmla="*/ 6096000 w 12192000"/>
              <a:gd name="connsiteY2" fmla="*/ 996930 h 2679112"/>
              <a:gd name="connsiteX3" fmla="*/ 12144202 w 12192000"/>
              <a:gd name="connsiteY3" fmla="*/ 20497 h 2679112"/>
              <a:gd name="connsiteX4" fmla="*/ 12192000 w 12192000"/>
              <a:gd name="connsiteY4" fmla="*/ 0 h 2679112"/>
              <a:gd name="connsiteX5" fmla="*/ 12192000 w 12192000"/>
              <a:gd name="connsiteY5" fmla="*/ 2679112 h 2679112"/>
              <a:gd name="connsiteX6" fmla="*/ 0 w 12192000"/>
              <a:gd name="connsiteY6" fmla="*/ 2679112 h 2679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679112">
                <a:moveTo>
                  <a:pt x="0" y="0"/>
                </a:moveTo>
                <a:lnTo>
                  <a:pt x="47798" y="20497"/>
                </a:lnTo>
                <a:cubicBezTo>
                  <a:pt x="1595668" y="623787"/>
                  <a:pt x="3734030" y="996930"/>
                  <a:pt x="6096000" y="996930"/>
                </a:cubicBezTo>
                <a:cubicBezTo>
                  <a:pt x="8457970" y="996930"/>
                  <a:pt x="10596333" y="623787"/>
                  <a:pt x="12144202" y="20497"/>
                </a:cubicBezTo>
                <a:lnTo>
                  <a:pt x="12192000" y="0"/>
                </a:lnTo>
                <a:lnTo>
                  <a:pt x="12192000" y="2679112"/>
                </a:lnTo>
                <a:lnTo>
                  <a:pt x="0" y="2679112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91000">
                <a:srgbClr val="012B43"/>
              </a:gs>
            </a:gsLst>
            <a:lin ang="2700000" scaled="1"/>
            <a:tileRect/>
          </a:gradFill>
          <a:ln w="12700">
            <a:noFill/>
          </a:ln>
          <a:effectLst>
            <a:outerShdw blurRad="127000" dist="50800" dir="5400000" algn="ctr" rotWithShape="0">
              <a:schemeClr val="accent1">
                <a:alpha val="15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2800" b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433B785-D99C-7B93-10E2-DE4B8E8E3AFF}"/>
              </a:ext>
            </a:extLst>
          </p:cNvPr>
          <p:cNvSpPr/>
          <p:nvPr userDrawn="1"/>
        </p:nvSpPr>
        <p:spPr>
          <a:xfrm>
            <a:off x="2850065" y="6535273"/>
            <a:ext cx="6495045" cy="2462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92">
              <a:defRPr/>
            </a:pPr>
            <a:r>
              <a:rPr lang="en-US" altLang="zh-CN" sz="10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libaba PuHuiTi L" pitchFamily="18" charset="-122"/>
              </a:rPr>
              <a:t>Copyright © 2026 AAC Technologies. Confidential. All Rights Reserved.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0AFE548-EBC0-DC90-62C5-4E074A763EA5}"/>
              </a:ext>
            </a:extLst>
          </p:cNvPr>
          <p:cNvSpPr>
            <a:spLocks/>
          </p:cNvSpPr>
          <p:nvPr userDrawn="1"/>
        </p:nvSpPr>
        <p:spPr>
          <a:xfrm>
            <a:off x="559316" y="880873"/>
            <a:ext cx="11076542" cy="1151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 anchorCtr="0">
            <a:noAutofit/>
          </a:bodyPr>
          <a:lstStyle/>
          <a:p>
            <a:pPr algn="ctr">
              <a:buSzPct val="25000"/>
            </a:pPr>
            <a:r>
              <a:rPr lang="zh-CN" altLang="en-US" sz="5400" b="1" spc="300" dirty="0">
                <a:solidFill>
                  <a:srgbClr val="014C6C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目录</a:t>
            </a:r>
            <a:endParaRPr lang="en-US" altLang="zh-CN" sz="5400" b="1" spc="300" dirty="0">
              <a:solidFill>
                <a:srgbClr val="014C6C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8D806701-9DF3-927B-C816-9008E8A24067}"/>
              </a:ext>
            </a:extLst>
          </p:cNvPr>
          <p:cNvGrpSpPr/>
          <p:nvPr userDrawn="1"/>
        </p:nvGrpSpPr>
        <p:grpSpPr>
          <a:xfrm>
            <a:off x="-934169" y="26732"/>
            <a:ext cx="648072" cy="647188"/>
            <a:chOff x="-1679277" y="42838"/>
            <a:chExt cx="1096724" cy="1091941"/>
          </a:xfrm>
        </p:grpSpPr>
        <p:sp>
          <p:nvSpPr>
            <p:cNvPr id="4" name="椭圆 3">
              <a:extLst>
                <a:ext uri="{FF2B5EF4-FFF2-40B4-BE49-F238E27FC236}">
                  <a16:creationId xmlns:a16="http://schemas.microsoft.com/office/drawing/2014/main" id="{38B8C216-C4F0-15AB-4D60-4D0BB96F48AE}"/>
                </a:ext>
              </a:extLst>
            </p:cNvPr>
            <p:cNvSpPr/>
            <p:nvPr/>
          </p:nvSpPr>
          <p:spPr bwMode="auto">
            <a:xfrm>
              <a:off x="-1679277" y="445101"/>
              <a:ext cx="689678" cy="68967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marL="0" marR="0" lvl="0" indent="0" algn="ctr" defTabSz="1088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1655B1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6" name="椭圆 5">
              <a:extLst>
                <a:ext uri="{FF2B5EF4-FFF2-40B4-BE49-F238E27FC236}">
                  <a16:creationId xmlns:a16="http://schemas.microsoft.com/office/drawing/2014/main" id="{7F3CC1F8-BD27-9E20-C1C2-5EE7CFE83D37}"/>
                </a:ext>
              </a:extLst>
            </p:cNvPr>
            <p:cNvSpPr/>
            <p:nvPr/>
          </p:nvSpPr>
          <p:spPr bwMode="auto">
            <a:xfrm>
              <a:off x="-1272231" y="445101"/>
              <a:ext cx="689678" cy="689678"/>
            </a:xfrm>
            <a:prstGeom prst="ellipse">
              <a:avLst/>
            </a:prstGeom>
            <a:solidFill>
              <a:srgbClr val="404040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marL="0" marR="0" lvl="0" indent="0" algn="ctr" defTabSz="1088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1655B1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2" name="椭圆 11">
              <a:extLst>
                <a:ext uri="{FF2B5EF4-FFF2-40B4-BE49-F238E27FC236}">
                  <a16:creationId xmlns:a16="http://schemas.microsoft.com/office/drawing/2014/main" id="{DA387A56-269F-8764-B02F-607759C52CF1}"/>
                </a:ext>
              </a:extLst>
            </p:cNvPr>
            <p:cNvSpPr/>
            <p:nvPr/>
          </p:nvSpPr>
          <p:spPr bwMode="auto">
            <a:xfrm>
              <a:off x="-1272231" y="42838"/>
              <a:ext cx="689678" cy="689679"/>
            </a:xfrm>
            <a:prstGeom prst="ellipse">
              <a:avLst/>
            </a:prstGeom>
            <a:solidFill>
              <a:srgbClr val="FF9847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marL="0" marR="0" lvl="0" indent="0" algn="ctr" defTabSz="1088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3" name="椭圆 12">
              <a:extLst>
                <a:ext uri="{FF2B5EF4-FFF2-40B4-BE49-F238E27FC236}">
                  <a16:creationId xmlns:a16="http://schemas.microsoft.com/office/drawing/2014/main" id="{42E9BC98-C8B7-CF3F-047E-88C2DA050A10}"/>
                </a:ext>
              </a:extLst>
            </p:cNvPr>
            <p:cNvSpPr/>
            <p:nvPr/>
          </p:nvSpPr>
          <p:spPr bwMode="auto">
            <a:xfrm>
              <a:off x="-1679277" y="42838"/>
              <a:ext cx="689678" cy="689679"/>
            </a:xfrm>
            <a:prstGeom prst="ellipse">
              <a:avLst/>
            </a:prstGeom>
            <a:solidFill>
              <a:srgbClr val="004E70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algn="ctr"/>
              <a:endParaRPr kumimoji="1" lang="zh-CN" altLang="en-US">
                <a:solidFill>
                  <a:srgbClr val="1556B4"/>
                </a:solidFill>
                <a:latin typeface="Arial"/>
                <a:ea typeface="微软雅黑"/>
              </a:endParaRPr>
            </a:p>
          </p:txBody>
        </p:sp>
      </p:grpSp>
      <p:sp>
        <p:nvSpPr>
          <p:cNvPr id="14" name="文本框 13">
            <a:extLst>
              <a:ext uri="{FF2B5EF4-FFF2-40B4-BE49-F238E27FC236}">
                <a16:creationId xmlns:a16="http://schemas.microsoft.com/office/drawing/2014/main" id="{0F740666-0625-2FC3-3150-7894B4572D3E}"/>
              </a:ext>
            </a:extLst>
          </p:cNvPr>
          <p:cNvSpPr txBox="1"/>
          <p:nvPr userDrawn="1"/>
        </p:nvSpPr>
        <p:spPr bwMode="auto">
          <a:xfrm>
            <a:off x="-1031205" y="791349"/>
            <a:ext cx="842145" cy="257369"/>
          </a:xfrm>
          <a:prstGeom prst="rect">
            <a:avLst/>
          </a:prstGeom>
          <a:noFill/>
          <a:ln>
            <a:noFill/>
          </a:ln>
        </p:spPr>
        <p:txBody>
          <a:bodyPr wrap="none" lIns="36000" tIns="36000" rIns="36000" bIns="36000" rtlCol="0">
            <a:spAutoFit/>
          </a:bodyPr>
          <a:lstStyle/>
          <a:p>
            <a:pPr algn="ctr" defTabSz="914400" eaLnBrk="1" hangingPunct="1"/>
            <a:r>
              <a:rPr kumimoji="1" lang="zh-CN" altLang="en-US" sz="1200" b="0" i="0" dirty="0">
                <a:solidFill>
                  <a:schemeClr val="tx1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</a:rPr>
              <a:t>吸取标准色</a:t>
            </a:r>
          </a:p>
        </p:txBody>
      </p:sp>
    </p:spTree>
    <p:extLst>
      <p:ext uri="{BB962C8B-B14F-4D97-AF65-F5344CB8AC3E}">
        <p14:creationId xmlns:p14="http://schemas.microsoft.com/office/powerpoint/2010/main" val="24167597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页">
    <p:bg>
      <p:bgPr>
        <a:solidFill>
          <a:srgbClr val="022C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形 4">
            <a:extLst>
              <a:ext uri="{FF2B5EF4-FFF2-40B4-BE49-F238E27FC236}">
                <a16:creationId xmlns:a16="http://schemas.microsoft.com/office/drawing/2014/main" id="{C92A0A28-BE23-98EF-45C4-0FC2958A84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94974" y="1194876"/>
            <a:ext cx="4405228" cy="4469839"/>
          </a:xfrm>
          <a:prstGeom prst="rect">
            <a:avLst/>
          </a:prstGeom>
        </p:spPr>
      </p:pic>
      <p:sp>
        <p:nvSpPr>
          <p:cNvPr id="10" name="标题 1">
            <a:extLst>
              <a:ext uri="{FF2B5EF4-FFF2-40B4-BE49-F238E27FC236}">
                <a16:creationId xmlns:a16="http://schemas.microsoft.com/office/drawing/2014/main" id="{2A8A2DED-5821-3A45-ACDF-8F9B8FCCC4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279" y="2959848"/>
            <a:ext cx="10008616" cy="939893"/>
          </a:xfrm>
          <a:prstGeom prst="rect">
            <a:avLst/>
          </a:prstGeom>
        </p:spPr>
        <p:txBody>
          <a:bodyPr anchor="ctr"/>
          <a:lstStyle>
            <a:lvl1pPr algn="ctr">
              <a:defRPr sz="2800" b="1" spc="3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AAD45BA2-3943-C52B-4FE8-1D77BA98C8E0}"/>
              </a:ext>
            </a:extLst>
          </p:cNvPr>
          <p:cNvSpPr/>
          <p:nvPr userDrawn="1"/>
        </p:nvSpPr>
        <p:spPr>
          <a:xfrm>
            <a:off x="2850065" y="6535273"/>
            <a:ext cx="6495045" cy="2462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583">
              <a:defRPr/>
            </a:pPr>
            <a:r>
              <a:rPr lang="en-US" altLang="zh-CN" sz="1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libaba PuHuiTi L" pitchFamily="18" charset="-122"/>
              </a:rPr>
              <a:t>Copyright © 2026 AAC Technologies. Confidential. All Rights Reserved.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4F25F718-C367-11C6-954A-24119BAACF13}"/>
              </a:ext>
            </a:extLst>
          </p:cNvPr>
          <p:cNvGrpSpPr/>
          <p:nvPr userDrawn="1"/>
        </p:nvGrpSpPr>
        <p:grpSpPr>
          <a:xfrm>
            <a:off x="-934169" y="26732"/>
            <a:ext cx="648072" cy="647188"/>
            <a:chOff x="-1679277" y="42838"/>
            <a:chExt cx="1096724" cy="1091941"/>
          </a:xfrm>
        </p:grpSpPr>
        <p:sp>
          <p:nvSpPr>
            <p:cNvPr id="3" name="椭圆 2">
              <a:extLst>
                <a:ext uri="{FF2B5EF4-FFF2-40B4-BE49-F238E27FC236}">
                  <a16:creationId xmlns:a16="http://schemas.microsoft.com/office/drawing/2014/main" id="{D6D97766-47FC-D8A9-6774-5E0BF289B837}"/>
                </a:ext>
              </a:extLst>
            </p:cNvPr>
            <p:cNvSpPr/>
            <p:nvPr/>
          </p:nvSpPr>
          <p:spPr bwMode="auto">
            <a:xfrm>
              <a:off x="-1679277" y="445101"/>
              <a:ext cx="689678" cy="68967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marL="0" marR="0" lvl="0" indent="0" algn="ctr" defTabSz="1088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1655B1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6" name="椭圆 5">
              <a:extLst>
                <a:ext uri="{FF2B5EF4-FFF2-40B4-BE49-F238E27FC236}">
                  <a16:creationId xmlns:a16="http://schemas.microsoft.com/office/drawing/2014/main" id="{02F7D931-3C1E-4786-DE99-D40151046439}"/>
                </a:ext>
              </a:extLst>
            </p:cNvPr>
            <p:cNvSpPr/>
            <p:nvPr/>
          </p:nvSpPr>
          <p:spPr bwMode="auto">
            <a:xfrm>
              <a:off x="-1272231" y="445101"/>
              <a:ext cx="689678" cy="689678"/>
            </a:xfrm>
            <a:prstGeom prst="ellipse">
              <a:avLst/>
            </a:prstGeom>
            <a:solidFill>
              <a:srgbClr val="404040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marL="0" marR="0" lvl="0" indent="0" algn="ctr" defTabSz="1088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1655B1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7" name="椭圆 6">
              <a:extLst>
                <a:ext uri="{FF2B5EF4-FFF2-40B4-BE49-F238E27FC236}">
                  <a16:creationId xmlns:a16="http://schemas.microsoft.com/office/drawing/2014/main" id="{821FFB53-F812-E301-D847-400E56A1A9A8}"/>
                </a:ext>
              </a:extLst>
            </p:cNvPr>
            <p:cNvSpPr/>
            <p:nvPr/>
          </p:nvSpPr>
          <p:spPr bwMode="auto">
            <a:xfrm>
              <a:off x="-1272231" y="42838"/>
              <a:ext cx="689678" cy="689679"/>
            </a:xfrm>
            <a:prstGeom prst="ellipse">
              <a:avLst/>
            </a:prstGeom>
            <a:solidFill>
              <a:srgbClr val="FF9847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marL="0" marR="0" lvl="0" indent="0" algn="ctr" defTabSz="1088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4B94E9DB-786E-1079-D7DA-5794373BD17B}"/>
                </a:ext>
              </a:extLst>
            </p:cNvPr>
            <p:cNvSpPr/>
            <p:nvPr/>
          </p:nvSpPr>
          <p:spPr bwMode="auto">
            <a:xfrm>
              <a:off x="-1679277" y="42838"/>
              <a:ext cx="689678" cy="689679"/>
            </a:xfrm>
            <a:prstGeom prst="ellipse">
              <a:avLst/>
            </a:prstGeom>
            <a:solidFill>
              <a:srgbClr val="004E70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algn="ctr"/>
              <a:endParaRPr kumimoji="1" lang="zh-CN" altLang="en-US">
                <a:solidFill>
                  <a:srgbClr val="1556B4"/>
                </a:solidFill>
                <a:latin typeface="Arial"/>
                <a:ea typeface="微软雅黑"/>
              </a:endParaRPr>
            </a:p>
          </p:txBody>
        </p:sp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6878A8DE-2E06-A837-3931-1D84653E2E6D}"/>
              </a:ext>
            </a:extLst>
          </p:cNvPr>
          <p:cNvSpPr txBox="1"/>
          <p:nvPr userDrawn="1"/>
        </p:nvSpPr>
        <p:spPr bwMode="auto">
          <a:xfrm>
            <a:off x="-1031205" y="791349"/>
            <a:ext cx="842145" cy="257369"/>
          </a:xfrm>
          <a:prstGeom prst="rect">
            <a:avLst/>
          </a:prstGeom>
          <a:noFill/>
          <a:ln>
            <a:noFill/>
          </a:ln>
        </p:spPr>
        <p:txBody>
          <a:bodyPr wrap="none" lIns="36000" tIns="36000" rIns="36000" bIns="36000" rtlCol="0">
            <a:spAutoFit/>
          </a:bodyPr>
          <a:lstStyle/>
          <a:p>
            <a:pPr algn="ctr" defTabSz="914400" eaLnBrk="1" hangingPunct="1"/>
            <a:r>
              <a:rPr kumimoji="1" lang="zh-CN" altLang="en-US" sz="1200" b="0" i="0" dirty="0">
                <a:solidFill>
                  <a:schemeClr val="tx1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</a:rPr>
              <a:t>吸取标准色</a:t>
            </a:r>
          </a:p>
        </p:txBody>
      </p:sp>
    </p:spTree>
    <p:extLst>
      <p:ext uri="{BB962C8B-B14F-4D97-AF65-F5344CB8AC3E}">
        <p14:creationId xmlns:p14="http://schemas.microsoft.com/office/powerpoint/2010/main" val="800619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正文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任意多边形: 形状 7">
            <a:extLst>
              <a:ext uri="{FF2B5EF4-FFF2-40B4-BE49-F238E27FC236}">
                <a16:creationId xmlns:a16="http://schemas.microsoft.com/office/drawing/2014/main" id="{2B957E0F-4519-FC47-A41B-CF1C70B105C9}"/>
              </a:ext>
            </a:extLst>
          </p:cNvPr>
          <p:cNvSpPr/>
          <p:nvPr userDrawn="1"/>
        </p:nvSpPr>
        <p:spPr>
          <a:xfrm rot="580184" flipH="1">
            <a:off x="-2476903" y="5096784"/>
            <a:ext cx="8115305" cy="3192694"/>
          </a:xfrm>
          <a:custGeom>
            <a:avLst/>
            <a:gdLst>
              <a:gd name="connsiteX0" fmla="*/ 4234736 w 8115305"/>
              <a:gd name="connsiteY0" fmla="*/ 3069959 h 3192694"/>
              <a:gd name="connsiteX1" fmla="*/ 4243983 w 8115305"/>
              <a:gd name="connsiteY1" fmla="*/ 3070105 h 3192694"/>
              <a:gd name="connsiteX2" fmla="*/ 4304644 w 8115305"/>
              <a:gd name="connsiteY2" fmla="*/ 3132937 h 3192694"/>
              <a:gd name="connsiteX3" fmla="*/ 4245983 w 8115305"/>
              <a:gd name="connsiteY3" fmla="*/ 3192694 h 3192694"/>
              <a:gd name="connsiteX4" fmla="*/ 4244707 w 8115305"/>
              <a:gd name="connsiteY4" fmla="*/ 3192694 h 3192694"/>
              <a:gd name="connsiteX5" fmla="*/ 4179158 w 8115305"/>
              <a:gd name="connsiteY5" fmla="*/ 3132937 h 3192694"/>
              <a:gd name="connsiteX6" fmla="*/ 4234736 w 8115305"/>
              <a:gd name="connsiteY6" fmla="*/ 3069959 h 3192694"/>
              <a:gd name="connsiteX7" fmla="*/ 3636106 w 8115305"/>
              <a:gd name="connsiteY7" fmla="*/ 3007634 h 3192694"/>
              <a:gd name="connsiteX8" fmla="*/ 3692089 w 8115305"/>
              <a:gd name="connsiteY8" fmla="*/ 3052849 h 3192694"/>
              <a:gd name="connsiteX9" fmla="*/ 3692239 w 8115305"/>
              <a:gd name="connsiteY9" fmla="*/ 3061957 h 3192694"/>
              <a:gd name="connsiteX10" fmla="*/ 3624337 w 8115305"/>
              <a:gd name="connsiteY10" fmla="*/ 3130405 h 3192694"/>
              <a:gd name="connsiteX11" fmla="*/ 3563624 w 8115305"/>
              <a:gd name="connsiteY11" fmla="*/ 3086312 h 3192694"/>
              <a:gd name="connsiteX12" fmla="*/ 3563675 w 8115305"/>
              <a:gd name="connsiteY12" fmla="*/ 3069381 h 3192694"/>
              <a:gd name="connsiteX13" fmla="*/ 3636106 w 8115305"/>
              <a:gd name="connsiteY13" fmla="*/ 3007634 h 3192694"/>
              <a:gd name="connsiteX14" fmla="*/ 3062089 w 8115305"/>
              <a:gd name="connsiteY14" fmla="*/ 2969970 h 3192694"/>
              <a:gd name="connsiteX15" fmla="*/ 3111357 w 8115305"/>
              <a:gd name="connsiteY15" fmla="*/ 3009227 h 3192694"/>
              <a:gd name="connsiteX16" fmla="*/ 3110798 w 8115305"/>
              <a:gd name="connsiteY16" fmla="*/ 3022844 h 3192694"/>
              <a:gd name="connsiteX17" fmla="*/ 3039999 w 8115305"/>
              <a:gd name="connsiteY17" fmla="*/ 3086947 h 3192694"/>
              <a:gd name="connsiteX18" fmla="*/ 2986109 w 8115305"/>
              <a:gd name="connsiteY18" fmla="*/ 3051437 h 3192694"/>
              <a:gd name="connsiteX19" fmla="*/ 2987666 w 8115305"/>
              <a:gd name="connsiteY19" fmla="*/ 3027371 h 3192694"/>
              <a:gd name="connsiteX20" fmla="*/ 3062089 w 8115305"/>
              <a:gd name="connsiteY20" fmla="*/ 2969970 h 3192694"/>
              <a:gd name="connsiteX21" fmla="*/ 2514513 w 8115305"/>
              <a:gd name="connsiteY21" fmla="*/ 2932123 h 3192694"/>
              <a:gd name="connsiteX22" fmla="*/ 2540768 w 8115305"/>
              <a:gd name="connsiteY22" fmla="*/ 2992965 h 3192694"/>
              <a:gd name="connsiteX23" fmla="*/ 2454575 w 8115305"/>
              <a:gd name="connsiteY23" fmla="*/ 3046203 h 3192694"/>
              <a:gd name="connsiteX24" fmla="*/ 2427052 w 8115305"/>
              <a:gd name="connsiteY24" fmla="*/ 2978659 h 3192694"/>
              <a:gd name="connsiteX25" fmla="*/ 2514513 w 8115305"/>
              <a:gd name="connsiteY25" fmla="*/ 2932123 h 3192694"/>
              <a:gd name="connsiteX26" fmla="*/ 6417275 w 8115305"/>
              <a:gd name="connsiteY26" fmla="*/ 2735474 h 3192694"/>
              <a:gd name="connsiteX27" fmla="*/ 6515600 w 8115305"/>
              <a:gd name="connsiteY27" fmla="*/ 2785632 h 3192694"/>
              <a:gd name="connsiteX28" fmla="*/ 6494052 w 8115305"/>
              <a:gd name="connsiteY28" fmla="*/ 2839955 h 3192694"/>
              <a:gd name="connsiteX29" fmla="*/ 6396270 w 8115305"/>
              <a:gd name="connsiteY29" fmla="*/ 2783098 h 3192694"/>
              <a:gd name="connsiteX30" fmla="*/ 6417275 w 8115305"/>
              <a:gd name="connsiteY30" fmla="*/ 2735474 h 3192694"/>
              <a:gd name="connsiteX31" fmla="*/ 5858834 w 8115305"/>
              <a:gd name="connsiteY31" fmla="*/ 2681512 h 3192694"/>
              <a:gd name="connsiteX32" fmla="*/ 5945932 w 8115305"/>
              <a:gd name="connsiteY32" fmla="*/ 2734569 h 3192694"/>
              <a:gd name="connsiteX33" fmla="*/ 5911889 w 8115305"/>
              <a:gd name="connsiteY33" fmla="*/ 2790702 h 3192694"/>
              <a:gd name="connsiteX34" fmla="*/ 5823343 w 8115305"/>
              <a:gd name="connsiteY34" fmla="*/ 2736379 h 3192694"/>
              <a:gd name="connsiteX35" fmla="*/ 5858834 w 8115305"/>
              <a:gd name="connsiteY35" fmla="*/ 2681512 h 3192694"/>
              <a:gd name="connsiteX36" fmla="*/ 5293689 w 8115305"/>
              <a:gd name="connsiteY36" fmla="*/ 2641494 h 3192694"/>
              <a:gd name="connsiteX37" fmla="*/ 5388030 w 8115305"/>
              <a:gd name="connsiteY37" fmla="*/ 2704872 h 3192694"/>
              <a:gd name="connsiteX38" fmla="*/ 5353643 w 8115305"/>
              <a:gd name="connsiteY38" fmla="*/ 2763376 h 3192694"/>
              <a:gd name="connsiteX39" fmla="*/ 5333707 w 8115305"/>
              <a:gd name="connsiteY39" fmla="*/ 2764266 h 3192694"/>
              <a:gd name="connsiteX40" fmla="*/ 5243168 w 8115305"/>
              <a:gd name="connsiteY40" fmla="*/ 2694551 h 3192694"/>
              <a:gd name="connsiteX41" fmla="*/ 5284927 w 8115305"/>
              <a:gd name="connsiteY41" fmla="*/ 2641709 h 3192694"/>
              <a:gd name="connsiteX42" fmla="*/ 5293689 w 8115305"/>
              <a:gd name="connsiteY42" fmla="*/ 2641494 h 3192694"/>
              <a:gd name="connsiteX43" fmla="*/ 4759512 w 8115305"/>
              <a:gd name="connsiteY43" fmla="*/ 2591153 h 3192694"/>
              <a:gd name="connsiteX44" fmla="*/ 4849327 w 8115305"/>
              <a:gd name="connsiteY44" fmla="*/ 2654892 h 3192694"/>
              <a:gd name="connsiteX45" fmla="*/ 4792650 w 8115305"/>
              <a:gd name="connsiteY45" fmla="*/ 2717366 h 3192694"/>
              <a:gd name="connsiteX46" fmla="*/ 4702111 w 8115305"/>
              <a:gd name="connsiteY46" fmla="*/ 2651271 h 3192694"/>
              <a:gd name="connsiteX47" fmla="*/ 4759512 w 8115305"/>
              <a:gd name="connsiteY47" fmla="*/ 2591153 h 3192694"/>
              <a:gd name="connsiteX48" fmla="*/ 4245432 w 8115305"/>
              <a:gd name="connsiteY48" fmla="*/ 2559828 h 3192694"/>
              <a:gd name="connsiteX49" fmla="*/ 4324925 w 8115305"/>
              <a:gd name="connsiteY49" fmla="*/ 2621938 h 3192694"/>
              <a:gd name="connsiteX50" fmla="*/ 4252494 w 8115305"/>
              <a:gd name="connsiteY50" fmla="*/ 2685496 h 3192694"/>
              <a:gd name="connsiteX51" fmla="*/ 4177346 w 8115305"/>
              <a:gd name="connsiteY51" fmla="*/ 2624835 h 3192694"/>
              <a:gd name="connsiteX52" fmla="*/ 4245432 w 8115305"/>
              <a:gd name="connsiteY52" fmla="*/ 2559828 h 3192694"/>
              <a:gd name="connsiteX53" fmla="*/ 3742036 w 8115305"/>
              <a:gd name="connsiteY53" fmla="*/ 2514196 h 3192694"/>
              <a:gd name="connsiteX54" fmla="*/ 3812295 w 8115305"/>
              <a:gd name="connsiteY54" fmla="*/ 2573589 h 3192694"/>
              <a:gd name="connsiteX55" fmla="*/ 3733525 w 8115305"/>
              <a:gd name="connsiteY55" fmla="*/ 2638416 h 3192694"/>
              <a:gd name="connsiteX56" fmla="*/ 3663267 w 8115305"/>
              <a:gd name="connsiteY56" fmla="*/ 2576486 h 3192694"/>
              <a:gd name="connsiteX57" fmla="*/ 3742036 w 8115305"/>
              <a:gd name="connsiteY57" fmla="*/ 2514196 h 3192694"/>
              <a:gd name="connsiteX58" fmla="*/ 3249687 w 8115305"/>
              <a:gd name="connsiteY58" fmla="*/ 2485950 h 3192694"/>
              <a:gd name="connsiteX59" fmla="*/ 3309805 w 8115305"/>
              <a:gd name="connsiteY59" fmla="*/ 2544256 h 3192694"/>
              <a:gd name="connsiteX60" fmla="*/ 3221619 w 8115305"/>
              <a:gd name="connsiteY60" fmla="*/ 2607815 h 3192694"/>
              <a:gd name="connsiteX61" fmla="*/ 3161865 w 8115305"/>
              <a:gd name="connsiteY61" fmla="*/ 2547154 h 3192694"/>
              <a:gd name="connsiteX62" fmla="*/ 3249687 w 8115305"/>
              <a:gd name="connsiteY62" fmla="*/ 2485950 h 3192694"/>
              <a:gd name="connsiteX63" fmla="*/ 2772383 w 8115305"/>
              <a:gd name="connsiteY63" fmla="*/ 2443758 h 3192694"/>
              <a:gd name="connsiteX64" fmla="*/ 2820550 w 8115305"/>
              <a:gd name="connsiteY64" fmla="*/ 2501702 h 3192694"/>
              <a:gd name="connsiteX65" fmla="*/ 2721318 w 8115305"/>
              <a:gd name="connsiteY65" fmla="*/ 2560191 h 3192694"/>
              <a:gd name="connsiteX66" fmla="*/ 2676955 w 8115305"/>
              <a:gd name="connsiteY66" fmla="*/ 2503695 h 3192694"/>
              <a:gd name="connsiteX67" fmla="*/ 2772383 w 8115305"/>
              <a:gd name="connsiteY67" fmla="*/ 2443758 h 3192694"/>
              <a:gd name="connsiteX68" fmla="*/ 2285460 w 8115305"/>
              <a:gd name="connsiteY68" fmla="*/ 2416958 h 3192694"/>
              <a:gd name="connsiteX69" fmla="*/ 2321674 w 8115305"/>
              <a:gd name="connsiteY69" fmla="*/ 2470196 h 3192694"/>
              <a:gd name="connsiteX70" fmla="*/ 2215381 w 8115305"/>
              <a:gd name="connsiteY70" fmla="*/ 2529407 h 3192694"/>
              <a:gd name="connsiteX71" fmla="*/ 2180251 w 8115305"/>
              <a:gd name="connsiteY71" fmla="*/ 2473998 h 3192694"/>
              <a:gd name="connsiteX72" fmla="*/ 2285460 w 8115305"/>
              <a:gd name="connsiteY72" fmla="*/ 2416958 h 3192694"/>
              <a:gd name="connsiteX73" fmla="*/ 1830592 w 8115305"/>
              <a:gd name="connsiteY73" fmla="*/ 2376760 h 3192694"/>
              <a:gd name="connsiteX74" fmla="*/ 1857029 w 8115305"/>
              <a:gd name="connsiteY74" fmla="*/ 2429454 h 3192694"/>
              <a:gd name="connsiteX75" fmla="*/ 1751460 w 8115305"/>
              <a:gd name="connsiteY75" fmla="*/ 2483777 h 3192694"/>
              <a:gd name="connsiteX76" fmla="*/ 1724660 w 8115305"/>
              <a:gd name="connsiteY76" fmla="*/ 2426376 h 3192694"/>
              <a:gd name="connsiteX77" fmla="*/ 1830592 w 8115305"/>
              <a:gd name="connsiteY77" fmla="*/ 2376760 h 3192694"/>
              <a:gd name="connsiteX78" fmla="*/ 7166577 w 8115305"/>
              <a:gd name="connsiteY78" fmla="*/ 2374043 h 3192694"/>
              <a:gd name="connsiteX79" fmla="*/ 7265083 w 8115305"/>
              <a:gd name="connsiteY79" fmla="*/ 2417321 h 3192694"/>
              <a:gd name="connsiteX80" fmla="*/ 7254580 w 8115305"/>
              <a:gd name="connsiteY80" fmla="*/ 2459511 h 3192694"/>
              <a:gd name="connsiteX81" fmla="*/ 7154988 w 8115305"/>
              <a:gd name="connsiteY81" fmla="*/ 2414967 h 3192694"/>
              <a:gd name="connsiteX82" fmla="*/ 7166577 w 8115305"/>
              <a:gd name="connsiteY82" fmla="*/ 2374043 h 3192694"/>
              <a:gd name="connsiteX83" fmla="*/ 1372644 w 8115305"/>
              <a:gd name="connsiteY83" fmla="*/ 2354307 h 3192694"/>
              <a:gd name="connsiteX84" fmla="*/ 1390751 w 8115305"/>
              <a:gd name="connsiteY84" fmla="*/ 2400843 h 3192694"/>
              <a:gd name="connsiteX85" fmla="*/ 1278120 w 8115305"/>
              <a:gd name="connsiteY85" fmla="*/ 2451726 h 3192694"/>
              <a:gd name="connsiteX86" fmla="*/ 1268342 w 8115305"/>
              <a:gd name="connsiteY86" fmla="*/ 2400119 h 3192694"/>
              <a:gd name="connsiteX87" fmla="*/ 1372644 w 8115305"/>
              <a:gd name="connsiteY87" fmla="*/ 2354307 h 3192694"/>
              <a:gd name="connsiteX88" fmla="*/ 6638192 w 8115305"/>
              <a:gd name="connsiteY88" fmla="*/ 2339640 h 3192694"/>
              <a:gd name="connsiteX89" fmla="*/ 6748287 w 8115305"/>
              <a:gd name="connsiteY89" fmla="*/ 2389074 h 3192694"/>
              <a:gd name="connsiteX90" fmla="*/ 6728006 w 8115305"/>
              <a:gd name="connsiteY90" fmla="*/ 2440138 h 3192694"/>
              <a:gd name="connsiteX91" fmla="*/ 6617730 w 8115305"/>
              <a:gd name="connsiteY91" fmla="*/ 2385815 h 3192694"/>
              <a:gd name="connsiteX92" fmla="*/ 6638192 w 8115305"/>
              <a:gd name="connsiteY92" fmla="*/ 2339640 h 3192694"/>
              <a:gd name="connsiteX93" fmla="*/ 938235 w 8115305"/>
              <a:gd name="connsiteY93" fmla="*/ 2321713 h 3192694"/>
              <a:gd name="connsiteX94" fmla="*/ 939684 w 8115305"/>
              <a:gd name="connsiteY94" fmla="*/ 2365535 h 3192694"/>
              <a:gd name="connsiteX95" fmla="*/ 840995 w 8115305"/>
              <a:gd name="connsiteY95" fmla="*/ 2404104 h 3192694"/>
              <a:gd name="connsiteX96" fmla="*/ 840995 w 8115305"/>
              <a:gd name="connsiteY96" fmla="*/ 2359377 h 3192694"/>
              <a:gd name="connsiteX97" fmla="*/ 938235 w 8115305"/>
              <a:gd name="connsiteY97" fmla="*/ 2321713 h 3192694"/>
              <a:gd name="connsiteX98" fmla="*/ 6137149 w 8115305"/>
              <a:gd name="connsiteY98" fmla="*/ 2295999 h 3192694"/>
              <a:gd name="connsiteX99" fmla="*/ 6244347 w 8115305"/>
              <a:gd name="connsiteY99" fmla="*/ 2348873 h 3192694"/>
              <a:gd name="connsiteX100" fmla="*/ 6216099 w 8115305"/>
              <a:gd name="connsiteY100" fmla="*/ 2403197 h 3192694"/>
              <a:gd name="connsiteX101" fmla="*/ 6107453 w 8115305"/>
              <a:gd name="connsiteY101" fmla="*/ 2348873 h 3192694"/>
              <a:gd name="connsiteX102" fmla="*/ 6137149 w 8115305"/>
              <a:gd name="connsiteY102" fmla="*/ 2295999 h 3192694"/>
              <a:gd name="connsiteX103" fmla="*/ 5654577 w 8115305"/>
              <a:gd name="connsiteY103" fmla="*/ 2269199 h 3192694"/>
              <a:gd name="connsiteX104" fmla="*/ 5759241 w 8115305"/>
              <a:gd name="connsiteY104" fmla="*/ 2323161 h 3192694"/>
              <a:gd name="connsiteX105" fmla="*/ 5717774 w 8115305"/>
              <a:gd name="connsiteY105" fmla="*/ 2379294 h 3192694"/>
              <a:gd name="connsiteX106" fmla="*/ 5614379 w 8115305"/>
              <a:gd name="connsiteY106" fmla="*/ 2320264 h 3192694"/>
              <a:gd name="connsiteX107" fmla="*/ 5654577 w 8115305"/>
              <a:gd name="connsiteY107" fmla="*/ 2269199 h 3192694"/>
              <a:gd name="connsiteX108" fmla="*/ 5185950 w 8115305"/>
              <a:gd name="connsiteY108" fmla="*/ 2238598 h 3192694"/>
              <a:gd name="connsiteX109" fmla="*/ 5289163 w 8115305"/>
              <a:gd name="connsiteY109" fmla="*/ 2299984 h 3192694"/>
              <a:gd name="connsiteX110" fmla="*/ 5231762 w 8115305"/>
              <a:gd name="connsiteY110" fmla="*/ 2360645 h 3192694"/>
              <a:gd name="connsiteX111" fmla="*/ 5127642 w 8115305"/>
              <a:gd name="connsiteY111" fmla="*/ 2296723 h 3192694"/>
              <a:gd name="connsiteX112" fmla="*/ 5185950 w 8115305"/>
              <a:gd name="connsiteY112" fmla="*/ 2238598 h 3192694"/>
              <a:gd name="connsiteX113" fmla="*/ 4724020 w 8115305"/>
              <a:gd name="connsiteY113" fmla="*/ 2200570 h 3192694"/>
              <a:gd name="connsiteX114" fmla="*/ 4814559 w 8115305"/>
              <a:gd name="connsiteY114" fmla="*/ 2259059 h 3192694"/>
              <a:gd name="connsiteX115" fmla="*/ 4749554 w 8115305"/>
              <a:gd name="connsiteY115" fmla="*/ 2322798 h 3192694"/>
              <a:gd name="connsiteX116" fmla="*/ 4652857 w 8115305"/>
              <a:gd name="connsiteY116" fmla="*/ 2258515 h 3192694"/>
              <a:gd name="connsiteX117" fmla="*/ 4724020 w 8115305"/>
              <a:gd name="connsiteY117" fmla="*/ 2200570 h 3192694"/>
              <a:gd name="connsiteX118" fmla="*/ 4268610 w 8115305"/>
              <a:gd name="connsiteY118" fmla="*/ 2176668 h 3192694"/>
              <a:gd name="connsiteX119" fmla="*/ 4355164 w 8115305"/>
              <a:gd name="connsiteY119" fmla="*/ 2235880 h 3192694"/>
              <a:gd name="connsiteX120" fmla="*/ 4279111 w 8115305"/>
              <a:gd name="connsiteY120" fmla="*/ 2297808 h 3192694"/>
              <a:gd name="connsiteX121" fmla="*/ 4192377 w 8115305"/>
              <a:gd name="connsiteY121" fmla="*/ 2236061 h 3192694"/>
              <a:gd name="connsiteX122" fmla="*/ 4268610 w 8115305"/>
              <a:gd name="connsiteY122" fmla="*/ 2176668 h 3192694"/>
              <a:gd name="connsiteX123" fmla="*/ 3815916 w 8115305"/>
              <a:gd name="connsiteY123" fmla="*/ 2141540 h 3192694"/>
              <a:gd name="connsiteX124" fmla="*/ 3887079 w 8115305"/>
              <a:gd name="connsiteY124" fmla="*/ 2202926 h 3192694"/>
              <a:gd name="connsiteX125" fmla="*/ 3798896 w 8115305"/>
              <a:gd name="connsiteY125" fmla="*/ 2261232 h 3192694"/>
              <a:gd name="connsiteX126" fmla="*/ 3725377 w 8115305"/>
              <a:gd name="connsiteY126" fmla="*/ 2194415 h 3192694"/>
              <a:gd name="connsiteX127" fmla="*/ 3815916 w 8115305"/>
              <a:gd name="connsiteY127" fmla="*/ 2141540 h 3192694"/>
              <a:gd name="connsiteX128" fmla="*/ 3375717 w 8115305"/>
              <a:gd name="connsiteY128" fmla="*/ 2118906 h 3192694"/>
              <a:gd name="connsiteX129" fmla="*/ 3443983 w 8115305"/>
              <a:gd name="connsiteY129" fmla="*/ 2173229 h 3192694"/>
              <a:gd name="connsiteX130" fmla="*/ 3345477 w 8115305"/>
              <a:gd name="connsiteY130" fmla="*/ 2235882 h 3192694"/>
              <a:gd name="connsiteX131" fmla="*/ 3282281 w 8115305"/>
              <a:gd name="connsiteY131" fmla="*/ 2175402 h 3192694"/>
              <a:gd name="connsiteX132" fmla="*/ 3375717 w 8115305"/>
              <a:gd name="connsiteY132" fmla="*/ 2118906 h 3192694"/>
              <a:gd name="connsiteX133" fmla="*/ 7761054 w 8115305"/>
              <a:gd name="connsiteY133" fmla="*/ 2097357 h 3192694"/>
              <a:gd name="connsiteX134" fmla="*/ 7856663 w 8115305"/>
              <a:gd name="connsiteY134" fmla="*/ 2128683 h 3192694"/>
              <a:gd name="connsiteX135" fmla="*/ 7862277 w 8115305"/>
              <a:gd name="connsiteY135" fmla="*/ 2164898 h 3192694"/>
              <a:gd name="connsiteX136" fmla="*/ 7765400 w 8115305"/>
              <a:gd name="connsiteY136" fmla="*/ 2130314 h 3192694"/>
              <a:gd name="connsiteX137" fmla="*/ 7761054 w 8115305"/>
              <a:gd name="connsiteY137" fmla="*/ 2097357 h 3192694"/>
              <a:gd name="connsiteX138" fmla="*/ 2955435 w 8115305"/>
              <a:gd name="connsiteY138" fmla="*/ 2086854 h 3192694"/>
              <a:gd name="connsiteX139" fmla="*/ 3009938 w 8115305"/>
              <a:gd name="connsiteY139" fmla="*/ 2143531 h 3192694"/>
              <a:gd name="connsiteX140" fmla="*/ 2906543 w 8115305"/>
              <a:gd name="connsiteY140" fmla="*/ 2200209 h 3192694"/>
              <a:gd name="connsiteX141" fmla="*/ 2852964 w 8115305"/>
              <a:gd name="connsiteY141" fmla="*/ 2141177 h 3192694"/>
              <a:gd name="connsiteX142" fmla="*/ 2955435 w 8115305"/>
              <a:gd name="connsiteY142" fmla="*/ 2086854 h 3192694"/>
              <a:gd name="connsiteX143" fmla="*/ 7293329 w 8115305"/>
              <a:gd name="connsiteY143" fmla="*/ 2068385 h 3192694"/>
              <a:gd name="connsiteX144" fmla="*/ 7403424 w 8115305"/>
              <a:gd name="connsiteY144" fmla="*/ 2107136 h 3192694"/>
              <a:gd name="connsiteX145" fmla="*/ 7399983 w 8115305"/>
              <a:gd name="connsiteY145" fmla="*/ 2150595 h 3192694"/>
              <a:gd name="connsiteX146" fmla="*/ 7295502 w 8115305"/>
              <a:gd name="connsiteY146" fmla="*/ 2113292 h 3192694"/>
              <a:gd name="connsiteX147" fmla="*/ 7293329 w 8115305"/>
              <a:gd name="connsiteY147" fmla="*/ 2068385 h 3192694"/>
              <a:gd name="connsiteX148" fmla="*/ 2535537 w 8115305"/>
              <a:gd name="connsiteY148" fmla="*/ 2065125 h 3192694"/>
              <a:gd name="connsiteX149" fmla="*/ 2581348 w 8115305"/>
              <a:gd name="connsiteY149" fmla="*/ 2121260 h 3192694"/>
              <a:gd name="connsiteX150" fmla="*/ 2468898 w 8115305"/>
              <a:gd name="connsiteY150" fmla="*/ 2175583 h 3192694"/>
              <a:gd name="connsiteX151" fmla="*/ 2430146 w 8115305"/>
              <a:gd name="connsiteY151" fmla="*/ 2115283 h 3192694"/>
              <a:gd name="connsiteX152" fmla="*/ 2535537 w 8115305"/>
              <a:gd name="connsiteY152" fmla="*/ 2065125 h 3192694"/>
              <a:gd name="connsiteX153" fmla="*/ 2132635 w 8115305"/>
              <a:gd name="connsiteY153" fmla="*/ 2034704 h 3192694"/>
              <a:gd name="connsiteX154" fmla="*/ 2170120 w 8115305"/>
              <a:gd name="connsiteY154" fmla="*/ 2084862 h 3192694"/>
              <a:gd name="connsiteX155" fmla="*/ 2052781 w 8115305"/>
              <a:gd name="connsiteY155" fmla="*/ 2141177 h 3192694"/>
              <a:gd name="connsiteX156" fmla="*/ 2016563 w 8115305"/>
              <a:gd name="connsiteY156" fmla="*/ 2089027 h 3192694"/>
              <a:gd name="connsiteX157" fmla="*/ 2132635 w 8115305"/>
              <a:gd name="connsiteY157" fmla="*/ 2034704 h 3192694"/>
              <a:gd name="connsiteX158" fmla="*/ 6833392 w 8115305"/>
              <a:gd name="connsiteY158" fmla="*/ 2031986 h 3192694"/>
              <a:gd name="connsiteX159" fmla="*/ 6942039 w 8115305"/>
              <a:gd name="connsiteY159" fmla="*/ 2075808 h 3192694"/>
              <a:gd name="connsiteX160" fmla="*/ 6923931 w 8115305"/>
              <a:gd name="connsiteY160" fmla="*/ 2121801 h 3192694"/>
              <a:gd name="connsiteX161" fmla="*/ 6815285 w 8115305"/>
              <a:gd name="connsiteY161" fmla="*/ 2076532 h 3192694"/>
              <a:gd name="connsiteX162" fmla="*/ 6833392 w 8115305"/>
              <a:gd name="connsiteY162" fmla="*/ 2031986 h 3192694"/>
              <a:gd name="connsiteX163" fmla="*/ 1711085 w 8115305"/>
              <a:gd name="connsiteY163" fmla="*/ 2017320 h 3192694"/>
              <a:gd name="connsiteX164" fmla="*/ 1737524 w 8115305"/>
              <a:gd name="connsiteY164" fmla="*/ 2064581 h 3192694"/>
              <a:gd name="connsiteX165" fmla="*/ 1625435 w 8115305"/>
              <a:gd name="connsiteY165" fmla="*/ 2114921 h 3192694"/>
              <a:gd name="connsiteX166" fmla="*/ 1594293 w 8115305"/>
              <a:gd name="connsiteY166" fmla="*/ 2068746 h 3192694"/>
              <a:gd name="connsiteX167" fmla="*/ 1711085 w 8115305"/>
              <a:gd name="connsiteY167" fmla="*/ 2017320 h 3192694"/>
              <a:gd name="connsiteX168" fmla="*/ 6383959 w 8115305"/>
              <a:gd name="connsiteY168" fmla="*/ 2006094 h 3192694"/>
              <a:gd name="connsiteX169" fmla="*/ 6501838 w 8115305"/>
              <a:gd name="connsiteY169" fmla="*/ 2054442 h 3192694"/>
              <a:gd name="connsiteX170" fmla="*/ 6483731 w 8115305"/>
              <a:gd name="connsiteY170" fmla="*/ 2105325 h 3192694"/>
              <a:gd name="connsiteX171" fmla="*/ 6362590 w 8115305"/>
              <a:gd name="connsiteY171" fmla="*/ 2057883 h 3192694"/>
              <a:gd name="connsiteX172" fmla="*/ 6383959 w 8115305"/>
              <a:gd name="connsiteY172" fmla="*/ 2006094 h 3192694"/>
              <a:gd name="connsiteX173" fmla="*/ 1317960 w 8115305"/>
              <a:gd name="connsiteY173" fmla="*/ 1992152 h 3192694"/>
              <a:gd name="connsiteX174" fmla="*/ 1336069 w 8115305"/>
              <a:gd name="connsiteY174" fmla="*/ 2033801 h 3192694"/>
              <a:gd name="connsiteX175" fmla="*/ 1228328 w 8115305"/>
              <a:gd name="connsiteY175" fmla="*/ 2077077 h 3192694"/>
              <a:gd name="connsiteX176" fmla="*/ 1212031 w 8115305"/>
              <a:gd name="connsiteY176" fmla="*/ 2034162 h 3192694"/>
              <a:gd name="connsiteX177" fmla="*/ 1317960 w 8115305"/>
              <a:gd name="connsiteY177" fmla="*/ 1992152 h 3192694"/>
              <a:gd name="connsiteX178" fmla="*/ 925203 w 8115305"/>
              <a:gd name="connsiteY178" fmla="*/ 1974044 h 3192694"/>
              <a:gd name="connsiteX179" fmla="*/ 936792 w 8115305"/>
              <a:gd name="connsiteY179" fmla="*/ 2011708 h 3192694"/>
              <a:gd name="connsiteX180" fmla="*/ 824886 w 8115305"/>
              <a:gd name="connsiteY180" fmla="*/ 2053357 h 3192694"/>
              <a:gd name="connsiteX181" fmla="*/ 821808 w 8115305"/>
              <a:gd name="connsiteY181" fmla="*/ 2011889 h 3192694"/>
              <a:gd name="connsiteX182" fmla="*/ 925203 w 8115305"/>
              <a:gd name="connsiteY182" fmla="*/ 1974044 h 3192694"/>
              <a:gd name="connsiteX183" fmla="*/ 5943035 w 8115305"/>
              <a:gd name="connsiteY183" fmla="*/ 1972776 h 3192694"/>
              <a:gd name="connsiteX184" fmla="*/ 6056388 w 8115305"/>
              <a:gd name="connsiteY184" fmla="*/ 2023297 h 3192694"/>
              <a:gd name="connsiteX185" fmla="*/ 6021802 w 8115305"/>
              <a:gd name="connsiteY185" fmla="*/ 2076352 h 3192694"/>
              <a:gd name="connsiteX186" fmla="*/ 5906819 w 8115305"/>
              <a:gd name="connsiteY186" fmla="*/ 2023658 h 3192694"/>
              <a:gd name="connsiteX187" fmla="*/ 5943035 w 8115305"/>
              <a:gd name="connsiteY187" fmla="*/ 1972776 h 3192694"/>
              <a:gd name="connsiteX188" fmla="*/ 5524383 w 8115305"/>
              <a:gd name="connsiteY188" fmla="*/ 1950322 h 3192694"/>
              <a:gd name="connsiteX189" fmla="*/ 5630676 w 8115305"/>
              <a:gd name="connsiteY189" fmla="*/ 2007181 h 3192694"/>
              <a:gd name="connsiteX190" fmla="*/ 5575265 w 8115305"/>
              <a:gd name="connsiteY190" fmla="*/ 2057883 h 3192694"/>
              <a:gd name="connsiteX191" fmla="*/ 5468250 w 8115305"/>
              <a:gd name="connsiteY191" fmla="*/ 1998670 h 3192694"/>
              <a:gd name="connsiteX192" fmla="*/ 5524383 w 8115305"/>
              <a:gd name="connsiteY192" fmla="*/ 1950322 h 3192694"/>
              <a:gd name="connsiteX193" fmla="*/ 546202 w 8115305"/>
              <a:gd name="connsiteY193" fmla="*/ 1950322 h 3192694"/>
              <a:gd name="connsiteX194" fmla="*/ 545115 w 8115305"/>
              <a:gd name="connsiteY194" fmla="*/ 1985089 h 3192694"/>
              <a:gd name="connsiteX195" fmla="*/ 454939 w 8115305"/>
              <a:gd name="connsiteY195" fmla="*/ 2015510 h 3192694"/>
              <a:gd name="connsiteX196" fmla="*/ 457473 w 8115305"/>
              <a:gd name="connsiteY196" fmla="*/ 1979294 h 3192694"/>
              <a:gd name="connsiteX197" fmla="*/ 546202 w 8115305"/>
              <a:gd name="connsiteY197" fmla="*/ 1950322 h 3192694"/>
              <a:gd name="connsiteX198" fmla="*/ 162318 w 8115305"/>
              <a:gd name="connsiteY198" fmla="*/ 1934388 h 3192694"/>
              <a:gd name="connsiteX199" fmla="*/ 163404 w 8115305"/>
              <a:gd name="connsiteY199" fmla="*/ 1961731 h 3192694"/>
              <a:gd name="connsiteX200" fmla="*/ 77030 w 8115305"/>
              <a:gd name="connsiteY200" fmla="*/ 1992152 h 3192694"/>
              <a:gd name="connsiteX201" fmla="*/ 77030 w 8115305"/>
              <a:gd name="connsiteY201" fmla="*/ 1961731 h 3192694"/>
              <a:gd name="connsiteX202" fmla="*/ 162318 w 8115305"/>
              <a:gd name="connsiteY202" fmla="*/ 1934388 h 3192694"/>
              <a:gd name="connsiteX203" fmla="*/ 5080200 w 8115305"/>
              <a:gd name="connsiteY203" fmla="*/ 1916643 h 3192694"/>
              <a:gd name="connsiteX204" fmla="*/ 5188846 w 8115305"/>
              <a:gd name="connsiteY204" fmla="*/ 1970785 h 3192694"/>
              <a:gd name="connsiteX205" fmla="*/ 5134523 w 8115305"/>
              <a:gd name="connsiteY205" fmla="*/ 2031627 h 3192694"/>
              <a:gd name="connsiteX206" fmla="*/ 5019539 w 8115305"/>
              <a:gd name="connsiteY206" fmla="*/ 1972415 h 3192694"/>
              <a:gd name="connsiteX207" fmla="*/ 5080200 w 8115305"/>
              <a:gd name="connsiteY207" fmla="*/ 1916643 h 3192694"/>
              <a:gd name="connsiteX208" fmla="*/ 4671688 w 8115305"/>
              <a:gd name="connsiteY208" fmla="*/ 1896180 h 3192694"/>
              <a:gd name="connsiteX209" fmla="*/ 4774359 w 8115305"/>
              <a:gd name="connsiteY209" fmla="*/ 1953220 h 3192694"/>
              <a:gd name="connsiteX210" fmla="*/ 4701928 w 8115305"/>
              <a:gd name="connsiteY210" fmla="*/ 2012252 h 3192694"/>
              <a:gd name="connsiteX211" fmla="*/ 4601068 w 8115305"/>
              <a:gd name="connsiteY211" fmla="*/ 1950505 h 3192694"/>
              <a:gd name="connsiteX212" fmla="*/ 4671688 w 8115305"/>
              <a:gd name="connsiteY212" fmla="*/ 1896180 h 3192694"/>
              <a:gd name="connsiteX213" fmla="*/ 4280199 w 8115305"/>
              <a:gd name="connsiteY213" fmla="*/ 1867207 h 3192694"/>
              <a:gd name="connsiteX214" fmla="*/ 4363675 w 8115305"/>
              <a:gd name="connsiteY214" fmla="*/ 1928229 h 3192694"/>
              <a:gd name="connsiteX215" fmla="*/ 4276216 w 8115305"/>
              <a:gd name="connsiteY215" fmla="*/ 1982915 h 3192694"/>
              <a:gd name="connsiteX216" fmla="*/ 4189660 w 8115305"/>
              <a:gd name="connsiteY216" fmla="*/ 1921530 h 3192694"/>
              <a:gd name="connsiteX217" fmla="*/ 4280199 w 8115305"/>
              <a:gd name="connsiteY217" fmla="*/ 1867207 h 3192694"/>
              <a:gd name="connsiteX218" fmla="*/ 3878389 w 8115305"/>
              <a:gd name="connsiteY218" fmla="*/ 1849824 h 3192694"/>
              <a:gd name="connsiteX219" fmla="*/ 3959873 w 8115305"/>
              <a:gd name="connsiteY219" fmla="*/ 1905052 h 3192694"/>
              <a:gd name="connsiteX220" fmla="*/ 3871870 w 8115305"/>
              <a:gd name="connsiteY220" fmla="*/ 1962997 h 3192694"/>
              <a:gd name="connsiteX221" fmla="*/ 3787850 w 8115305"/>
              <a:gd name="connsiteY221" fmla="*/ 1903060 h 3192694"/>
              <a:gd name="connsiteX222" fmla="*/ 3878389 w 8115305"/>
              <a:gd name="connsiteY222" fmla="*/ 1849824 h 3192694"/>
              <a:gd name="connsiteX223" fmla="*/ 7838916 w 8115305"/>
              <a:gd name="connsiteY223" fmla="*/ 1838961 h 3192694"/>
              <a:gd name="connsiteX224" fmla="*/ 7926557 w 8115305"/>
              <a:gd name="connsiteY224" fmla="*/ 1867751 h 3192694"/>
              <a:gd name="connsiteX225" fmla="*/ 7926557 w 8115305"/>
              <a:gd name="connsiteY225" fmla="*/ 1897992 h 3192694"/>
              <a:gd name="connsiteX226" fmla="*/ 7837287 w 8115305"/>
              <a:gd name="connsiteY226" fmla="*/ 1868476 h 3192694"/>
              <a:gd name="connsiteX227" fmla="*/ 7838916 w 8115305"/>
              <a:gd name="connsiteY227" fmla="*/ 1838961 h 3192694"/>
              <a:gd name="connsiteX228" fmla="*/ 3488708 w 8115305"/>
              <a:gd name="connsiteY228" fmla="*/ 1823388 h 3192694"/>
              <a:gd name="connsiteX229" fmla="*/ 3564036 w 8115305"/>
              <a:gd name="connsiteY229" fmla="*/ 1879521 h 3192694"/>
              <a:gd name="connsiteX230" fmla="*/ 3465169 w 8115305"/>
              <a:gd name="connsiteY230" fmla="*/ 1934207 h 3192694"/>
              <a:gd name="connsiteX231" fmla="*/ 3392738 w 8115305"/>
              <a:gd name="connsiteY231" fmla="*/ 1877711 h 3192694"/>
              <a:gd name="connsiteX232" fmla="*/ 3488708 w 8115305"/>
              <a:gd name="connsiteY232" fmla="*/ 1823388 h 3192694"/>
              <a:gd name="connsiteX233" fmla="*/ 7411935 w 8115305"/>
              <a:gd name="connsiteY233" fmla="*/ 1814152 h 3192694"/>
              <a:gd name="connsiteX234" fmla="*/ 7520040 w 8115305"/>
              <a:gd name="connsiteY234" fmla="*/ 1851997 h 3192694"/>
              <a:gd name="connsiteX235" fmla="*/ 7507907 w 8115305"/>
              <a:gd name="connsiteY235" fmla="*/ 1886583 h 3192694"/>
              <a:gd name="connsiteX236" fmla="*/ 7405055 w 8115305"/>
              <a:gd name="connsiteY236" fmla="*/ 1850367 h 3192694"/>
              <a:gd name="connsiteX237" fmla="*/ 7411935 w 8115305"/>
              <a:gd name="connsiteY237" fmla="*/ 1814152 h 3192694"/>
              <a:gd name="connsiteX238" fmla="*/ 3095951 w 8115305"/>
              <a:gd name="connsiteY238" fmla="*/ 1805824 h 3192694"/>
              <a:gd name="connsiteX239" fmla="*/ 3160776 w 8115305"/>
              <a:gd name="connsiteY239" fmla="*/ 1857250 h 3192694"/>
              <a:gd name="connsiteX240" fmla="*/ 3058106 w 8115305"/>
              <a:gd name="connsiteY240" fmla="*/ 1914651 h 3192694"/>
              <a:gd name="connsiteX241" fmla="*/ 2991470 w 8115305"/>
              <a:gd name="connsiteY241" fmla="*/ 1858516 h 3192694"/>
              <a:gd name="connsiteX242" fmla="*/ 3095951 w 8115305"/>
              <a:gd name="connsiteY242" fmla="*/ 1805824 h 3192694"/>
              <a:gd name="connsiteX243" fmla="*/ 6991472 w 8115305"/>
              <a:gd name="connsiteY243" fmla="*/ 1791155 h 3192694"/>
              <a:gd name="connsiteX244" fmla="*/ 7110078 w 8115305"/>
              <a:gd name="connsiteY244" fmla="*/ 1830811 h 3192694"/>
              <a:gd name="connsiteX245" fmla="*/ 7100299 w 8115305"/>
              <a:gd name="connsiteY245" fmla="*/ 1874451 h 3192694"/>
              <a:gd name="connsiteX246" fmla="*/ 6980427 w 8115305"/>
              <a:gd name="connsiteY246" fmla="*/ 1831353 h 3192694"/>
              <a:gd name="connsiteX247" fmla="*/ 6991472 w 8115305"/>
              <a:gd name="connsiteY247" fmla="*/ 1791155 h 3192694"/>
              <a:gd name="connsiteX248" fmla="*/ 2720782 w 8115305"/>
              <a:gd name="connsiteY248" fmla="*/ 1789345 h 3192694"/>
              <a:gd name="connsiteX249" fmla="*/ 2775104 w 8115305"/>
              <a:gd name="connsiteY249" fmla="*/ 1841495 h 3192694"/>
              <a:gd name="connsiteX250" fmla="*/ 2659937 w 8115305"/>
              <a:gd name="connsiteY250" fmla="*/ 1895819 h 3192694"/>
              <a:gd name="connsiteX251" fmla="*/ 2609240 w 8115305"/>
              <a:gd name="connsiteY251" fmla="*/ 1843307 h 3192694"/>
              <a:gd name="connsiteX252" fmla="*/ 2720782 w 8115305"/>
              <a:gd name="connsiteY252" fmla="*/ 1789345 h 3192694"/>
              <a:gd name="connsiteX253" fmla="*/ 2355367 w 8115305"/>
              <a:gd name="connsiteY253" fmla="*/ 1765623 h 3192694"/>
              <a:gd name="connsiteX254" fmla="*/ 2402623 w 8115305"/>
              <a:gd name="connsiteY254" fmla="*/ 1812342 h 3192694"/>
              <a:gd name="connsiteX255" fmla="*/ 2289089 w 8115305"/>
              <a:gd name="connsiteY255" fmla="*/ 1866666 h 3192694"/>
              <a:gd name="connsiteX256" fmla="*/ 2241469 w 8115305"/>
              <a:gd name="connsiteY256" fmla="*/ 1815057 h 3192694"/>
              <a:gd name="connsiteX257" fmla="*/ 2355367 w 8115305"/>
              <a:gd name="connsiteY257" fmla="*/ 1765623 h 3192694"/>
              <a:gd name="connsiteX258" fmla="*/ 6583144 w 8115305"/>
              <a:gd name="connsiteY258" fmla="*/ 1762726 h 3192694"/>
              <a:gd name="connsiteX259" fmla="*/ 6698310 w 8115305"/>
              <a:gd name="connsiteY259" fmla="*/ 1805821 h 3192694"/>
              <a:gd name="connsiteX260" fmla="*/ 6672597 w 8115305"/>
              <a:gd name="connsiteY260" fmla="*/ 1850548 h 3192694"/>
              <a:gd name="connsiteX261" fmla="*/ 6556888 w 8115305"/>
              <a:gd name="connsiteY261" fmla="*/ 1803831 h 3192694"/>
              <a:gd name="connsiteX262" fmla="*/ 6583144 w 8115305"/>
              <a:gd name="connsiteY262" fmla="*/ 1762726 h 3192694"/>
              <a:gd name="connsiteX263" fmla="*/ 1988498 w 8115305"/>
              <a:gd name="connsiteY263" fmla="*/ 1752586 h 3192694"/>
              <a:gd name="connsiteX264" fmla="*/ 2024715 w 8115305"/>
              <a:gd name="connsiteY264" fmla="*/ 1796044 h 3192694"/>
              <a:gd name="connsiteX265" fmla="*/ 1911358 w 8115305"/>
              <a:gd name="connsiteY265" fmla="*/ 1843668 h 3192694"/>
              <a:gd name="connsiteX266" fmla="*/ 1877134 w 8115305"/>
              <a:gd name="connsiteY266" fmla="*/ 1798398 h 3192694"/>
              <a:gd name="connsiteX267" fmla="*/ 1988498 w 8115305"/>
              <a:gd name="connsiteY267" fmla="*/ 1752586 h 3192694"/>
              <a:gd name="connsiteX268" fmla="*/ 6167934 w 8115305"/>
              <a:gd name="connsiteY268" fmla="*/ 1742082 h 3192694"/>
              <a:gd name="connsiteX269" fmla="*/ 6285994 w 8115305"/>
              <a:gd name="connsiteY269" fmla="*/ 1784455 h 3192694"/>
              <a:gd name="connsiteX270" fmla="*/ 6262636 w 8115305"/>
              <a:gd name="connsiteY270" fmla="*/ 1837147 h 3192694"/>
              <a:gd name="connsiteX271" fmla="*/ 6142400 w 8115305"/>
              <a:gd name="connsiteY271" fmla="*/ 1792964 h 3192694"/>
              <a:gd name="connsiteX272" fmla="*/ 6167934 w 8115305"/>
              <a:gd name="connsiteY272" fmla="*/ 1742082 h 3192694"/>
              <a:gd name="connsiteX273" fmla="*/ 1639746 w 8115305"/>
              <a:gd name="connsiteY273" fmla="*/ 1729769 h 3192694"/>
              <a:gd name="connsiteX274" fmla="*/ 1663466 w 8115305"/>
              <a:gd name="connsiteY274" fmla="*/ 1771418 h 3192694"/>
              <a:gd name="connsiteX275" fmla="*/ 1550476 w 8115305"/>
              <a:gd name="connsiteY275" fmla="*/ 1815238 h 3192694"/>
              <a:gd name="connsiteX276" fmla="*/ 1522587 w 8115305"/>
              <a:gd name="connsiteY276" fmla="*/ 1774133 h 3192694"/>
              <a:gd name="connsiteX277" fmla="*/ 1639746 w 8115305"/>
              <a:gd name="connsiteY277" fmla="*/ 1729769 h 3192694"/>
              <a:gd name="connsiteX278" fmla="*/ 1282656 w 8115305"/>
              <a:gd name="connsiteY278" fmla="*/ 1715102 h 3192694"/>
              <a:gd name="connsiteX279" fmla="*/ 1298590 w 8115305"/>
              <a:gd name="connsiteY279" fmla="*/ 1756751 h 3192694"/>
              <a:gd name="connsiteX280" fmla="*/ 1185417 w 8115305"/>
              <a:gd name="connsiteY280" fmla="*/ 1796225 h 3192694"/>
              <a:gd name="connsiteX281" fmla="*/ 1171112 w 8115305"/>
              <a:gd name="connsiteY281" fmla="*/ 1753310 h 3192694"/>
              <a:gd name="connsiteX282" fmla="*/ 1282656 w 8115305"/>
              <a:gd name="connsiteY282" fmla="*/ 1715102 h 3192694"/>
              <a:gd name="connsiteX283" fmla="*/ 5774090 w 8115305"/>
              <a:gd name="connsiteY283" fmla="*/ 1714559 h 3192694"/>
              <a:gd name="connsiteX284" fmla="*/ 5893240 w 8115305"/>
              <a:gd name="connsiteY284" fmla="*/ 1762727 h 3192694"/>
              <a:gd name="connsiteX285" fmla="*/ 5850867 w 8115305"/>
              <a:gd name="connsiteY285" fmla="*/ 1814153 h 3192694"/>
              <a:gd name="connsiteX286" fmla="*/ 5732080 w 8115305"/>
              <a:gd name="connsiteY286" fmla="*/ 1761639 h 3192694"/>
              <a:gd name="connsiteX287" fmla="*/ 5774090 w 8115305"/>
              <a:gd name="connsiteY287" fmla="*/ 1714559 h 3192694"/>
              <a:gd name="connsiteX288" fmla="*/ 5395276 w 8115305"/>
              <a:gd name="connsiteY288" fmla="*/ 1697538 h 3192694"/>
              <a:gd name="connsiteX289" fmla="*/ 5508629 w 8115305"/>
              <a:gd name="connsiteY289" fmla="*/ 1748059 h 3192694"/>
              <a:gd name="connsiteX290" fmla="*/ 5453221 w 8115305"/>
              <a:gd name="connsiteY290" fmla="*/ 1798580 h 3192694"/>
              <a:gd name="connsiteX291" fmla="*/ 5340953 w 8115305"/>
              <a:gd name="connsiteY291" fmla="*/ 1744257 h 3192694"/>
              <a:gd name="connsiteX292" fmla="*/ 5395276 w 8115305"/>
              <a:gd name="connsiteY292" fmla="*/ 1697538 h 3192694"/>
              <a:gd name="connsiteX293" fmla="*/ 927562 w 8115305"/>
              <a:gd name="connsiteY293" fmla="*/ 1695185 h 3192694"/>
              <a:gd name="connsiteX294" fmla="*/ 938428 w 8115305"/>
              <a:gd name="connsiteY294" fmla="*/ 1727418 h 3192694"/>
              <a:gd name="connsiteX295" fmla="*/ 831953 w 8115305"/>
              <a:gd name="connsiteY295" fmla="*/ 1765624 h 3192694"/>
              <a:gd name="connsiteX296" fmla="*/ 821813 w 8115305"/>
              <a:gd name="connsiteY296" fmla="*/ 1729408 h 3192694"/>
              <a:gd name="connsiteX297" fmla="*/ 927562 w 8115305"/>
              <a:gd name="connsiteY297" fmla="*/ 1695185 h 3192694"/>
              <a:gd name="connsiteX298" fmla="*/ 579889 w 8115305"/>
              <a:gd name="connsiteY298" fmla="*/ 1683596 h 3192694"/>
              <a:gd name="connsiteX299" fmla="*/ 582243 w 8115305"/>
              <a:gd name="connsiteY299" fmla="*/ 1714198 h 3192694"/>
              <a:gd name="connsiteX300" fmla="*/ 484461 w 8115305"/>
              <a:gd name="connsiteY300" fmla="*/ 1745526 h 3192694"/>
              <a:gd name="connsiteX301" fmla="*/ 477037 w 8115305"/>
              <a:gd name="connsiteY301" fmla="*/ 1716190 h 3192694"/>
              <a:gd name="connsiteX302" fmla="*/ 579889 w 8115305"/>
              <a:gd name="connsiteY302" fmla="*/ 1683596 h 3192694"/>
              <a:gd name="connsiteX303" fmla="*/ 5012657 w 8115305"/>
              <a:gd name="connsiteY303" fmla="*/ 1670919 h 3192694"/>
              <a:gd name="connsiteX304" fmla="*/ 5125650 w 8115305"/>
              <a:gd name="connsiteY304" fmla="*/ 1721077 h 3192694"/>
              <a:gd name="connsiteX305" fmla="*/ 5063903 w 8115305"/>
              <a:gd name="connsiteY305" fmla="*/ 1776488 h 3192694"/>
              <a:gd name="connsiteX306" fmla="*/ 4952179 w 8115305"/>
              <a:gd name="connsiteY306" fmla="*/ 1722165 h 3192694"/>
              <a:gd name="connsiteX307" fmla="*/ 5012657 w 8115305"/>
              <a:gd name="connsiteY307" fmla="*/ 1670919 h 3192694"/>
              <a:gd name="connsiteX308" fmla="*/ 241809 w 8115305"/>
              <a:gd name="connsiteY308" fmla="*/ 1666212 h 3192694"/>
              <a:gd name="connsiteX309" fmla="*/ 243620 w 8115305"/>
              <a:gd name="connsiteY309" fmla="*/ 1689753 h 3192694"/>
              <a:gd name="connsiteX310" fmla="*/ 160867 w 8115305"/>
              <a:gd name="connsiteY310" fmla="*/ 1715104 h 3192694"/>
              <a:gd name="connsiteX311" fmla="*/ 159962 w 8115305"/>
              <a:gd name="connsiteY311" fmla="*/ 1691201 h 3192694"/>
              <a:gd name="connsiteX312" fmla="*/ 241809 w 8115305"/>
              <a:gd name="connsiteY312" fmla="*/ 1666212 h 3192694"/>
              <a:gd name="connsiteX313" fmla="*/ 4647061 w 8115305"/>
              <a:gd name="connsiteY313" fmla="*/ 1653175 h 3192694"/>
              <a:gd name="connsiteX314" fmla="*/ 4754259 w 8115305"/>
              <a:gd name="connsiteY314" fmla="*/ 1706411 h 3192694"/>
              <a:gd name="connsiteX315" fmla="*/ 4681828 w 8115305"/>
              <a:gd name="connsiteY315" fmla="*/ 1761821 h 3192694"/>
              <a:gd name="connsiteX316" fmla="*/ 4574630 w 8115305"/>
              <a:gd name="connsiteY316" fmla="*/ 1710032 h 3192694"/>
              <a:gd name="connsiteX317" fmla="*/ 4647061 w 8115305"/>
              <a:gd name="connsiteY317" fmla="*/ 1653175 h 3192694"/>
              <a:gd name="connsiteX318" fmla="*/ 7909176 w 8115305"/>
              <a:gd name="connsiteY318" fmla="*/ 1635065 h 3192694"/>
              <a:gd name="connsiteX319" fmla="*/ 7997179 w 8115305"/>
              <a:gd name="connsiteY319" fmla="*/ 1661864 h 3192694"/>
              <a:gd name="connsiteX320" fmla="*/ 7994463 w 8115305"/>
              <a:gd name="connsiteY320" fmla="*/ 1684500 h 3192694"/>
              <a:gd name="connsiteX321" fmla="*/ 7905011 w 8115305"/>
              <a:gd name="connsiteY321" fmla="*/ 1657157 h 3192694"/>
              <a:gd name="connsiteX322" fmla="*/ 7909176 w 8115305"/>
              <a:gd name="connsiteY322" fmla="*/ 1635065 h 3192694"/>
              <a:gd name="connsiteX323" fmla="*/ 4275672 w 8115305"/>
              <a:gd name="connsiteY323" fmla="*/ 1629997 h 3192694"/>
              <a:gd name="connsiteX324" fmla="*/ 4370016 w 8115305"/>
              <a:gd name="connsiteY324" fmla="*/ 1684320 h 3192694"/>
              <a:gd name="connsiteX325" fmla="*/ 4279477 w 8115305"/>
              <a:gd name="connsiteY325" fmla="*/ 1737556 h 3192694"/>
              <a:gd name="connsiteX326" fmla="*/ 4188938 w 8115305"/>
              <a:gd name="connsiteY326" fmla="*/ 1681967 h 3192694"/>
              <a:gd name="connsiteX327" fmla="*/ 4275672 w 8115305"/>
              <a:gd name="connsiteY327" fmla="*/ 1629997 h 3192694"/>
              <a:gd name="connsiteX328" fmla="*/ 3919673 w 8115305"/>
              <a:gd name="connsiteY328" fmla="*/ 1614604 h 3192694"/>
              <a:gd name="connsiteX329" fmla="*/ 4005685 w 8115305"/>
              <a:gd name="connsiteY329" fmla="*/ 1667659 h 3192694"/>
              <a:gd name="connsiteX330" fmla="*/ 3911164 w 8115305"/>
              <a:gd name="connsiteY330" fmla="*/ 1721982 h 3192694"/>
              <a:gd name="connsiteX331" fmla="*/ 3825332 w 8115305"/>
              <a:gd name="connsiteY331" fmla="*/ 1666210 h 3192694"/>
              <a:gd name="connsiteX332" fmla="*/ 3919673 w 8115305"/>
              <a:gd name="connsiteY332" fmla="*/ 1614604 h 3192694"/>
              <a:gd name="connsiteX333" fmla="*/ 7508630 w 8115305"/>
              <a:gd name="connsiteY333" fmla="*/ 1606817 h 3192694"/>
              <a:gd name="connsiteX334" fmla="*/ 7608767 w 8115305"/>
              <a:gd name="connsiteY334" fmla="*/ 1638325 h 3192694"/>
              <a:gd name="connsiteX335" fmla="*/ 7600980 w 8115305"/>
              <a:gd name="connsiteY335" fmla="*/ 1667841 h 3192694"/>
              <a:gd name="connsiteX336" fmla="*/ 7499757 w 8115305"/>
              <a:gd name="connsiteY336" fmla="*/ 1635428 h 3192694"/>
              <a:gd name="connsiteX337" fmla="*/ 7508630 w 8115305"/>
              <a:gd name="connsiteY337" fmla="*/ 1606817 h 3192694"/>
              <a:gd name="connsiteX338" fmla="*/ 3570918 w 8115305"/>
              <a:gd name="connsiteY338" fmla="*/ 1593419 h 3192694"/>
              <a:gd name="connsiteX339" fmla="*/ 3647514 w 8115305"/>
              <a:gd name="connsiteY339" fmla="*/ 1645208 h 3192694"/>
              <a:gd name="connsiteX340" fmla="*/ 3545023 w 8115305"/>
              <a:gd name="connsiteY340" fmla="*/ 1698082 h 3192694"/>
              <a:gd name="connsiteX341" fmla="*/ 3469153 w 8115305"/>
              <a:gd name="connsiteY341" fmla="*/ 1643759 h 3192694"/>
              <a:gd name="connsiteX342" fmla="*/ 3570918 w 8115305"/>
              <a:gd name="connsiteY342" fmla="*/ 1593419 h 3192694"/>
              <a:gd name="connsiteX343" fmla="*/ 7113881 w 8115305"/>
              <a:gd name="connsiteY343" fmla="*/ 1586358 h 3192694"/>
              <a:gd name="connsiteX344" fmla="*/ 7223796 w 8115305"/>
              <a:gd name="connsiteY344" fmla="*/ 1621305 h 3192694"/>
              <a:gd name="connsiteX345" fmla="*/ 7213475 w 8115305"/>
              <a:gd name="connsiteY345" fmla="*/ 1658788 h 3192694"/>
              <a:gd name="connsiteX346" fmla="*/ 7101750 w 8115305"/>
              <a:gd name="connsiteY346" fmla="*/ 1622573 h 3192694"/>
              <a:gd name="connsiteX347" fmla="*/ 7113881 w 8115305"/>
              <a:gd name="connsiteY347" fmla="*/ 1586358 h 3192694"/>
              <a:gd name="connsiteX348" fmla="*/ 3224336 w 8115305"/>
              <a:gd name="connsiteY348" fmla="*/ 1578932 h 3192694"/>
              <a:gd name="connsiteX349" fmla="*/ 3293326 w 8115305"/>
              <a:gd name="connsiteY349" fmla="*/ 1629997 h 3192694"/>
              <a:gd name="connsiteX350" fmla="*/ 3182326 w 8115305"/>
              <a:gd name="connsiteY350" fmla="*/ 1681965 h 3192694"/>
              <a:gd name="connsiteX351" fmla="*/ 3118405 w 8115305"/>
              <a:gd name="connsiteY351" fmla="*/ 1626556 h 3192694"/>
              <a:gd name="connsiteX352" fmla="*/ 3224336 w 8115305"/>
              <a:gd name="connsiteY352" fmla="*/ 1578932 h 3192694"/>
              <a:gd name="connsiteX353" fmla="*/ 6730541 w 8115305"/>
              <a:gd name="connsiteY353" fmla="*/ 1562636 h 3192694"/>
              <a:gd name="connsiteX354" fmla="*/ 6844982 w 8115305"/>
              <a:gd name="connsiteY354" fmla="*/ 1598851 h 3192694"/>
              <a:gd name="connsiteX355" fmla="*/ 6831764 w 8115305"/>
              <a:gd name="connsiteY355" fmla="*/ 1639052 h 3192694"/>
              <a:gd name="connsiteX356" fmla="*/ 6715330 w 8115305"/>
              <a:gd name="connsiteY356" fmla="*/ 1601387 h 3192694"/>
              <a:gd name="connsiteX357" fmla="*/ 6730541 w 8115305"/>
              <a:gd name="connsiteY357" fmla="*/ 1562636 h 3192694"/>
              <a:gd name="connsiteX358" fmla="*/ 2890066 w 8115305"/>
              <a:gd name="connsiteY358" fmla="*/ 1558471 h 3192694"/>
              <a:gd name="connsiteX359" fmla="*/ 2946382 w 8115305"/>
              <a:gd name="connsiteY359" fmla="*/ 1610439 h 3192694"/>
              <a:gd name="connsiteX360" fmla="*/ 2831239 w 8115305"/>
              <a:gd name="connsiteY360" fmla="*/ 1658607 h 3192694"/>
              <a:gd name="connsiteX361" fmla="*/ 2776915 w 8115305"/>
              <a:gd name="connsiteY361" fmla="*/ 1604283 h 3192694"/>
              <a:gd name="connsiteX362" fmla="*/ 2890066 w 8115305"/>
              <a:gd name="connsiteY362" fmla="*/ 1558471 h 3192694"/>
              <a:gd name="connsiteX363" fmla="*/ 2550566 w 8115305"/>
              <a:gd name="connsiteY363" fmla="*/ 1546157 h 3192694"/>
              <a:gd name="connsiteX364" fmla="*/ 2602898 w 8115305"/>
              <a:gd name="connsiteY364" fmla="*/ 1592152 h 3192694"/>
              <a:gd name="connsiteX365" fmla="*/ 2485920 w 8115305"/>
              <a:gd name="connsiteY365" fmla="*/ 1641766 h 3192694"/>
              <a:gd name="connsiteX366" fmla="*/ 2435038 w 8115305"/>
              <a:gd name="connsiteY366" fmla="*/ 1593781 h 3192694"/>
              <a:gd name="connsiteX367" fmla="*/ 2550566 w 8115305"/>
              <a:gd name="connsiteY367" fmla="*/ 1546157 h 3192694"/>
              <a:gd name="connsiteX368" fmla="*/ 6366032 w 8115305"/>
              <a:gd name="connsiteY368" fmla="*/ 1543985 h 3192694"/>
              <a:gd name="connsiteX369" fmla="*/ 6487716 w 8115305"/>
              <a:gd name="connsiteY369" fmla="*/ 1586175 h 3192694"/>
              <a:gd name="connsiteX370" fmla="*/ 6458561 w 8115305"/>
              <a:gd name="connsiteY370" fmla="*/ 1629092 h 3192694"/>
              <a:gd name="connsiteX371" fmla="*/ 6336335 w 8115305"/>
              <a:gd name="connsiteY371" fmla="*/ 1583641 h 3192694"/>
              <a:gd name="connsiteX372" fmla="*/ 6366032 w 8115305"/>
              <a:gd name="connsiteY372" fmla="*/ 1543985 h 3192694"/>
              <a:gd name="connsiteX373" fmla="*/ 2209960 w 8115305"/>
              <a:gd name="connsiteY373" fmla="*/ 1528593 h 3192694"/>
              <a:gd name="connsiteX374" fmla="*/ 2253417 w 8115305"/>
              <a:gd name="connsiteY374" fmla="*/ 1570060 h 3192694"/>
              <a:gd name="connsiteX375" fmla="*/ 2138617 w 8115305"/>
              <a:gd name="connsiteY375" fmla="*/ 1616416 h 3192694"/>
              <a:gd name="connsiteX376" fmla="*/ 2096424 w 8115305"/>
              <a:gd name="connsiteY376" fmla="*/ 1573138 h 3192694"/>
              <a:gd name="connsiteX377" fmla="*/ 2209960 w 8115305"/>
              <a:gd name="connsiteY377" fmla="*/ 1528593 h 3192694"/>
              <a:gd name="connsiteX378" fmla="*/ 6004601 w 8115305"/>
              <a:gd name="connsiteY378" fmla="*/ 1521350 h 3192694"/>
              <a:gd name="connsiteX379" fmla="*/ 6121396 w 8115305"/>
              <a:gd name="connsiteY379" fmla="*/ 1564446 h 3192694"/>
              <a:gd name="connsiteX380" fmla="*/ 6085180 w 8115305"/>
              <a:gd name="connsiteY380" fmla="*/ 1608992 h 3192694"/>
              <a:gd name="connsiteX381" fmla="*/ 5967479 w 8115305"/>
              <a:gd name="connsiteY381" fmla="*/ 1564085 h 3192694"/>
              <a:gd name="connsiteX382" fmla="*/ 6004601 w 8115305"/>
              <a:gd name="connsiteY382" fmla="*/ 1521350 h 3192694"/>
              <a:gd name="connsiteX383" fmla="*/ 1884198 w 8115305"/>
              <a:gd name="connsiteY383" fmla="*/ 1516642 h 3192694"/>
              <a:gd name="connsiteX384" fmla="*/ 1918060 w 8115305"/>
              <a:gd name="connsiteY384" fmla="*/ 1556298 h 3192694"/>
              <a:gd name="connsiteX385" fmla="*/ 1802714 w 8115305"/>
              <a:gd name="connsiteY385" fmla="*/ 1600118 h 3192694"/>
              <a:gd name="connsiteX386" fmla="*/ 1769031 w 8115305"/>
              <a:gd name="connsiteY386" fmla="*/ 1557203 h 3192694"/>
              <a:gd name="connsiteX387" fmla="*/ 1884198 w 8115305"/>
              <a:gd name="connsiteY387" fmla="*/ 1516642 h 3192694"/>
              <a:gd name="connsiteX388" fmla="*/ 5660553 w 8115305"/>
              <a:gd name="connsiteY388" fmla="*/ 1504872 h 3192694"/>
              <a:gd name="connsiteX389" fmla="*/ 5775718 w 8115305"/>
              <a:gd name="connsiteY389" fmla="*/ 1557385 h 3192694"/>
              <a:gd name="connsiteX390" fmla="*/ 5715963 w 8115305"/>
              <a:gd name="connsiteY390" fmla="*/ 1598490 h 3192694"/>
              <a:gd name="connsiteX391" fmla="*/ 5600074 w 8115305"/>
              <a:gd name="connsiteY391" fmla="*/ 1544167 h 3192694"/>
              <a:gd name="connsiteX392" fmla="*/ 5660553 w 8115305"/>
              <a:gd name="connsiteY392" fmla="*/ 1504872 h 3192694"/>
              <a:gd name="connsiteX393" fmla="*/ 1572926 w 8115305"/>
              <a:gd name="connsiteY393" fmla="*/ 1497810 h 3192694"/>
              <a:gd name="connsiteX394" fmla="*/ 1592120 w 8115305"/>
              <a:gd name="connsiteY394" fmla="*/ 1538191 h 3192694"/>
              <a:gd name="connsiteX395" fmla="*/ 1474058 w 8115305"/>
              <a:gd name="connsiteY395" fmla="*/ 1577123 h 3192694"/>
              <a:gd name="connsiteX396" fmla="*/ 1455949 w 8115305"/>
              <a:gd name="connsiteY396" fmla="*/ 1534025 h 3192694"/>
              <a:gd name="connsiteX397" fmla="*/ 1572926 w 8115305"/>
              <a:gd name="connsiteY397" fmla="*/ 1497810 h 3192694"/>
              <a:gd name="connsiteX398" fmla="*/ 1248616 w 8115305"/>
              <a:gd name="connsiteY398" fmla="*/ 1489481 h 3192694"/>
              <a:gd name="connsiteX399" fmla="*/ 1263464 w 8115305"/>
              <a:gd name="connsiteY399" fmla="*/ 1522799 h 3192694"/>
              <a:gd name="connsiteX400" fmla="*/ 1150834 w 8115305"/>
              <a:gd name="connsiteY400" fmla="*/ 1558471 h 3192694"/>
              <a:gd name="connsiteX401" fmla="*/ 1137616 w 8115305"/>
              <a:gd name="connsiteY401" fmla="*/ 1524067 h 3192694"/>
              <a:gd name="connsiteX402" fmla="*/ 1248616 w 8115305"/>
              <a:gd name="connsiteY402" fmla="*/ 1489481 h 3192694"/>
              <a:gd name="connsiteX403" fmla="*/ 5293870 w 8115305"/>
              <a:gd name="connsiteY403" fmla="*/ 1483506 h 3192694"/>
              <a:gd name="connsiteX404" fmla="*/ 5405052 w 8115305"/>
              <a:gd name="connsiteY404" fmla="*/ 1530223 h 3192694"/>
              <a:gd name="connsiteX405" fmla="*/ 5346383 w 8115305"/>
              <a:gd name="connsiteY405" fmla="*/ 1578934 h 3192694"/>
              <a:gd name="connsiteX406" fmla="*/ 5233935 w 8115305"/>
              <a:gd name="connsiteY406" fmla="*/ 1530223 h 3192694"/>
              <a:gd name="connsiteX407" fmla="*/ 5293870 w 8115305"/>
              <a:gd name="connsiteY407" fmla="*/ 1483506 h 3192694"/>
              <a:gd name="connsiteX408" fmla="*/ 931366 w 8115305"/>
              <a:gd name="connsiteY408" fmla="*/ 1478616 h 3192694"/>
              <a:gd name="connsiteX409" fmla="*/ 938610 w 8115305"/>
              <a:gd name="connsiteY409" fmla="*/ 1510848 h 3192694"/>
              <a:gd name="connsiteX410" fmla="*/ 830870 w 8115305"/>
              <a:gd name="connsiteY410" fmla="*/ 1542718 h 3192694"/>
              <a:gd name="connsiteX411" fmla="*/ 825078 w 8115305"/>
              <a:gd name="connsiteY411" fmla="*/ 1509217 h 3192694"/>
              <a:gd name="connsiteX412" fmla="*/ 931366 w 8115305"/>
              <a:gd name="connsiteY412" fmla="*/ 1478616 h 3192694"/>
              <a:gd name="connsiteX413" fmla="*/ 4949822 w 8115305"/>
              <a:gd name="connsiteY413" fmla="*/ 1469924 h 3192694"/>
              <a:gd name="connsiteX414" fmla="*/ 5059375 w 8115305"/>
              <a:gd name="connsiteY414" fmla="*/ 1515375 h 3192694"/>
              <a:gd name="connsiteX415" fmla="*/ 4998170 w 8115305"/>
              <a:gd name="connsiteY415" fmla="*/ 1565896 h 3192694"/>
              <a:gd name="connsiteX416" fmla="*/ 4887351 w 8115305"/>
              <a:gd name="connsiteY416" fmla="*/ 1518272 h 3192694"/>
              <a:gd name="connsiteX417" fmla="*/ 4949822 w 8115305"/>
              <a:gd name="connsiteY417" fmla="*/ 1469924 h 3192694"/>
              <a:gd name="connsiteX418" fmla="*/ 620091 w 8115305"/>
              <a:gd name="connsiteY418" fmla="*/ 1464130 h 3192694"/>
              <a:gd name="connsiteX419" fmla="*/ 629144 w 8115305"/>
              <a:gd name="connsiteY419" fmla="*/ 1489118 h 3192694"/>
              <a:gd name="connsiteX420" fmla="*/ 535165 w 8115305"/>
              <a:gd name="connsiteY420" fmla="*/ 1517366 h 3192694"/>
              <a:gd name="connsiteX421" fmla="*/ 527378 w 8115305"/>
              <a:gd name="connsiteY421" fmla="*/ 1491654 h 3192694"/>
              <a:gd name="connsiteX422" fmla="*/ 620091 w 8115305"/>
              <a:gd name="connsiteY422" fmla="*/ 1464130 h 3192694"/>
              <a:gd name="connsiteX423" fmla="*/ 7943760 w 8115305"/>
              <a:gd name="connsiteY423" fmla="*/ 1456887 h 3192694"/>
              <a:gd name="connsiteX424" fmla="*/ 8024702 w 8115305"/>
              <a:gd name="connsiteY424" fmla="*/ 1477892 h 3192694"/>
              <a:gd name="connsiteX425" fmla="*/ 8028685 w 8115305"/>
              <a:gd name="connsiteY425" fmla="*/ 1498353 h 3192694"/>
              <a:gd name="connsiteX426" fmla="*/ 7946657 w 8115305"/>
              <a:gd name="connsiteY426" fmla="*/ 1476987 h 3192694"/>
              <a:gd name="connsiteX427" fmla="*/ 7943760 w 8115305"/>
              <a:gd name="connsiteY427" fmla="*/ 1456887 h 3192694"/>
              <a:gd name="connsiteX428" fmla="*/ 4620808 w 8115305"/>
              <a:gd name="connsiteY428" fmla="*/ 1454897 h 3192694"/>
              <a:gd name="connsiteX429" fmla="*/ 4723297 w 8115305"/>
              <a:gd name="connsiteY429" fmla="*/ 1505959 h 3192694"/>
              <a:gd name="connsiteX430" fmla="*/ 4640364 w 8115305"/>
              <a:gd name="connsiteY430" fmla="*/ 1554307 h 3192694"/>
              <a:gd name="connsiteX431" fmla="*/ 4540951 w 8115305"/>
              <a:gd name="connsiteY431" fmla="*/ 1499984 h 3192694"/>
              <a:gd name="connsiteX432" fmla="*/ 4620808 w 8115305"/>
              <a:gd name="connsiteY432" fmla="*/ 1454897 h 3192694"/>
              <a:gd name="connsiteX433" fmla="*/ 295233 w 8115305"/>
              <a:gd name="connsiteY433" fmla="*/ 1454714 h 3192694"/>
              <a:gd name="connsiteX434" fmla="*/ 298855 w 8115305"/>
              <a:gd name="connsiteY434" fmla="*/ 1477711 h 3192694"/>
              <a:gd name="connsiteX435" fmla="*/ 214654 w 8115305"/>
              <a:gd name="connsiteY435" fmla="*/ 1500709 h 3192694"/>
              <a:gd name="connsiteX436" fmla="*/ 212118 w 8115305"/>
              <a:gd name="connsiteY436" fmla="*/ 1478797 h 3192694"/>
              <a:gd name="connsiteX437" fmla="*/ 295233 w 8115305"/>
              <a:gd name="connsiteY437" fmla="*/ 1454714 h 3192694"/>
              <a:gd name="connsiteX438" fmla="*/ 7585953 w 8115305"/>
              <a:gd name="connsiteY438" fmla="*/ 1439140 h 3192694"/>
              <a:gd name="connsiteX439" fmla="*/ 7679389 w 8115305"/>
              <a:gd name="connsiteY439" fmla="*/ 1464491 h 3192694"/>
              <a:gd name="connsiteX440" fmla="*/ 7679389 w 8115305"/>
              <a:gd name="connsiteY440" fmla="*/ 1490929 h 3192694"/>
              <a:gd name="connsiteX441" fmla="*/ 7584685 w 8115305"/>
              <a:gd name="connsiteY441" fmla="*/ 1464854 h 3192694"/>
              <a:gd name="connsiteX442" fmla="*/ 7585953 w 8115305"/>
              <a:gd name="connsiteY442" fmla="*/ 1439140 h 3192694"/>
              <a:gd name="connsiteX443" fmla="*/ 4287624 w 8115305"/>
              <a:gd name="connsiteY443" fmla="*/ 1434614 h 3192694"/>
              <a:gd name="connsiteX444" fmla="*/ 4386672 w 8115305"/>
              <a:gd name="connsiteY444" fmla="*/ 1485496 h 3192694"/>
              <a:gd name="connsiteX445" fmla="*/ 4300298 w 8115305"/>
              <a:gd name="connsiteY445" fmla="*/ 1535656 h 3192694"/>
              <a:gd name="connsiteX446" fmla="*/ 4201068 w 8115305"/>
              <a:gd name="connsiteY446" fmla="*/ 1482238 h 3192694"/>
              <a:gd name="connsiteX447" fmla="*/ 4287624 w 8115305"/>
              <a:gd name="connsiteY447" fmla="*/ 1434614 h 3192694"/>
              <a:gd name="connsiteX448" fmla="*/ 3966572 w 8115305"/>
              <a:gd name="connsiteY448" fmla="*/ 1422120 h 3192694"/>
              <a:gd name="connsiteX449" fmla="*/ 4054396 w 8115305"/>
              <a:gd name="connsiteY449" fmla="*/ 1474270 h 3192694"/>
              <a:gd name="connsiteX450" fmla="*/ 3956976 w 8115305"/>
              <a:gd name="connsiteY450" fmla="*/ 1522438 h 3192694"/>
              <a:gd name="connsiteX451" fmla="*/ 3869515 w 8115305"/>
              <a:gd name="connsiteY451" fmla="*/ 1468115 h 3192694"/>
              <a:gd name="connsiteX452" fmla="*/ 3966572 w 8115305"/>
              <a:gd name="connsiteY452" fmla="*/ 1422120 h 3192694"/>
              <a:gd name="connsiteX453" fmla="*/ 7222347 w 8115305"/>
              <a:gd name="connsiteY453" fmla="*/ 1415419 h 3192694"/>
              <a:gd name="connsiteX454" fmla="*/ 7330994 w 8115305"/>
              <a:gd name="connsiteY454" fmla="*/ 1446203 h 3192694"/>
              <a:gd name="connsiteX455" fmla="*/ 7320853 w 8115305"/>
              <a:gd name="connsiteY455" fmla="*/ 1477166 h 3192694"/>
              <a:gd name="connsiteX456" fmla="*/ 7216914 w 8115305"/>
              <a:gd name="connsiteY456" fmla="*/ 1446927 h 3192694"/>
              <a:gd name="connsiteX457" fmla="*/ 7222347 w 8115305"/>
              <a:gd name="connsiteY457" fmla="*/ 1415419 h 3192694"/>
              <a:gd name="connsiteX458" fmla="*/ 3647876 w 8115305"/>
              <a:gd name="connsiteY458" fmla="*/ 1404737 h 3192694"/>
              <a:gd name="connsiteX459" fmla="*/ 3727006 w 8115305"/>
              <a:gd name="connsiteY459" fmla="*/ 1451997 h 3192694"/>
              <a:gd name="connsiteX460" fmla="*/ 3621981 w 8115305"/>
              <a:gd name="connsiteY460" fmla="*/ 1503243 h 3192694"/>
              <a:gd name="connsiteX461" fmla="*/ 3543394 w 8115305"/>
              <a:gd name="connsiteY461" fmla="*/ 1452722 h 3192694"/>
              <a:gd name="connsiteX462" fmla="*/ 3647876 w 8115305"/>
              <a:gd name="connsiteY462" fmla="*/ 1404737 h 3192694"/>
              <a:gd name="connsiteX463" fmla="*/ 6876309 w 8115305"/>
              <a:gd name="connsiteY463" fmla="*/ 1399123 h 3192694"/>
              <a:gd name="connsiteX464" fmla="*/ 6993104 w 8115305"/>
              <a:gd name="connsiteY464" fmla="*/ 1433165 h 3192694"/>
              <a:gd name="connsiteX465" fmla="*/ 6984049 w 8115305"/>
              <a:gd name="connsiteY465" fmla="*/ 1469381 h 3192694"/>
              <a:gd name="connsiteX466" fmla="*/ 6864539 w 8115305"/>
              <a:gd name="connsiteY466" fmla="*/ 1435701 h 3192694"/>
              <a:gd name="connsiteX467" fmla="*/ 6876309 w 8115305"/>
              <a:gd name="connsiteY467" fmla="*/ 1399123 h 3192694"/>
              <a:gd name="connsiteX468" fmla="*/ 3322118 w 8115305"/>
              <a:gd name="connsiteY468" fmla="*/ 1392423 h 3192694"/>
              <a:gd name="connsiteX469" fmla="*/ 3391289 w 8115305"/>
              <a:gd name="connsiteY469" fmla="*/ 1440228 h 3192694"/>
              <a:gd name="connsiteX470" fmla="*/ 3278659 w 8115305"/>
              <a:gd name="connsiteY470" fmla="*/ 1489118 h 3192694"/>
              <a:gd name="connsiteX471" fmla="*/ 3210392 w 8115305"/>
              <a:gd name="connsiteY471" fmla="*/ 1438960 h 3192694"/>
              <a:gd name="connsiteX472" fmla="*/ 3322118 w 8115305"/>
              <a:gd name="connsiteY472" fmla="*/ 1392423 h 3192694"/>
              <a:gd name="connsiteX473" fmla="*/ 6535882 w 8115305"/>
              <a:gd name="connsiteY473" fmla="*/ 1379205 h 3192694"/>
              <a:gd name="connsiteX474" fmla="*/ 6649962 w 8115305"/>
              <a:gd name="connsiteY474" fmla="*/ 1415420 h 3192694"/>
              <a:gd name="connsiteX475" fmla="*/ 6628774 w 8115305"/>
              <a:gd name="connsiteY475" fmla="*/ 1451636 h 3192694"/>
              <a:gd name="connsiteX476" fmla="*/ 6508358 w 8115305"/>
              <a:gd name="connsiteY476" fmla="*/ 1412704 h 3192694"/>
              <a:gd name="connsiteX477" fmla="*/ 6535882 w 8115305"/>
              <a:gd name="connsiteY477" fmla="*/ 1379205 h 3192694"/>
              <a:gd name="connsiteX478" fmla="*/ 3013741 w 8115305"/>
              <a:gd name="connsiteY478" fmla="*/ 1375764 h 3192694"/>
              <a:gd name="connsiteX479" fmla="*/ 3072229 w 8115305"/>
              <a:gd name="connsiteY479" fmla="*/ 1423388 h 3192694"/>
              <a:gd name="connsiteX480" fmla="*/ 2955796 w 8115305"/>
              <a:gd name="connsiteY480" fmla="*/ 1468656 h 3192694"/>
              <a:gd name="connsiteX481" fmla="*/ 2898758 w 8115305"/>
              <a:gd name="connsiteY481" fmla="*/ 1418859 h 3192694"/>
              <a:gd name="connsiteX482" fmla="*/ 3013741 w 8115305"/>
              <a:gd name="connsiteY482" fmla="*/ 1375764 h 3192694"/>
              <a:gd name="connsiteX483" fmla="*/ 2705026 w 8115305"/>
              <a:gd name="connsiteY483" fmla="*/ 1366529 h 3192694"/>
              <a:gd name="connsiteX484" fmla="*/ 2753554 w 8115305"/>
              <a:gd name="connsiteY484" fmla="*/ 1410531 h 3192694"/>
              <a:gd name="connsiteX485" fmla="*/ 2639474 w 8115305"/>
              <a:gd name="connsiteY485" fmla="*/ 1453626 h 3192694"/>
              <a:gd name="connsiteX486" fmla="*/ 2590762 w 8115305"/>
              <a:gd name="connsiteY486" fmla="*/ 1406185 h 3192694"/>
              <a:gd name="connsiteX487" fmla="*/ 2705026 w 8115305"/>
              <a:gd name="connsiteY487" fmla="*/ 1366529 h 3192694"/>
              <a:gd name="connsiteX488" fmla="*/ 6192017 w 8115305"/>
              <a:gd name="connsiteY488" fmla="*/ 1363449 h 3192694"/>
              <a:gd name="connsiteX489" fmla="*/ 6311529 w 8115305"/>
              <a:gd name="connsiteY489" fmla="*/ 1403830 h 3192694"/>
              <a:gd name="connsiteX490" fmla="*/ 6279478 w 8115305"/>
              <a:gd name="connsiteY490" fmla="*/ 1444391 h 3192694"/>
              <a:gd name="connsiteX491" fmla="*/ 6153992 w 8115305"/>
              <a:gd name="connsiteY491" fmla="*/ 1400932 h 3192694"/>
              <a:gd name="connsiteX492" fmla="*/ 6192017 w 8115305"/>
              <a:gd name="connsiteY492" fmla="*/ 1363449 h 3192694"/>
              <a:gd name="connsiteX493" fmla="*/ 2397740 w 8115305"/>
              <a:gd name="connsiteY493" fmla="*/ 1350233 h 3192694"/>
              <a:gd name="connsiteX494" fmla="*/ 2447898 w 8115305"/>
              <a:gd name="connsiteY494" fmla="*/ 1389887 h 3192694"/>
              <a:gd name="connsiteX495" fmla="*/ 2330918 w 8115305"/>
              <a:gd name="connsiteY495" fmla="*/ 1433890 h 3192694"/>
              <a:gd name="connsiteX496" fmla="*/ 2286376 w 8115305"/>
              <a:gd name="connsiteY496" fmla="*/ 1390975 h 3192694"/>
              <a:gd name="connsiteX497" fmla="*/ 2397740 w 8115305"/>
              <a:gd name="connsiteY497" fmla="*/ 1350233 h 3192694"/>
              <a:gd name="connsiteX498" fmla="*/ 5864267 w 8115305"/>
              <a:gd name="connsiteY498" fmla="*/ 1344980 h 3192694"/>
              <a:gd name="connsiteX499" fmla="*/ 5978525 w 8115305"/>
              <a:gd name="connsiteY499" fmla="*/ 1386629 h 3192694"/>
              <a:gd name="connsiteX500" fmla="*/ 5938145 w 8115305"/>
              <a:gd name="connsiteY500" fmla="*/ 1427552 h 3192694"/>
              <a:gd name="connsiteX501" fmla="*/ 5816824 w 8115305"/>
              <a:gd name="connsiteY501" fmla="*/ 1383912 h 3192694"/>
              <a:gd name="connsiteX502" fmla="*/ 5864267 w 8115305"/>
              <a:gd name="connsiteY502" fmla="*/ 1344980 h 3192694"/>
              <a:gd name="connsiteX503" fmla="*/ 2101130 w 8115305"/>
              <a:gd name="connsiteY503" fmla="*/ 1340273 h 3192694"/>
              <a:gd name="connsiteX504" fmla="*/ 2137349 w 8115305"/>
              <a:gd name="connsiteY504" fmla="*/ 1381015 h 3192694"/>
              <a:gd name="connsiteX505" fmla="*/ 2020008 w 8115305"/>
              <a:gd name="connsiteY505" fmla="*/ 1420491 h 3192694"/>
              <a:gd name="connsiteX506" fmla="*/ 1985784 w 8115305"/>
              <a:gd name="connsiteY506" fmla="*/ 1378118 h 3192694"/>
              <a:gd name="connsiteX507" fmla="*/ 2101130 w 8115305"/>
              <a:gd name="connsiteY507" fmla="*/ 1340273 h 3192694"/>
              <a:gd name="connsiteX508" fmla="*/ 5535972 w 8115305"/>
              <a:gd name="connsiteY508" fmla="*/ 1330857 h 3192694"/>
              <a:gd name="connsiteX509" fmla="*/ 5656570 w 8115305"/>
              <a:gd name="connsiteY509" fmla="*/ 1373410 h 3192694"/>
              <a:gd name="connsiteX510" fmla="*/ 5612205 w 8115305"/>
              <a:gd name="connsiteY510" fmla="*/ 1418318 h 3192694"/>
              <a:gd name="connsiteX511" fmla="*/ 5488348 w 8115305"/>
              <a:gd name="connsiteY511" fmla="*/ 1375403 h 3192694"/>
              <a:gd name="connsiteX512" fmla="*/ 5535972 w 8115305"/>
              <a:gd name="connsiteY512" fmla="*/ 1330857 h 3192694"/>
              <a:gd name="connsiteX513" fmla="*/ 1807241 w 8115305"/>
              <a:gd name="connsiteY513" fmla="*/ 1325785 h 3192694"/>
              <a:gd name="connsiteX514" fmla="*/ 1839837 w 8115305"/>
              <a:gd name="connsiteY514" fmla="*/ 1361820 h 3192694"/>
              <a:gd name="connsiteX515" fmla="*/ 1720323 w 8115305"/>
              <a:gd name="connsiteY515" fmla="*/ 1400572 h 3192694"/>
              <a:gd name="connsiteX516" fmla="*/ 1690445 w 8115305"/>
              <a:gd name="connsiteY516" fmla="*/ 1364356 h 3192694"/>
              <a:gd name="connsiteX517" fmla="*/ 1807241 w 8115305"/>
              <a:gd name="connsiteY517" fmla="*/ 1325785 h 3192694"/>
              <a:gd name="connsiteX518" fmla="*/ 1503393 w 8115305"/>
              <a:gd name="connsiteY518" fmla="*/ 1316915 h 3192694"/>
              <a:gd name="connsiteX519" fmla="*/ 1524762 w 8115305"/>
              <a:gd name="connsiteY519" fmla="*/ 1350596 h 3192694"/>
              <a:gd name="connsiteX520" fmla="*/ 1412856 w 8115305"/>
              <a:gd name="connsiteY520" fmla="*/ 1385363 h 3192694"/>
              <a:gd name="connsiteX521" fmla="*/ 1392394 w 8115305"/>
              <a:gd name="connsiteY521" fmla="*/ 1349147 h 3192694"/>
              <a:gd name="connsiteX522" fmla="*/ 1503393 w 8115305"/>
              <a:gd name="connsiteY522" fmla="*/ 1316915 h 3192694"/>
              <a:gd name="connsiteX523" fmla="*/ 5220534 w 8115305"/>
              <a:gd name="connsiteY523" fmla="*/ 1312568 h 3192694"/>
              <a:gd name="connsiteX524" fmla="*/ 5333707 w 8115305"/>
              <a:gd name="connsiteY524" fmla="*/ 1355120 h 3192694"/>
              <a:gd name="connsiteX525" fmla="*/ 5276669 w 8115305"/>
              <a:gd name="connsiteY525" fmla="*/ 1402563 h 3192694"/>
              <a:gd name="connsiteX526" fmla="*/ 5158607 w 8115305"/>
              <a:gd name="connsiteY526" fmla="*/ 1356388 h 3192694"/>
              <a:gd name="connsiteX527" fmla="*/ 5220534 w 8115305"/>
              <a:gd name="connsiteY527" fmla="*/ 1312568 h 3192694"/>
              <a:gd name="connsiteX528" fmla="*/ 7991021 w 8115305"/>
              <a:gd name="connsiteY528" fmla="*/ 1306050 h 3192694"/>
              <a:gd name="connsiteX529" fmla="*/ 8060918 w 8115305"/>
              <a:gd name="connsiteY529" fmla="*/ 1324157 h 3192694"/>
              <a:gd name="connsiteX530" fmla="*/ 8060918 w 8115305"/>
              <a:gd name="connsiteY530" fmla="*/ 1340997 h 3192694"/>
              <a:gd name="connsiteX531" fmla="*/ 7990297 w 8115305"/>
              <a:gd name="connsiteY531" fmla="*/ 1322889 h 3192694"/>
              <a:gd name="connsiteX532" fmla="*/ 7991021 w 8115305"/>
              <a:gd name="connsiteY532" fmla="*/ 1306050 h 3192694"/>
              <a:gd name="connsiteX533" fmla="*/ 1220910 w 8115305"/>
              <a:gd name="connsiteY533" fmla="*/ 1304058 h 3192694"/>
              <a:gd name="connsiteX534" fmla="*/ 1229060 w 8115305"/>
              <a:gd name="connsiteY534" fmla="*/ 1337196 h 3192694"/>
              <a:gd name="connsiteX535" fmla="*/ 1121861 w 8115305"/>
              <a:gd name="connsiteY535" fmla="*/ 1365444 h 3192694"/>
              <a:gd name="connsiteX536" fmla="*/ 1115342 w 8115305"/>
              <a:gd name="connsiteY536" fmla="*/ 1331220 h 3192694"/>
              <a:gd name="connsiteX537" fmla="*/ 1220910 w 8115305"/>
              <a:gd name="connsiteY537" fmla="*/ 1304058 h 3192694"/>
              <a:gd name="connsiteX538" fmla="*/ 4914333 w 8115305"/>
              <a:gd name="connsiteY538" fmla="*/ 1300978 h 3192694"/>
              <a:gd name="connsiteX539" fmla="*/ 5019176 w 8115305"/>
              <a:gd name="connsiteY539" fmla="*/ 1346609 h 3192694"/>
              <a:gd name="connsiteX540" fmla="*/ 4945478 w 8115305"/>
              <a:gd name="connsiteY540" fmla="*/ 1391517 h 3192694"/>
              <a:gd name="connsiteX541" fmla="*/ 4839910 w 8115305"/>
              <a:gd name="connsiteY541" fmla="*/ 1343712 h 3192694"/>
              <a:gd name="connsiteX542" fmla="*/ 4914333 w 8115305"/>
              <a:gd name="connsiteY542" fmla="*/ 1300978 h 3192694"/>
              <a:gd name="connsiteX543" fmla="*/ 925031 w 8115305"/>
              <a:gd name="connsiteY543" fmla="*/ 1295908 h 3192694"/>
              <a:gd name="connsiteX544" fmla="*/ 937708 w 8115305"/>
              <a:gd name="connsiteY544" fmla="*/ 1322164 h 3192694"/>
              <a:gd name="connsiteX545" fmla="*/ 835941 w 8115305"/>
              <a:gd name="connsiteY545" fmla="*/ 1350414 h 3192694"/>
              <a:gd name="connsiteX546" fmla="*/ 829603 w 8115305"/>
              <a:gd name="connsiteY546" fmla="*/ 1321983 h 3192694"/>
              <a:gd name="connsiteX547" fmla="*/ 925031 w 8115305"/>
              <a:gd name="connsiteY547" fmla="*/ 1295908 h 3192694"/>
              <a:gd name="connsiteX548" fmla="*/ 7655306 w 8115305"/>
              <a:gd name="connsiteY548" fmla="*/ 1290113 h 3192694"/>
              <a:gd name="connsiteX549" fmla="*/ 7742040 w 8115305"/>
              <a:gd name="connsiteY549" fmla="*/ 1311481 h 3192694"/>
              <a:gd name="connsiteX550" fmla="*/ 7743489 w 8115305"/>
              <a:gd name="connsiteY550" fmla="*/ 1334476 h 3192694"/>
              <a:gd name="connsiteX551" fmla="*/ 7655306 w 8115305"/>
              <a:gd name="connsiteY551" fmla="*/ 1312566 h 3192694"/>
              <a:gd name="connsiteX552" fmla="*/ 7655306 w 8115305"/>
              <a:gd name="connsiteY552" fmla="*/ 1290113 h 3192694"/>
              <a:gd name="connsiteX553" fmla="*/ 4601250 w 8115305"/>
              <a:gd name="connsiteY553" fmla="*/ 1284138 h 3192694"/>
              <a:gd name="connsiteX554" fmla="*/ 4704463 w 8115305"/>
              <a:gd name="connsiteY554" fmla="*/ 1327777 h 3192694"/>
              <a:gd name="connsiteX555" fmla="*/ 4625696 w 8115305"/>
              <a:gd name="connsiteY555" fmla="*/ 1374857 h 3192694"/>
              <a:gd name="connsiteX556" fmla="*/ 4524293 w 8115305"/>
              <a:gd name="connsiteY556" fmla="*/ 1327596 h 3192694"/>
              <a:gd name="connsiteX557" fmla="*/ 4601250 w 8115305"/>
              <a:gd name="connsiteY557" fmla="*/ 1284138 h 3192694"/>
              <a:gd name="connsiteX558" fmla="*/ 649429 w 8115305"/>
              <a:gd name="connsiteY558" fmla="*/ 1283777 h 3192694"/>
              <a:gd name="connsiteX559" fmla="*/ 655042 w 8115305"/>
              <a:gd name="connsiteY559" fmla="*/ 1305325 h 3192694"/>
              <a:gd name="connsiteX560" fmla="*/ 564865 w 8115305"/>
              <a:gd name="connsiteY560" fmla="*/ 1329952 h 3192694"/>
              <a:gd name="connsiteX561" fmla="*/ 559796 w 8115305"/>
              <a:gd name="connsiteY561" fmla="*/ 1306593 h 3192694"/>
              <a:gd name="connsiteX562" fmla="*/ 649429 w 8115305"/>
              <a:gd name="connsiteY562" fmla="*/ 1283777 h 3192694"/>
              <a:gd name="connsiteX563" fmla="*/ 367303 w 8115305"/>
              <a:gd name="connsiteY563" fmla="*/ 1276351 h 3192694"/>
              <a:gd name="connsiteX564" fmla="*/ 363499 w 8115305"/>
              <a:gd name="connsiteY564" fmla="*/ 1296271 h 3192694"/>
              <a:gd name="connsiteX565" fmla="*/ 281651 w 8115305"/>
              <a:gd name="connsiteY565" fmla="*/ 1316008 h 3192694"/>
              <a:gd name="connsiteX566" fmla="*/ 286541 w 8115305"/>
              <a:gd name="connsiteY566" fmla="*/ 1294459 h 3192694"/>
              <a:gd name="connsiteX567" fmla="*/ 367303 w 8115305"/>
              <a:gd name="connsiteY567" fmla="*/ 1276351 h 3192694"/>
              <a:gd name="connsiteX568" fmla="*/ 4288710 w 8115305"/>
              <a:gd name="connsiteY568" fmla="*/ 1273093 h 3192694"/>
              <a:gd name="connsiteX569" fmla="*/ 4385767 w 8115305"/>
              <a:gd name="connsiteY569" fmla="*/ 1318724 h 3192694"/>
              <a:gd name="connsiteX570" fmla="*/ 4301384 w 8115305"/>
              <a:gd name="connsiteY570" fmla="*/ 1363995 h 3192694"/>
              <a:gd name="connsiteX571" fmla="*/ 4203965 w 8115305"/>
              <a:gd name="connsiteY571" fmla="*/ 1316190 h 3192694"/>
              <a:gd name="connsiteX572" fmla="*/ 4288710 w 8115305"/>
              <a:gd name="connsiteY572" fmla="*/ 1273093 h 3192694"/>
              <a:gd name="connsiteX573" fmla="*/ 7322665 w 8115305"/>
              <a:gd name="connsiteY573" fmla="*/ 1269832 h 3192694"/>
              <a:gd name="connsiteX574" fmla="*/ 7418635 w 8115305"/>
              <a:gd name="connsiteY574" fmla="*/ 1296451 h 3192694"/>
              <a:gd name="connsiteX575" fmla="*/ 7410487 w 8115305"/>
              <a:gd name="connsiteY575" fmla="*/ 1322165 h 3192694"/>
              <a:gd name="connsiteX576" fmla="*/ 7307455 w 8115305"/>
              <a:gd name="connsiteY576" fmla="*/ 1294098 h 3192694"/>
              <a:gd name="connsiteX577" fmla="*/ 7322665 w 8115305"/>
              <a:gd name="connsiteY577" fmla="*/ 1269832 h 3192694"/>
              <a:gd name="connsiteX578" fmla="*/ 78115 w 8115305"/>
              <a:gd name="connsiteY578" fmla="*/ 1264762 h 3192694"/>
              <a:gd name="connsiteX579" fmla="*/ 79022 w 8115305"/>
              <a:gd name="connsiteY579" fmla="*/ 1279067 h 3192694"/>
              <a:gd name="connsiteX580" fmla="*/ 10030 w 8115305"/>
              <a:gd name="connsiteY580" fmla="*/ 1295546 h 3192694"/>
              <a:gd name="connsiteX581" fmla="*/ 15282 w 8115305"/>
              <a:gd name="connsiteY581" fmla="*/ 1279611 h 3192694"/>
              <a:gd name="connsiteX582" fmla="*/ 78115 w 8115305"/>
              <a:gd name="connsiteY582" fmla="*/ 1264762 h 3192694"/>
              <a:gd name="connsiteX583" fmla="*/ 3992466 w 8115305"/>
              <a:gd name="connsiteY583" fmla="*/ 1256434 h 3192694"/>
              <a:gd name="connsiteX584" fmla="*/ 4083005 w 8115305"/>
              <a:gd name="connsiteY584" fmla="*/ 1301882 h 3192694"/>
              <a:gd name="connsiteX585" fmla="*/ 3987757 w 8115305"/>
              <a:gd name="connsiteY585" fmla="*/ 1348238 h 3192694"/>
              <a:gd name="connsiteX586" fmla="*/ 3897219 w 8115305"/>
              <a:gd name="connsiteY586" fmla="*/ 1300616 h 3192694"/>
              <a:gd name="connsiteX587" fmla="*/ 3992466 w 8115305"/>
              <a:gd name="connsiteY587" fmla="*/ 1256434 h 3192694"/>
              <a:gd name="connsiteX588" fmla="*/ 6984956 w 8115305"/>
              <a:gd name="connsiteY588" fmla="*/ 1255890 h 3192694"/>
              <a:gd name="connsiteX589" fmla="*/ 7095052 w 8115305"/>
              <a:gd name="connsiteY589" fmla="*/ 1284862 h 3192694"/>
              <a:gd name="connsiteX590" fmla="*/ 7083824 w 8115305"/>
              <a:gd name="connsiteY590" fmla="*/ 1315646 h 3192694"/>
              <a:gd name="connsiteX591" fmla="*/ 6976989 w 8115305"/>
              <a:gd name="connsiteY591" fmla="*/ 1287035 h 3192694"/>
              <a:gd name="connsiteX592" fmla="*/ 6984956 w 8115305"/>
              <a:gd name="connsiteY592" fmla="*/ 1255890 h 3192694"/>
              <a:gd name="connsiteX593" fmla="*/ 3698758 w 8115305"/>
              <a:gd name="connsiteY593" fmla="*/ 1246293 h 3192694"/>
              <a:gd name="connsiteX594" fmla="*/ 3780968 w 8115305"/>
              <a:gd name="connsiteY594" fmla="*/ 1291200 h 3192694"/>
              <a:gd name="connsiteX595" fmla="*/ 3678841 w 8115305"/>
              <a:gd name="connsiteY595" fmla="*/ 1337012 h 3192694"/>
              <a:gd name="connsiteX596" fmla="*/ 3597355 w 8115305"/>
              <a:gd name="connsiteY596" fmla="*/ 1289932 h 3192694"/>
              <a:gd name="connsiteX597" fmla="*/ 3698758 w 8115305"/>
              <a:gd name="connsiteY597" fmla="*/ 1246293 h 3192694"/>
              <a:gd name="connsiteX598" fmla="*/ 6665897 w 8115305"/>
              <a:gd name="connsiteY598" fmla="*/ 1238326 h 3192694"/>
              <a:gd name="connsiteX599" fmla="*/ 6778345 w 8115305"/>
              <a:gd name="connsiteY599" fmla="*/ 1270376 h 3192694"/>
              <a:gd name="connsiteX600" fmla="*/ 6756796 w 8115305"/>
              <a:gd name="connsiteY600" fmla="*/ 1302065 h 3192694"/>
              <a:gd name="connsiteX601" fmla="*/ 6643804 w 8115305"/>
              <a:gd name="connsiteY601" fmla="*/ 1267842 h 3192694"/>
              <a:gd name="connsiteX602" fmla="*/ 6665897 w 8115305"/>
              <a:gd name="connsiteY602" fmla="*/ 1238326 h 3192694"/>
              <a:gd name="connsiteX603" fmla="*/ 3407768 w 8115305"/>
              <a:gd name="connsiteY603" fmla="*/ 1231627 h 3192694"/>
              <a:gd name="connsiteX604" fmla="*/ 3484906 w 8115305"/>
              <a:gd name="connsiteY604" fmla="*/ 1274180 h 3192694"/>
              <a:gd name="connsiteX605" fmla="*/ 3378796 w 8115305"/>
              <a:gd name="connsiteY605" fmla="*/ 1320536 h 3192694"/>
              <a:gd name="connsiteX606" fmla="*/ 3302199 w 8115305"/>
              <a:gd name="connsiteY606" fmla="*/ 1275448 h 3192694"/>
              <a:gd name="connsiteX607" fmla="*/ 3407768 w 8115305"/>
              <a:gd name="connsiteY607" fmla="*/ 1231627 h 3192694"/>
              <a:gd name="connsiteX608" fmla="*/ 6360599 w 8115305"/>
              <a:gd name="connsiteY608" fmla="*/ 1224564 h 3192694"/>
              <a:gd name="connsiteX609" fmla="*/ 6478481 w 8115305"/>
              <a:gd name="connsiteY609" fmla="*/ 1262591 h 3192694"/>
              <a:gd name="connsiteX610" fmla="*/ 6443534 w 8115305"/>
              <a:gd name="connsiteY610" fmla="*/ 1295185 h 3192694"/>
              <a:gd name="connsiteX611" fmla="*/ 6324383 w 8115305"/>
              <a:gd name="connsiteY611" fmla="*/ 1256072 h 3192694"/>
              <a:gd name="connsiteX612" fmla="*/ 6360599 w 8115305"/>
              <a:gd name="connsiteY612" fmla="*/ 1224564 h 3192694"/>
              <a:gd name="connsiteX613" fmla="*/ 3124562 w 8115305"/>
              <a:gd name="connsiteY613" fmla="*/ 1223115 h 3192694"/>
              <a:gd name="connsiteX614" fmla="*/ 3188301 w 8115305"/>
              <a:gd name="connsiteY614" fmla="*/ 1264764 h 3192694"/>
              <a:gd name="connsiteX615" fmla="*/ 3074402 w 8115305"/>
              <a:gd name="connsiteY615" fmla="*/ 1307679 h 3192694"/>
              <a:gd name="connsiteX616" fmla="*/ 3015191 w 8115305"/>
              <a:gd name="connsiteY616" fmla="*/ 1262772 h 3192694"/>
              <a:gd name="connsiteX617" fmla="*/ 3124562 w 8115305"/>
              <a:gd name="connsiteY617" fmla="*/ 1223115 h 3192694"/>
              <a:gd name="connsiteX618" fmla="*/ 2834494 w 8115305"/>
              <a:gd name="connsiteY618" fmla="*/ 1213880 h 3192694"/>
              <a:gd name="connsiteX619" fmla="*/ 2896404 w 8115305"/>
              <a:gd name="connsiteY619" fmla="*/ 1253173 h 3192694"/>
              <a:gd name="connsiteX620" fmla="*/ 2782707 w 8115305"/>
              <a:gd name="connsiteY620" fmla="*/ 1296271 h 3192694"/>
              <a:gd name="connsiteX621" fmla="*/ 2725848 w 8115305"/>
              <a:gd name="connsiteY621" fmla="*/ 1253717 h 3192694"/>
              <a:gd name="connsiteX622" fmla="*/ 2834494 w 8115305"/>
              <a:gd name="connsiteY622" fmla="*/ 1213880 h 3192694"/>
              <a:gd name="connsiteX623" fmla="*/ 6052044 w 8115305"/>
              <a:gd name="connsiteY623" fmla="*/ 1213519 h 3192694"/>
              <a:gd name="connsiteX624" fmla="*/ 6168475 w 8115305"/>
              <a:gd name="connsiteY624" fmla="*/ 1248647 h 3192694"/>
              <a:gd name="connsiteX625" fmla="*/ 6136425 w 8115305"/>
              <a:gd name="connsiteY625" fmla="*/ 1285949 h 3192694"/>
              <a:gd name="connsiteX626" fmla="*/ 6018182 w 8115305"/>
              <a:gd name="connsiteY626" fmla="*/ 1249734 h 3192694"/>
              <a:gd name="connsiteX627" fmla="*/ 6052044 w 8115305"/>
              <a:gd name="connsiteY627" fmla="*/ 1213519 h 3192694"/>
              <a:gd name="connsiteX628" fmla="*/ 2551654 w 8115305"/>
              <a:gd name="connsiteY628" fmla="*/ 1200119 h 3192694"/>
              <a:gd name="connsiteX629" fmla="*/ 2600545 w 8115305"/>
              <a:gd name="connsiteY629" fmla="*/ 1239412 h 3192694"/>
              <a:gd name="connsiteX630" fmla="*/ 2482481 w 8115305"/>
              <a:gd name="connsiteY630" fmla="*/ 1279793 h 3192694"/>
              <a:gd name="connsiteX631" fmla="*/ 2435219 w 8115305"/>
              <a:gd name="connsiteY631" fmla="*/ 1238507 h 3192694"/>
              <a:gd name="connsiteX632" fmla="*/ 2551654 w 8115305"/>
              <a:gd name="connsiteY632" fmla="*/ 1200119 h 3192694"/>
              <a:gd name="connsiteX633" fmla="*/ 5743669 w 8115305"/>
              <a:gd name="connsiteY633" fmla="*/ 1195411 h 3192694"/>
              <a:gd name="connsiteX634" fmla="*/ 5865714 w 8115305"/>
              <a:gd name="connsiteY634" fmla="*/ 1232893 h 3192694"/>
              <a:gd name="connsiteX635" fmla="*/ 5824429 w 8115305"/>
              <a:gd name="connsiteY635" fmla="*/ 1274179 h 3192694"/>
              <a:gd name="connsiteX636" fmla="*/ 5701839 w 8115305"/>
              <a:gd name="connsiteY636" fmla="*/ 1233800 h 3192694"/>
              <a:gd name="connsiteX637" fmla="*/ 5743669 w 8115305"/>
              <a:gd name="connsiteY637" fmla="*/ 1195411 h 3192694"/>
              <a:gd name="connsiteX638" fmla="*/ 2273519 w 8115305"/>
              <a:gd name="connsiteY638" fmla="*/ 1191970 h 3192694"/>
              <a:gd name="connsiteX639" fmla="*/ 2313535 w 8115305"/>
              <a:gd name="connsiteY639" fmla="*/ 1229634 h 3192694"/>
              <a:gd name="connsiteX640" fmla="*/ 2194748 w 8115305"/>
              <a:gd name="connsiteY640" fmla="*/ 1267840 h 3192694"/>
              <a:gd name="connsiteX641" fmla="*/ 2156539 w 8115305"/>
              <a:gd name="connsiteY641" fmla="*/ 1228547 h 3192694"/>
              <a:gd name="connsiteX642" fmla="*/ 2273519 w 8115305"/>
              <a:gd name="connsiteY642" fmla="*/ 1191970 h 3192694"/>
              <a:gd name="connsiteX643" fmla="*/ 5454668 w 8115305"/>
              <a:gd name="connsiteY643" fmla="*/ 1184907 h 3192694"/>
              <a:gd name="connsiteX644" fmla="*/ 5570015 w 8115305"/>
              <a:gd name="connsiteY644" fmla="*/ 1225649 h 3192694"/>
              <a:gd name="connsiteX645" fmla="*/ 5513157 w 8115305"/>
              <a:gd name="connsiteY645" fmla="*/ 1264944 h 3192694"/>
              <a:gd name="connsiteX646" fmla="*/ 5400165 w 8115305"/>
              <a:gd name="connsiteY646" fmla="*/ 1223839 h 3192694"/>
              <a:gd name="connsiteX647" fmla="*/ 5454668 w 8115305"/>
              <a:gd name="connsiteY647" fmla="*/ 1184907 h 3192694"/>
              <a:gd name="connsiteX648" fmla="*/ 8041542 w 8115305"/>
              <a:gd name="connsiteY648" fmla="*/ 1180742 h 3192694"/>
              <a:gd name="connsiteX649" fmla="*/ 8102023 w 8115305"/>
              <a:gd name="connsiteY649" fmla="*/ 1195411 h 3192694"/>
              <a:gd name="connsiteX650" fmla="*/ 8104196 w 8115305"/>
              <a:gd name="connsiteY650" fmla="*/ 1208991 h 3192694"/>
              <a:gd name="connsiteX651" fmla="*/ 8043354 w 8115305"/>
              <a:gd name="connsiteY651" fmla="*/ 1195411 h 3192694"/>
              <a:gd name="connsiteX652" fmla="*/ 8041542 w 8115305"/>
              <a:gd name="connsiteY652" fmla="*/ 1180742 h 3192694"/>
              <a:gd name="connsiteX653" fmla="*/ 2001900 w 8115305"/>
              <a:gd name="connsiteY653" fmla="*/ 1180201 h 3192694"/>
              <a:gd name="connsiteX654" fmla="*/ 2033951 w 8115305"/>
              <a:gd name="connsiteY654" fmla="*/ 1215148 h 3192694"/>
              <a:gd name="connsiteX655" fmla="*/ 1916428 w 8115305"/>
              <a:gd name="connsiteY655" fmla="*/ 1249734 h 3192694"/>
              <a:gd name="connsiteX656" fmla="*/ 1890535 w 8115305"/>
              <a:gd name="connsiteY656" fmla="*/ 1212070 h 3192694"/>
              <a:gd name="connsiteX657" fmla="*/ 2001900 w 8115305"/>
              <a:gd name="connsiteY657" fmla="*/ 1180201 h 3192694"/>
              <a:gd name="connsiteX658" fmla="*/ 1732095 w 8115305"/>
              <a:gd name="connsiteY658" fmla="*/ 1172053 h 3192694"/>
              <a:gd name="connsiteX659" fmla="*/ 1755997 w 8115305"/>
              <a:gd name="connsiteY659" fmla="*/ 1204827 h 3192694"/>
              <a:gd name="connsiteX660" fmla="*/ 1637389 w 8115305"/>
              <a:gd name="connsiteY660" fmla="*/ 1238509 h 3192694"/>
              <a:gd name="connsiteX661" fmla="*/ 1615477 w 8115305"/>
              <a:gd name="connsiteY661" fmla="*/ 1204286 h 3192694"/>
              <a:gd name="connsiteX662" fmla="*/ 1732095 w 8115305"/>
              <a:gd name="connsiteY662" fmla="*/ 1172053 h 3192694"/>
              <a:gd name="connsiteX663" fmla="*/ 5147200 w 8115305"/>
              <a:gd name="connsiteY663" fmla="*/ 1168611 h 3192694"/>
              <a:gd name="connsiteX664" fmla="*/ 5262909 w 8115305"/>
              <a:gd name="connsiteY664" fmla="*/ 1208810 h 3192694"/>
              <a:gd name="connsiteX665" fmla="*/ 5203333 w 8115305"/>
              <a:gd name="connsiteY665" fmla="*/ 1252268 h 3192694"/>
              <a:gd name="connsiteX666" fmla="*/ 5086177 w 8115305"/>
              <a:gd name="connsiteY666" fmla="*/ 1209897 h 3192694"/>
              <a:gd name="connsiteX667" fmla="*/ 5147200 w 8115305"/>
              <a:gd name="connsiteY667" fmla="*/ 1168611 h 3192694"/>
              <a:gd name="connsiteX668" fmla="*/ 7706550 w 8115305"/>
              <a:gd name="connsiteY668" fmla="*/ 1163360 h 3192694"/>
              <a:gd name="connsiteX669" fmla="*/ 7783868 w 8115305"/>
              <a:gd name="connsiteY669" fmla="*/ 1180019 h 3192694"/>
              <a:gd name="connsiteX670" fmla="*/ 7783868 w 8115305"/>
              <a:gd name="connsiteY670" fmla="*/ 1199576 h 3192694"/>
              <a:gd name="connsiteX671" fmla="*/ 7706550 w 8115305"/>
              <a:gd name="connsiteY671" fmla="*/ 1181468 h 3192694"/>
              <a:gd name="connsiteX672" fmla="*/ 7706550 w 8115305"/>
              <a:gd name="connsiteY672" fmla="*/ 1163360 h 3192694"/>
              <a:gd name="connsiteX673" fmla="*/ 1461379 w 8115305"/>
              <a:gd name="connsiteY673" fmla="*/ 1161369 h 3192694"/>
              <a:gd name="connsiteX674" fmla="*/ 1483111 w 8115305"/>
              <a:gd name="connsiteY674" fmla="*/ 1189980 h 3192694"/>
              <a:gd name="connsiteX675" fmla="*/ 1374828 w 8115305"/>
              <a:gd name="connsiteY675" fmla="*/ 1220038 h 3192694"/>
              <a:gd name="connsiteX676" fmla="*/ 1358893 w 8115305"/>
              <a:gd name="connsiteY676" fmla="*/ 1189256 h 3192694"/>
              <a:gd name="connsiteX677" fmla="*/ 1461379 w 8115305"/>
              <a:gd name="connsiteY677" fmla="*/ 1161369 h 3192694"/>
              <a:gd name="connsiteX678" fmla="*/ 4862905 w 8115305"/>
              <a:gd name="connsiteY678" fmla="*/ 1159196 h 3192694"/>
              <a:gd name="connsiteX679" fmla="*/ 4973000 w 8115305"/>
              <a:gd name="connsiteY679" fmla="*/ 1200301 h 3192694"/>
              <a:gd name="connsiteX680" fmla="*/ 4900569 w 8115305"/>
              <a:gd name="connsiteY680" fmla="*/ 1243397 h 3192694"/>
              <a:gd name="connsiteX681" fmla="*/ 4790474 w 8115305"/>
              <a:gd name="connsiteY681" fmla="*/ 1197948 h 3192694"/>
              <a:gd name="connsiteX682" fmla="*/ 4862905 w 8115305"/>
              <a:gd name="connsiteY682" fmla="*/ 1159196 h 3192694"/>
              <a:gd name="connsiteX683" fmla="*/ 1185964 w 8115305"/>
              <a:gd name="connsiteY683" fmla="*/ 1153943 h 3192694"/>
              <a:gd name="connsiteX684" fmla="*/ 1199908 w 8115305"/>
              <a:gd name="connsiteY684" fmla="*/ 1180562 h 3192694"/>
              <a:gd name="connsiteX685" fmla="*/ 1096511 w 8115305"/>
              <a:gd name="connsiteY685" fmla="*/ 1208447 h 3192694"/>
              <a:gd name="connsiteX686" fmla="*/ 1079491 w 8115305"/>
              <a:gd name="connsiteY686" fmla="*/ 1182191 h 3192694"/>
              <a:gd name="connsiteX687" fmla="*/ 1185964 w 8115305"/>
              <a:gd name="connsiteY687" fmla="*/ 1153943 h 3192694"/>
              <a:gd name="connsiteX688" fmla="*/ 7399081 w 8115305"/>
              <a:gd name="connsiteY688" fmla="*/ 1149236 h 3192694"/>
              <a:gd name="connsiteX689" fmla="*/ 7491249 w 8115305"/>
              <a:gd name="connsiteY689" fmla="*/ 1170784 h 3192694"/>
              <a:gd name="connsiteX690" fmla="*/ 7489800 w 8115305"/>
              <a:gd name="connsiteY690" fmla="*/ 1194143 h 3192694"/>
              <a:gd name="connsiteX691" fmla="*/ 7396545 w 8115305"/>
              <a:gd name="connsiteY691" fmla="*/ 1172052 h 3192694"/>
              <a:gd name="connsiteX692" fmla="*/ 7399081 w 8115305"/>
              <a:gd name="connsiteY692" fmla="*/ 1149236 h 3192694"/>
              <a:gd name="connsiteX693" fmla="*/ 4580607 w 8115305"/>
              <a:gd name="connsiteY693" fmla="*/ 1143985 h 3192694"/>
              <a:gd name="connsiteX694" fmla="*/ 4681829 w 8115305"/>
              <a:gd name="connsiteY694" fmla="*/ 1185451 h 3192694"/>
              <a:gd name="connsiteX695" fmla="*/ 4602336 w 8115305"/>
              <a:gd name="connsiteY695" fmla="*/ 1229092 h 3192694"/>
              <a:gd name="connsiteX696" fmla="*/ 4500752 w 8115305"/>
              <a:gd name="connsiteY696" fmla="*/ 1185451 h 3192694"/>
              <a:gd name="connsiteX697" fmla="*/ 4580607 w 8115305"/>
              <a:gd name="connsiteY697" fmla="*/ 1143985 h 3192694"/>
              <a:gd name="connsiteX698" fmla="*/ 924668 w 8115305"/>
              <a:gd name="connsiteY698" fmla="*/ 1143622 h 3192694"/>
              <a:gd name="connsiteX699" fmla="*/ 935715 w 8115305"/>
              <a:gd name="connsiteY699" fmla="*/ 1165895 h 3192694"/>
              <a:gd name="connsiteX700" fmla="*/ 843003 w 8115305"/>
              <a:gd name="connsiteY700" fmla="*/ 1190522 h 3192694"/>
              <a:gd name="connsiteX701" fmla="*/ 832499 w 8115305"/>
              <a:gd name="connsiteY701" fmla="*/ 1166619 h 3192694"/>
              <a:gd name="connsiteX702" fmla="*/ 924668 w 8115305"/>
              <a:gd name="connsiteY702" fmla="*/ 1143622 h 3192694"/>
              <a:gd name="connsiteX703" fmla="*/ 655405 w 8115305"/>
              <a:gd name="connsiteY703" fmla="*/ 1138371 h 3192694"/>
              <a:gd name="connsiteX704" fmla="*/ 665183 w 8115305"/>
              <a:gd name="connsiteY704" fmla="*/ 1156478 h 3192694"/>
              <a:gd name="connsiteX705" fmla="*/ 582250 w 8115305"/>
              <a:gd name="connsiteY705" fmla="*/ 1177303 h 3192694"/>
              <a:gd name="connsiteX706" fmla="*/ 578084 w 8115305"/>
              <a:gd name="connsiteY706" fmla="*/ 1157566 h 3192694"/>
              <a:gd name="connsiteX707" fmla="*/ 655405 w 8115305"/>
              <a:gd name="connsiteY707" fmla="*/ 1138371 h 3192694"/>
              <a:gd name="connsiteX708" fmla="*/ 4303015 w 8115305"/>
              <a:gd name="connsiteY708" fmla="*/ 1134206 h 3192694"/>
              <a:gd name="connsiteX709" fmla="*/ 4398080 w 8115305"/>
              <a:gd name="connsiteY709" fmla="*/ 1177304 h 3192694"/>
              <a:gd name="connsiteX710" fmla="*/ 4308990 w 8115305"/>
              <a:gd name="connsiteY710" fmla="*/ 1219314 h 3192694"/>
              <a:gd name="connsiteX711" fmla="*/ 4213925 w 8115305"/>
              <a:gd name="connsiteY711" fmla="*/ 1174043 h 3192694"/>
              <a:gd name="connsiteX712" fmla="*/ 4303015 w 8115305"/>
              <a:gd name="connsiteY712" fmla="*/ 1134206 h 3192694"/>
              <a:gd name="connsiteX713" fmla="*/ 7092154 w 8115305"/>
              <a:gd name="connsiteY713" fmla="*/ 1132577 h 3192694"/>
              <a:gd name="connsiteX714" fmla="*/ 7195006 w 8115305"/>
              <a:gd name="connsiteY714" fmla="*/ 1159195 h 3192694"/>
              <a:gd name="connsiteX715" fmla="*/ 7183778 w 8115305"/>
              <a:gd name="connsiteY715" fmla="*/ 1183459 h 3192694"/>
              <a:gd name="connsiteX716" fmla="*/ 7079660 w 8115305"/>
              <a:gd name="connsiteY716" fmla="*/ 1156479 h 3192694"/>
              <a:gd name="connsiteX717" fmla="*/ 7092154 w 8115305"/>
              <a:gd name="connsiteY717" fmla="*/ 1132577 h 3192694"/>
              <a:gd name="connsiteX718" fmla="*/ 404062 w 8115305"/>
              <a:gd name="connsiteY718" fmla="*/ 1128230 h 3192694"/>
              <a:gd name="connsiteX719" fmla="*/ 408407 w 8115305"/>
              <a:gd name="connsiteY719" fmla="*/ 1143623 h 3192694"/>
              <a:gd name="connsiteX720" fmla="*/ 333803 w 8115305"/>
              <a:gd name="connsiteY720" fmla="*/ 1161731 h 3192694"/>
              <a:gd name="connsiteX721" fmla="*/ 330362 w 8115305"/>
              <a:gd name="connsiteY721" fmla="*/ 1146338 h 3192694"/>
              <a:gd name="connsiteX722" fmla="*/ 404062 w 8115305"/>
              <a:gd name="connsiteY722" fmla="*/ 1128230 h 3192694"/>
              <a:gd name="connsiteX723" fmla="*/ 6800435 w 8115305"/>
              <a:gd name="connsiteY723" fmla="*/ 1121351 h 3192694"/>
              <a:gd name="connsiteX724" fmla="*/ 6903107 w 8115305"/>
              <a:gd name="connsiteY724" fmla="*/ 1148331 h 3192694"/>
              <a:gd name="connsiteX725" fmla="*/ 6887172 w 8115305"/>
              <a:gd name="connsiteY725" fmla="*/ 1176580 h 3192694"/>
              <a:gd name="connsiteX726" fmla="*/ 6778525 w 8115305"/>
              <a:gd name="connsiteY726" fmla="*/ 1146520 h 3192694"/>
              <a:gd name="connsiteX727" fmla="*/ 6800435 w 8115305"/>
              <a:gd name="connsiteY727" fmla="*/ 1121351 h 3192694"/>
              <a:gd name="connsiteX728" fmla="*/ 4024336 w 8115305"/>
              <a:gd name="connsiteY728" fmla="*/ 1120988 h 3192694"/>
              <a:gd name="connsiteX729" fmla="*/ 4115419 w 8115305"/>
              <a:gd name="connsiteY729" fmla="*/ 1161912 h 3192694"/>
              <a:gd name="connsiteX730" fmla="*/ 4024880 w 8115305"/>
              <a:gd name="connsiteY730" fmla="*/ 1205371 h 3192694"/>
              <a:gd name="connsiteX731" fmla="*/ 3931624 w 8115305"/>
              <a:gd name="connsiteY731" fmla="*/ 1161369 h 3192694"/>
              <a:gd name="connsiteX732" fmla="*/ 4024336 w 8115305"/>
              <a:gd name="connsiteY732" fmla="*/ 1120988 h 3192694"/>
              <a:gd name="connsiteX733" fmla="*/ 3754169 w 8115305"/>
              <a:gd name="connsiteY733" fmla="*/ 1111934 h 3192694"/>
              <a:gd name="connsiteX734" fmla="*/ 3836196 w 8115305"/>
              <a:gd name="connsiteY734" fmla="*/ 1153581 h 3192694"/>
              <a:gd name="connsiteX735" fmla="*/ 3737690 w 8115305"/>
              <a:gd name="connsiteY735" fmla="*/ 1195411 h 3192694"/>
              <a:gd name="connsiteX736" fmla="*/ 3654032 w 8115305"/>
              <a:gd name="connsiteY736" fmla="*/ 1151047 h 3192694"/>
              <a:gd name="connsiteX737" fmla="*/ 3754169 w 8115305"/>
              <a:gd name="connsiteY737" fmla="*/ 1111934 h 3192694"/>
              <a:gd name="connsiteX738" fmla="*/ 6497494 w 8115305"/>
              <a:gd name="connsiteY738" fmla="*/ 1104873 h 3192694"/>
              <a:gd name="connsiteX739" fmla="*/ 6612115 w 8115305"/>
              <a:gd name="connsiteY739" fmla="*/ 1134208 h 3192694"/>
              <a:gd name="connsiteX740" fmla="*/ 6592017 w 8115305"/>
              <a:gd name="connsiteY740" fmla="*/ 1166439 h 3192694"/>
              <a:gd name="connsiteX741" fmla="*/ 6476489 w 8115305"/>
              <a:gd name="connsiteY741" fmla="*/ 1134750 h 3192694"/>
              <a:gd name="connsiteX742" fmla="*/ 6497494 w 8115305"/>
              <a:gd name="connsiteY742" fmla="*/ 1104873 h 3192694"/>
              <a:gd name="connsiteX743" fmla="*/ 3472954 w 8115305"/>
              <a:gd name="connsiteY743" fmla="*/ 1099622 h 3192694"/>
              <a:gd name="connsiteX744" fmla="*/ 3551361 w 8115305"/>
              <a:gd name="connsiteY744" fmla="*/ 1138915 h 3192694"/>
              <a:gd name="connsiteX745" fmla="*/ 3448146 w 8115305"/>
              <a:gd name="connsiteY745" fmla="*/ 1181469 h 3192694"/>
              <a:gd name="connsiteX746" fmla="*/ 3370464 w 8115305"/>
              <a:gd name="connsiteY746" fmla="*/ 1140183 h 3192694"/>
              <a:gd name="connsiteX747" fmla="*/ 3472954 w 8115305"/>
              <a:gd name="connsiteY747" fmla="*/ 1099622 h 3192694"/>
              <a:gd name="connsiteX748" fmla="*/ 6217548 w 8115305"/>
              <a:gd name="connsiteY748" fmla="*/ 1094549 h 3192694"/>
              <a:gd name="connsiteX749" fmla="*/ 6329636 w 8115305"/>
              <a:gd name="connsiteY749" fmla="*/ 1125695 h 3192694"/>
              <a:gd name="connsiteX750" fmla="*/ 6299395 w 8115305"/>
              <a:gd name="connsiteY750" fmla="*/ 1159193 h 3192694"/>
              <a:gd name="connsiteX751" fmla="*/ 6186766 w 8115305"/>
              <a:gd name="connsiteY751" fmla="*/ 1126599 h 3192694"/>
              <a:gd name="connsiteX752" fmla="*/ 6217548 w 8115305"/>
              <a:gd name="connsiteY752" fmla="*/ 1094549 h 3192694"/>
              <a:gd name="connsiteX753" fmla="*/ 3206409 w 8115305"/>
              <a:gd name="connsiteY753" fmla="*/ 1091473 h 3192694"/>
              <a:gd name="connsiteX754" fmla="*/ 3277572 w 8115305"/>
              <a:gd name="connsiteY754" fmla="*/ 1130766 h 3192694"/>
              <a:gd name="connsiteX755" fmla="*/ 3170555 w 8115305"/>
              <a:gd name="connsiteY755" fmla="*/ 1171689 h 3192694"/>
              <a:gd name="connsiteX756" fmla="*/ 3100297 w 8115305"/>
              <a:gd name="connsiteY756" fmla="*/ 1130586 h 3192694"/>
              <a:gd name="connsiteX757" fmla="*/ 3206409 w 8115305"/>
              <a:gd name="connsiteY757" fmla="*/ 1091473 h 3192694"/>
              <a:gd name="connsiteX758" fmla="*/ 2947469 w 8115305"/>
              <a:gd name="connsiteY758" fmla="*/ 1079341 h 3192694"/>
              <a:gd name="connsiteX759" fmla="*/ 3010301 w 8115305"/>
              <a:gd name="connsiteY759" fmla="*/ 1116642 h 3192694"/>
              <a:gd name="connsiteX760" fmla="*/ 2898940 w 8115305"/>
              <a:gd name="connsiteY760" fmla="*/ 1157386 h 3192694"/>
              <a:gd name="connsiteX761" fmla="*/ 2835582 w 8115305"/>
              <a:gd name="connsiteY761" fmla="*/ 1117185 h 3192694"/>
              <a:gd name="connsiteX762" fmla="*/ 2947469 w 8115305"/>
              <a:gd name="connsiteY762" fmla="*/ 1079341 h 3192694"/>
              <a:gd name="connsiteX763" fmla="*/ 5921849 w 8115305"/>
              <a:gd name="connsiteY763" fmla="*/ 1079158 h 3192694"/>
              <a:gd name="connsiteX764" fmla="*/ 6038824 w 8115305"/>
              <a:gd name="connsiteY764" fmla="*/ 1115374 h 3192694"/>
              <a:gd name="connsiteX765" fmla="*/ 5996814 w 8115305"/>
              <a:gd name="connsiteY765" fmla="*/ 1148511 h 3192694"/>
              <a:gd name="connsiteX766" fmla="*/ 5880744 w 8115305"/>
              <a:gd name="connsiteY766" fmla="*/ 1113201 h 3192694"/>
              <a:gd name="connsiteX767" fmla="*/ 5921849 w 8115305"/>
              <a:gd name="connsiteY767" fmla="*/ 1079158 h 3192694"/>
              <a:gd name="connsiteX768" fmla="*/ 2689272 w 8115305"/>
              <a:gd name="connsiteY768" fmla="*/ 1071191 h 3192694"/>
              <a:gd name="connsiteX769" fmla="*/ 2741242 w 8115305"/>
              <a:gd name="connsiteY769" fmla="*/ 1109036 h 3192694"/>
              <a:gd name="connsiteX770" fmla="*/ 2625530 w 8115305"/>
              <a:gd name="connsiteY770" fmla="*/ 1147244 h 3192694"/>
              <a:gd name="connsiteX771" fmla="*/ 2573561 w 8115305"/>
              <a:gd name="connsiteY771" fmla="*/ 1107406 h 3192694"/>
              <a:gd name="connsiteX772" fmla="*/ 2689272 w 8115305"/>
              <a:gd name="connsiteY772" fmla="*/ 1071191 h 3192694"/>
              <a:gd name="connsiteX773" fmla="*/ 5642989 w 8115305"/>
              <a:gd name="connsiteY773" fmla="*/ 1069743 h 3192694"/>
              <a:gd name="connsiteX774" fmla="*/ 5759059 w 8115305"/>
              <a:gd name="connsiteY774" fmla="*/ 1105958 h 3192694"/>
              <a:gd name="connsiteX775" fmla="*/ 5713972 w 8115305"/>
              <a:gd name="connsiteY775" fmla="*/ 1141089 h 3192694"/>
              <a:gd name="connsiteX776" fmla="*/ 5596451 w 8115305"/>
              <a:gd name="connsiteY776" fmla="*/ 1103785 h 3192694"/>
              <a:gd name="connsiteX777" fmla="*/ 5642989 w 8115305"/>
              <a:gd name="connsiteY777" fmla="*/ 1069743 h 3192694"/>
              <a:gd name="connsiteX778" fmla="*/ 2432867 w 8115305"/>
              <a:gd name="connsiteY778" fmla="*/ 1062680 h 3192694"/>
              <a:gd name="connsiteX779" fmla="*/ 2477229 w 8115305"/>
              <a:gd name="connsiteY779" fmla="*/ 1095817 h 3192694"/>
              <a:gd name="connsiteX780" fmla="*/ 2364236 w 8115305"/>
              <a:gd name="connsiteY780" fmla="*/ 1132033 h 3192694"/>
              <a:gd name="connsiteX781" fmla="*/ 2320056 w 8115305"/>
              <a:gd name="connsiteY781" fmla="*/ 1095817 h 3192694"/>
              <a:gd name="connsiteX782" fmla="*/ 2432867 w 8115305"/>
              <a:gd name="connsiteY782" fmla="*/ 1062680 h 3192694"/>
              <a:gd name="connsiteX783" fmla="*/ 2166679 w 8115305"/>
              <a:gd name="connsiteY783" fmla="*/ 1054714 h 3192694"/>
              <a:gd name="connsiteX784" fmla="*/ 2204531 w 8115305"/>
              <a:gd name="connsiteY784" fmla="*/ 1087670 h 3192694"/>
              <a:gd name="connsiteX785" fmla="*/ 2088816 w 8115305"/>
              <a:gd name="connsiteY785" fmla="*/ 1121532 h 3192694"/>
              <a:gd name="connsiteX786" fmla="*/ 2052601 w 8115305"/>
              <a:gd name="connsiteY786" fmla="*/ 1087308 h 3192694"/>
              <a:gd name="connsiteX787" fmla="*/ 2166679 w 8115305"/>
              <a:gd name="connsiteY787" fmla="*/ 1054714 h 3192694"/>
              <a:gd name="connsiteX788" fmla="*/ 5368476 w 8115305"/>
              <a:gd name="connsiteY788" fmla="*/ 1054532 h 3192694"/>
              <a:gd name="connsiteX789" fmla="*/ 5483098 w 8115305"/>
              <a:gd name="connsiteY789" fmla="*/ 1092739 h 3192694"/>
              <a:gd name="connsiteX790" fmla="*/ 5426060 w 8115305"/>
              <a:gd name="connsiteY790" fmla="*/ 1130223 h 3192694"/>
              <a:gd name="connsiteX791" fmla="*/ 5310351 w 8115305"/>
              <a:gd name="connsiteY791" fmla="*/ 1090747 h 3192694"/>
              <a:gd name="connsiteX792" fmla="*/ 5368476 w 8115305"/>
              <a:gd name="connsiteY792" fmla="*/ 1054532 h 3192694"/>
              <a:gd name="connsiteX793" fmla="*/ 7761778 w 8115305"/>
              <a:gd name="connsiteY793" fmla="*/ 1052179 h 3192694"/>
              <a:gd name="connsiteX794" fmla="*/ 7832580 w 8115305"/>
              <a:gd name="connsiteY794" fmla="*/ 1068657 h 3192694"/>
              <a:gd name="connsiteX795" fmla="*/ 7828958 w 8115305"/>
              <a:gd name="connsiteY795" fmla="*/ 1082238 h 3192694"/>
              <a:gd name="connsiteX796" fmla="*/ 7761778 w 8115305"/>
              <a:gd name="connsiteY796" fmla="*/ 1066665 h 3192694"/>
              <a:gd name="connsiteX797" fmla="*/ 7761778 w 8115305"/>
              <a:gd name="connsiteY797" fmla="*/ 1052179 h 3192694"/>
              <a:gd name="connsiteX798" fmla="*/ 5096135 w 8115305"/>
              <a:gd name="connsiteY798" fmla="*/ 1046565 h 3192694"/>
              <a:gd name="connsiteX799" fmla="*/ 5209127 w 8115305"/>
              <a:gd name="connsiteY799" fmla="*/ 1082600 h 3192694"/>
              <a:gd name="connsiteX800" fmla="*/ 5149734 w 8115305"/>
              <a:gd name="connsiteY800" fmla="*/ 1122979 h 3192694"/>
              <a:gd name="connsiteX801" fmla="*/ 5035474 w 8115305"/>
              <a:gd name="connsiteY801" fmla="*/ 1084590 h 3192694"/>
              <a:gd name="connsiteX802" fmla="*/ 5096135 w 8115305"/>
              <a:gd name="connsiteY802" fmla="*/ 1046565 h 3192694"/>
              <a:gd name="connsiteX803" fmla="*/ 1919691 w 8115305"/>
              <a:gd name="connsiteY803" fmla="*/ 1045299 h 3192694"/>
              <a:gd name="connsiteX804" fmla="*/ 1947577 w 8115305"/>
              <a:gd name="connsiteY804" fmla="*/ 1075176 h 3192694"/>
              <a:gd name="connsiteX805" fmla="*/ 1838931 w 8115305"/>
              <a:gd name="connsiteY805" fmla="*/ 1105778 h 3192694"/>
              <a:gd name="connsiteX806" fmla="*/ 1808509 w 8115305"/>
              <a:gd name="connsiteY806" fmla="*/ 1074813 h 3192694"/>
              <a:gd name="connsiteX807" fmla="*/ 1919691 w 8115305"/>
              <a:gd name="connsiteY807" fmla="*/ 1045299 h 3192694"/>
              <a:gd name="connsiteX808" fmla="*/ 7473502 w 8115305"/>
              <a:gd name="connsiteY808" fmla="*/ 1040409 h 3192694"/>
              <a:gd name="connsiteX809" fmla="*/ 7559151 w 8115305"/>
              <a:gd name="connsiteY809" fmla="*/ 1059604 h 3192694"/>
              <a:gd name="connsiteX810" fmla="*/ 7552452 w 8115305"/>
              <a:gd name="connsiteY810" fmla="*/ 1077712 h 3192694"/>
              <a:gd name="connsiteX811" fmla="*/ 7470424 w 8115305"/>
              <a:gd name="connsiteY811" fmla="*/ 1058516 h 3192694"/>
              <a:gd name="connsiteX812" fmla="*/ 7473502 w 8115305"/>
              <a:gd name="connsiteY812" fmla="*/ 1040409 h 3192694"/>
              <a:gd name="connsiteX813" fmla="*/ 1664370 w 8115305"/>
              <a:gd name="connsiteY813" fmla="*/ 1038597 h 3192694"/>
              <a:gd name="connsiteX814" fmla="*/ 1690083 w 8115305"/>
              <a:gd name="connsiteY814" fmla="*/ 1066301 h 3192694"/>
              <a:gd name="connsiteX815" fmla="*/ 1581436 w 8115305"/>
              <a:gd name="connsiteY815" fmla="*/ 1095818 h 3192694"/>
              <a:gd name="connsiteX816" fmla="*/ 1556990 w 8115305"/>
              <a:gd name="connsiteY816" fmla="*/ 1067208 h 3192694"/>
              <a:gd name="connsiteX817" fmla="*/ 1664370 w 8115305"/>
              <a:gd name="connsiteY817" fmla="*/ 1038597 h 3192694"/>
              <a:gd name="connsiteX818" fmla="*/ 1416477 w 8115305"/>
              <a:gd name="connsiteY818" fmla="*/ 1033346 h 3192694"/>
              <a:gd name="connsiteX819" fmla="*/ 1430600 w 8115305"/>
              <a:gd name="connsiteY819" fmla="*/ 1059239 h 3192694"/>
              <a:gd name="connsiteX820" fmla="*/ 1329197 w 8115305"/>
              <a:gd name="connsiteY820" fmla="*/ 1084590 h 3192694"/>
              <a:gd name="connsiteX821" fmla="*/ 1312357 w 8115305"/>
              <a:gd name="connsiteY821" fmla="*/ 1058878 h 3192694"/>
              <a:gd name="connsiteX822" fmla="*/ 1416477 w 8115305"/>
              <a:gd name="connsiteY822" fmla="*/ 1033346 h 3192694"/>
              <a:gd name="connsiteX823" fmla="*/ 4830674 w 8115305"/>
              <a:gd name="connsiteY823" fmla="*/ 1032442 h 3192694"/>
              <a:gd name="connsiteX824" fmla="*/ 4939865 w 8115305"/>
              <a:gd name="connsiteY824" fmla="*/ 1070830 h 3192694"/>
              <a:gd name="connsiteX825" fmla="*/ 4870331 w 8115305"/>
              <a:gd name="connsiteY825" fmla="*/ 1111392 h 3192694"/>
              <a:gd name="connsiteX826" fmla="*/ 4757158 w 8115305"/>
              <a:gd name="connsiteY826" fmla="*/ 1069925 h 3192694"/>
              <a:gd name="connsiteX827" fmla="*/ 4830674 w 8115305"/>
              <a:gd name="connsiteY827" fmla="*/ 1032442 h 3192694"/>
              <a:gd name="connsiteX828" fmla="*/ 7198446 w 8115305"/>
              <a:gd name="connsiteY828" fmla="*/ 1030629 h 3192694"/>
              <a:gd name="connsiteX829" fmla="*/ 7288985 w 8115305"/>
              <a:gd name="connsiteY829" fmla="*/ 1053807 h 3192694"/>
              <a:gd name="connsiteX830" fmla="*/ 7274499 w 8115305"/>
              <a:gd name="connsiteY830" fmla="*/ 1071915 h 3192694"/>
              <a:gd name="connsiteX831" fmla="*/ 7182329 w 8115305"/>
              <a:gd name="connsiteY831" fmla="*/ 1048737 h 3192694"/>
              <a:gd name="connsiteX832" fmla="*/ 7198446 w 8115305"/>
              <a:gd name="connsiteY832" fmla="*/ 1030629 h 3192694"/>
              <a:gd name="connsiteX833" fmla="*/ 1172926 w 8115305"/>
              <a:gd name="connsiteY833" fmla="*/ 1023387 h 3192694"/>
              <a:gd name="connsiteX834" fmla="*/ 1183609 w 8115305"/>
              <a:gd name="connsiteY834" fmla="*/ 1047470 h 3192694"/>
              <a:gd name="connsiteX835" fmla="*/ 1087638 w 8115305"/>
              <a:gd name="connsiteY835" fmla="*/ 1070287 h 3192694"/>
              <a:gd name="connsiteX836" fmla="*/ 1078044 w 8115305"/>
              <a:gd name="connsiteY836" fmla="*/ 1045479 h 3192694"/>
              <a:gd name="connsiteX837" fmla="*/ 1172926 w 8115305"/>
              <a:gd name="connsiteY837" fmla="*/ 1023387 h 3192694"/>
              <a:gd name="connsiteX838" fmla="*/ 4565758 w 8115305"/>
              <a:gd name="connsiteY838" fmla="*/ 1023386 h 3192694"/>
              <a:gd name="connsiteX839" fmla="*/ 4673499 w 8115305"/>
              <a:gd name="connsiteY839" fmla="*/ 1062318 h 3192694"/>
              <a:gd name="connsiteX840" fmla="*/ 4594006 w 8115305"/>
              <a:gd name="connsiteY840" fmla="*/ 1103785 h 3192694"/>
              <a:gd name="connsiteX841" fmla="*/ 4487715 w 8115305"/>
              <a:gd name="connsiteY841" fmla="*/ 1061955 h 3192694"/>
              <a:gd name="connsiteX842" fmla="*/ 4565758 w 8115305"/>
              <a:gd name="connsiteY842" fmla="*/ 1023386 h 3192694"/>
              <a:gd name="connsiteX843" fmla="*/ 926297 w 8115305"/>
              <a:gd name="connsiteY843" fmla="*/ 1018680 h 3192694"/>
              <a:gd name="connsiteX844" fmla="*/ 931550 w 8115305"/>
              <a:gd name="connsiteY844" fmla="*/ 1038960 h 3192694"/>
              <a:gd name="connsiteX845" fmla="*/ 845358 w 8115305"/>
              <a:gd name="connsiteY845" fmla="*/ 1058880 h 3192694"/>
              <a:gd name="connsiteX846" fmla="*/ 836846 w 8115305"/>
              <a:gd name="connsiteY846" fmla="*/ 1039141 h 3192694"/>
              <a:gd name="connsiteX847" fmla="*/ 926297 w 8115305"/>
              <a:gd name="connsiteY847" fmla="*/ 1018680 h 3192694"/>
              <a:gd name="connsiteX848" fmla="*/ 4301567 w 8115305"/>
              <a:gd name="connsiteY848" fmla="*/ 1015238 h 3192694"/>
              <a:gd name="connsiteX849" fmla="*/ 4399168 w 8115305"/>
              <a:gd name="connsiteY849" fmla="*/ 1055075 h 3192694"/>
              <a:gd name="connsiteX850" fmla="*/ 4312612 w 8115305"/>
              <a:gd name="connsiteY850" fmla="*/ 1095819 h 3192694"/>
              <a:gd name="connsiteX851" fmla="*/ 4212658 w 8115305"/>
              <a:gd name="connsiteY851" fmla="*/ 1054894 h 3192694"/>
              <a:gd name="connsiteX852" fmla="*/ 4301567 w 8115305"/>
              <a:gd name="connsiteY852" fmla="*/ 1015238 h 3192694"/>
              <a:gd name="connsiteX853" fmla="*/ 6909084 w 8115305"/>
              <a:gd name="connsiteY853" fmla="*/ 1014334 h 3192694"/>
              <a:gd name="connsiteX854" fmla="*/ 7007410 w 8115305"/>
              <a:gd name="connsiteY854" fmla="*/ 1038960 h 3192694"/>
              <a:gd name="connsiteX855" fmla="*/ 6995097 w 8115305"/>
              <a:gd name="connsiteY855" fmla="*/ 1062863 h 3192694"/>
              <a:gd name="connsiteX856" fmla="*/ 6895503 w 8115305"/>
              <a:gd name="connsiteY856" fmla="*/ 1039141 h 3192694"/>
              <a:gd name="connsiteX857" fmla="*/ 6909084 w 8115305"/>
              <a:gd name="connsiteY857" fmla="*/ 1014334 h 3192694"/>
              <a:gd name="connsiteX858" fmla="*/ 676952 w 8115305"/>
              <a:gd name="connsiteY858" fmla="*/ 1010530 h 3192694"/>
              <a:gd name="connsiteX859" fmla="*/ 680213 w 8115305"/>
              <a:gd name="connsiteY859" fmla="*/ 1026284 h 3192694"/>
              <a:gd name="connsiteX860" fmla="*/ 604340 w 8115305"/>
              <a:gd name="connsiteY860" fmla="*/ 1043124 h 3192694"/>
              <a:gd name="connsiteX861" fmla="*/ 601804 w 8115305"/>
              <a:gd name="connsiteY861" fmla="*/ 1027008 h 3192694"/>
              <a:gd name="connsiteX862" fmla="*/ 676952 w 8115305"/>
              <a:gd name="connsiteY862" fmla="*/ 1010530 h 3192694"/>
              <a:gd name="connsiteX863" fmla="*/ 435748 w 8115305"/>
              <a:gd name="connsiteY863" fmla="*/ 1004735 h 3192694"/>
              <a:gd name="connsiteX864" fmla="*/ 432669 w 8115305"/>
              <a:gd name="connsiteY864" fmla="*/ 1019040 h 3192694"/>
              <a:gd name="connsiteX865" fmla="*/ 368025 w 8115305"/>
              <a:gd name="connsiteY865" fmla="*/ 1032439 h 3192694"/>
              <a:gd name="connsiteX866" fmla="*/ 368025 w 8115305"/>
              <a:gd name="connsiteY866" fmla="*/ 1018677 h 3192694"/>
              <a:gd name="connsiteX867" fmla="*/ 435748 w 8115305"/>
              <a:gd name="connsiteY867" fmla="*/ 1004735 h 3192694"/>
              <a:gd name="connsiteX868" fmla="*/ 6630223 w 8115305"/>
              <a:gd name="connsiteY868" fmla="*/ 1004556 h 3192694"/>
              <a:gd name="connsiteX869" fmla="*/ 6734343 w 8115305"/>
              <a:gd name="connsiteY869" fmla="*/ 1032441 h 3192694"/>
              <a:gd name="connsiteX870" fmla="*/ 6707362 w 8115305"/>
              <a:gd name="connsiteY870" fmla="*/ 1058336 h 3192694"/>
              <a:gd name="connsiteX871" fmla="*/ 6602157 w 8115305"/>
              <a:gd name="connsiteY871" fmla="*/ 1029544 h 3192694"/>
              <a:gd name="connsiteX872" fmla="*/ 6630223 w 8115305"/>
              <a:gd name="connsiteY872" fmla="*/ 1004556 h 3192694"/>
              <a:gd name="connsiteX873" fmla="*/ 4048058 w 8115305"/>
              <a:gd name="connsiteY873" fmla="*/ 1003650 h 3192694"/>
              <a:gd name="connsiteX874" fmla="*/ 4137329 w 8115305"/>
              <a:gd name="connsiteY874" fmla="*/ 1042763 h 3192694"/>
              <a:gd name="connsiteX875" fmla="*/ 4041539 w 8115305"/>
              <a:gd name="connsiteY875" fmla="*/ 1083324 h 3192694"/>
              <a:gd name="connsiteX876" fmla="*/ 3951000 w 8115305"/>
              <a:gd name="connsiteY876" fmla="*/ 1041314 h 3192694"/>
              <a:gd name="connsiteX877" fmla="*/ 4048058 w 8115305"/>
              <a:gd name="connsiteY877" fmla="*/ 1003650 h 3192694"/>
              <a:gd name="connsiteX878" fmla="*/ 3787850 w 8115305"/>
              <a:gd name="connsiteY878" fmla="*/ 996226 h 3192694"/>
              <a:gd name="connsiteX879" fmla="*/ 3876577 w 8115305"/>
              <a:gd name="connsiteY879" fmla="*/ 1034070 h 3192694"/>
              <a:gd name="connsiteX880" fmla="*/ 3776442 w 8115305"/>
              <a:gd name="connsiteY880" fmla="*/ 1074995 h 3192694"/>
              <a:gd name="connsiteX881" fmla="*/ 3690429 w 8115305"/>
              <a:gd name="connsiteY881" fmla="*/ 1034070 h 3192694"/>
              <a:gd name="connsiteX882" fmla="*/ 3787850 w 8115305"/>
              <a:gd name="connsiteY882" fmla="*/ 996226 h 3192694"/>
              <a:gd name="connsiteX883" fmla="*/ 6352088 w 8115305"/>
              <a:gd name="connsiteY883" fmla="*/ 991156 h 3192694"/>
              <a:gd name="connsiteX884" fmla="*/ 6458561 w 8115305"/>
              <a:gd name="connsiteY884" fmla="*/ 1018679 h 3192694"/>
              <a:gd name="connsiteX885" fmla="*/ 6433211 w 8115305"/>
              <a:gd name="connsiteY885" fmla="*/ 1047651 h 3192694"/>
              <a:gd name="connsiteX886" fmla="*/ 6324564 w 8115305"/>
              <a:gd name="connsiteY886" fmla="*/ 1019223 h 3192694"/>
              <a:gd name="connsiteX887" fmla="*/ 6352088 w 8115305"/>
              <a:gd name="connsiteY887" fmla="*/ 991156 h 3192694"/>
              <a:gd name="connsiteX888" fmla="*/ 3542671 w 8115305"/>
              <a:gd name="connsiteY888" fmla="*/ 985000 h 3192694"/>
              <a:gd name="connsiteX889" fmla="*/ 3619991 w 8115305"/>
              <a:gd name="connsiteY889" fmla="*/ 1022844 h 3192694"/>
              <a:gd name="connsiteX890" fmla="*/ 3512974 w 8115305"/>
              <a:gd name="connsiteY890" fmla="*/ 1062501 h 3192694"/>
              <a:gd name="connsiteX891" fmla="*/ 3436379 w 8115305"/>
              <a:gd name="connsiteY891" fmla="*/ 1022844 h 3192694"/>
              <a:gd name="connsiteX892" fmla="*/ 3542671 w 8115305"/>
              <a:gd name="connsiteY892" fmla="*/ 985000 h 3192694"/>
              <a:gd name="connsiteX893" fmla="*/ 6082826 w 8115305"/>
              <a:gd name="connsiteY893" fmla="*/ 981196 h 3192694"/>
              <a:gd name="connsiteX894" fmla="*/ 6197991 w 8115305"/>
              <a:gd name="connsiteY894" fmla="*/ 1011256 h 3192694"/>
              <a:gd name="connsiteX895" fmla="*/ 6168656 w 8115305"/>
              <a:gd name="connsiteY895" fmla="*/ 1042581 h 3192694"/>
              <a:gd name="connsiteX896" fmla="*/ 6051862 w 8115305"/>
              <a:gd name="connsiteY896" fmla="*/ 1011256 h 3192694"/>
              <a:gd name="connsiteX897" fmla="*/ 6082826 w 8115305"/>
              <a:gd name="connsiteY897" fmla="*/ 981196 h 3192694"/>
              <a:gd name="connsiteX898" fmla="*/ 3290247 w 8115305"/>
              <a:gd name="connsiteY898" fmla="*/ 978118 h 3192694"/>
              <a:gd name="connsiteX899" fmla="*/ 3365214 w 8115305"/>
              <a:gd name="connsiteY899" fmla="*/ 1014333 h 3192694"/>
              <a:gd name="connsiteX900" fmla="*/ 3257653 w 8115305"/>
              <a:gd name="connsiteY900" fmla="*/ 1054170 h 3192694"/>
              <a:gd name="connsiteX901" fmla="*/ 3183412 w 8115305"/>
              <a:gd name="connsiteY901" fmla="*/ 1016145 h 3192694"/>
              <a:gd name="connsiteX902" fmla="*/ 3290247 w 8115305"/>
              <a:gd name="connsiteY902" fmla="*/ 978118 h 3192694"/>
              <a:gd name="connsiteX903" fmla="*/ 5820083 w 8115305"/>
              <a:gd name="connsiteY903" fmla="*/ 967978 h 3192694"/>
              <a:gd name="connsiteX904" fmla="*/ 5934705 w 8115305"/>
              <a:gd name="connsiteY904" fmla="*/ 1000391 h 3192694"/>
              <a:gd name="connsiteX905" fmla="*/ 5893600 w 8115305"/>
              <a:gd name="connsiteY905" fmla="*/ 1033166 h 3192694"/>
              <a:gd name="connsiteX906" fmla="*/ 5777349 w 8115305"/>
              <a:gd name="connsiteY906" fmla="*/ 999484 h 3192694"/>
              <a:gd name="connsiteX907" fmla="*/ 5820083 w 8115305"/>
              <a:gd name="connsiteY907" fmla="*/ 967978 h 3192694"/>
              <a:gd name="connsiteX908" fmla="*/ 3041809 w 8115305"/>
              <a:gd name="connsiteY908" fmla="*/ 967615 h 3192694"/>
              <a:gd name="connsiteX909" fmla="*/ 3104643 w 8115305"/>
              <a:gd name="connsiteY909" fmla="*/ 1003650 h 3192694"/>
              <a:gd name="connsiteX910" fmla="*/ 2989658 w 8115305"/>
              <a:gd name="connsiteY910" fmla="*/ 1041314 h 3192694"/>
              <a:gd name="connsiteX911" fmla="*/ 2928092 w 8115305"/>
              <a:gd name="connsiteY911" fmla="*/ 1003830 h 3192694"/>
              <a:gd name="connsiteX912" fmla="*/ 3041809 w 8115305"/>
              <a:gd name="connsiteY912" fmla="*/ 967615 h 3192694"/>
              <a:gd name="connsiteX913" fmla="*/ 2795561 w 8115305"/>
              <a:gd name="connsiteY913" fmla="*/ 962364 h 3192694"/>
              <a:gd name="connsiteX914" fmla="*/ 2851515 w 8115305"/>
              <a:gd name="connsiteY914" fmla="*/ 995682 h 3192694"/>
              <a:gd name="connsiteX915" fmla="*/ 2737258 w 8115305"/>
              <a:gd name="connsiteY915" fmla="*/ 1031898 h 3192694"/>
              <a:gd name="connsiteX916" fmla="*/ 2685468 w 8115305"/>
              <a:gd name="connsiteY916" fmla="*/ 995682 h 3192694"/>
              <a:gd name="connsiteX917" fmla="*/ 2795561 w 8115305"/>
              <a:gd name="connsiteY917" fmla="*/ 962364 h 3192694"/>
              <a:gd name="connsiteX918" fmla="*/ 7822800 w 8115305"/>
              <a:gd name="connsiteY918" fmla="*/ 960011 h 3192694"/>
              <a:gd name="connsiteX919" fmla="*/ 7877123 w 8115305"/>
              <a:gd name="connsiteY919" fmla="*/ 971600 h 3192694"/>
              <a:gd name="connsiteX920" fmla="*/ 7877123 w 8115305"/>
              <a:gd name="connsiteY920" fmla="*/ 981921 h 3192694"/>
              <a:gd name="connsiteX921" fmla="*/ 7821714 w 8115305"/>
              <a:gd name="connsiteY921" fmla="*/ 970875 h 3192694"/>
              <a:gd name="connsiteX922" fmla="*/ 7822800 w 8115305"/>
              <a:gd name="connsiteY922" fmla="*/ 960011 h 3192694"/>
              <a:gd name="connsiteX923" fmla="*/ 5564039 w 8115305"/>
              <a:gd name="connsiteY923" fmla="*/ 959467 h 3192694"/>
              <a:gd name="connsiteX924" fmla="*/ 5675944 w 8115305"/>
              <a:gd name="connsiteY924" fmla="*/ 992424 h 3192694"/>
              <a:gd name="connsiteX925" fmla="*/ 5626691 w 8115305"/>
              <a:gd name="connsiteY925" fmla="*/ 1026827 h 3192694"/>
              <a:gd name="connsiteX926" fmla="*/ 5513338 w 8115305"/>
              <a:gd name="connsiteY926" fmla="*/ 992424 h 3192694"/>
              <a:gd name="connsiteX927" fmla="*/ 5564039 w 8115305"/>
              <a:gd name="connsiteY927" fmla="*/ 959467 h 3192694"/>
              <a:gd name="connsiteX928" fmla="*/ 2556724 w 8115305"/>
              <a:gd name="connsiteY928" fmla="*/ 952404 h 3192694"/>
              <a:gd name="connsiteX929" fmla="*/ 2607424 w 8115305"/>
              <a:gd name="connsiteY929" fmla="*/ 984093 h 3192694"/>
              <a:gd name="connsiteX930" fmla="*/ 2496062 w 8115305"/>
              <a:gd name="connsiteY930" fmla="*/ 1018860 h 3192694"/>
              <a:gd name="connsiteX931" fmla="*/ 2445360 w 8115305"/>
              <a:gd name="connsiteY931" fmla="*/ 984998 h 3192694"/>
              <a:gd name="connsiteX932" fmla="*/ 2556724 w 8115305"/>
              <a:gd name="connsiteY932" fmla="*/ 952404 h 3192694"/>
              <a:gd name="connsiteX933" fmla="*/ 5304918 w 8115305"/>
              <a:gd name="connsiteY933" fmla="*/ 947697 h 3192694"/>
              <a:gd name="connsiteX934" fmla="*/ 5418635 w 8115305"/>
              <a:gd name="connsiteY934" fmla="*/ 981739 h 3192694"/>
              <a:gd name="connsiteX935" fmla="*/ 5361958 w 8115305"/>
              <a:gd name="connsiteY935" fmla="*/ 1017955 h 3192694"/>
              <a:gd name="connsiteX936" fmla="*/ 5246973 w 8115305"/>
              <a:gd name="connsiteY936" fmla="*/ 981739 h 3192694"/>
              <a:gd name="connsiteX937" fmla="*/ 5304918 w 8115305"/>
              <a:gd name="connsiteY937" fmla="*/ 947697 h 3192694"/>
              <a:gd name="connsiteX938" fmla="*/ 2319330 w 8115305"/>
              <a:gd name="connsiteY938" fmla="*/ 946610 h 3192694"/>
              <a:gd name="connsiteX939" fmla="*/ 2359533 w 8115305"/>
              <a:gd name="connsiteY939" fmla="*/ 977936 h 3192694"/>
              <a:gd name="connsiteX940" fmla="*/ 2245085 w 8115305"/>
              <a:gd name="connsiteY940" fmla="*/ 1009806 h 3192694"/>
              <a:gd name="connsiteX941" fmla="*/ 2206337 w 8115305"/>
              <a:gd name="connsiteY941" fmla="*/ 977212 h 3192694"/>
              <a:gd name="connsiteX942" fmla="*/ 2319330 w 8115305"/>
              <a:gd name="connsiteY942" fmla="*/ 946610 h 3192694"/>
              <a:gd name="connsiteX943" fmla="*/ 7541770 w 8115305"/>
              <a:gd name="connsiteY943" fmla="*/ 945524 h 3192694"/>
              <a:gd name="connsiteX944" fmla="*/ 7611302 w 8115305"/>
              <a:gd name="connsiteY944" fmla="*/ 960010 h 3192694"/>
              <a:gd name="connsiteX945" fmla="*/ 7606414 w 8115305"/>
              <a:gd name="connsiteY945" fmla="*/ 974135 h 3192694"/>
              <a:gd name="connsiteX946" fmla="*/ 7540682 w 8115305"/>
              <a:gd name="connsiteY946" fmla="*/ 960191 h 3192694"/>
              <a:gd name="connsiteX947" fmla="*/ 7541770 w 8115305"/>
              <a:gd name="connsiteY947" fmla="*/ 945524 h 3192694"/>
              <a:gd name="connsiteX948" fmla="*/ 5043985 w 8115305"/>
              <a:gd name="connsiteY948" fmla="*/ 938643 h 3192694"/>
              <a:gd name="connsiteX949" fmla="*/ 5156253 w 8115305"/>
              <a:gd name="connsiteY949" fmla="*/ 973229 h 3192694"/>
              <a:gd name="connsiteX950" fmla="*/ 5091065 w 8115305"/>
              <a:gd name="connsiteY950" fmla="*/ 1011074 h 3192694"/>
              <a:gd name="connsiteX951" fmla="*/ 4979521 w 8115305"/>
              <a:gd name="connsiteY951" fmla="*/ 973590 h 3192694"/>
              <a:gd name="connsiteX952" fmla="*/ 5043985 w 8115305"/>
              <a:gd name="connsiteY952" fmla="*/ 938643 h 3192694"/>
              <a:gd name="connsiteX953" fmla="*/ 2082117 w 8115305"/>
              <a:gd name="connsiteY953" fmla="*/ 937918 h 3192694"/>
              <a:gd name="connsiteX954" fmla="*/ 2119238 w 8115305"/>
              <a:gd name="connsiteY954" fmla="*/ 966167 h 3192694"/>
              <a:gd name="connsiteX955" fmla="*/ 2008238 w 8115305"/>
              <a:gd name="connsiteY955" fmla="*/ 996226 h 3192694"/>
              <a:gd name="connsiteX956" fmla="*/ 1976005 w 8115305"/>
              <a:gd name="connsiteY956" fmla="*/ 965986 h 3192694"/>
              <a:gd name="connsiteX957" fmla="*/ 2082117 w 8115305"/>
              <a:gd name="connsiteY957" fmla="*/ 937918 h 3192694"/>
              <a:gd name="connsiteX958" fmla="*/ 7265625 w 8115305"/>
              <a:gd name="connsiteY958" fmla="*/ 934116 h 3192694"/>
              <a:gd name="connsiteX959" fmla="*/ 7347472 w 8115305"/>
              <a:gd name="connsiteY959" fmla="*/ 952223 h 3192694"/>
              <a:gd name="connsiteX960" fmla="*/ 7342402 w 8115305"/>
              <a:gd name="connsiteY960" fmla="*/ 970331 h 3192694"/>
              <a:gd name="connsiteX961" fmla="*/ 7259650 w 8115305"/>
              <a:gd name="connsiteY961" fmla="*/ 952223 h 3192694"/>
              <a:gd name="connsiteX962" fmla="*/ 7265625 w 8115305"/>
              <a:gd name="connsiteY962" fmla="*/ 934116 h 3192694"/>
              <a:gd name="connsiteX963" fmla="*/ 1846532 w 8115305"/>
              <a:gd name="connsiteY963" fmla="*/ 933574 h 3192694"/>
              <a:gd name="connsiteX964" fmla="*/ 1877136 w 8115305"/>
              <a:gd name="connsiteY964" fmla="*/ 960010 h 3192694"/>
              <a:gd name="connsiteX965" fmla="*/ 1768490 w 8115305"/>
              <a:gd name="connsiteY965" fmla="*/ 988259 h 3192694"/>
              <a:gd name="connsiteX966" fmla="*/ 1740060 w 8115305"/>
              <a:gd name="connsiteY966" fmla="*/ 960735 h 3192694"/>
              <a:gd name="connsiteX967" fmla="*/ 1846532 w 8115305"/>
              <a:gd name="connsiteY967" fmla="*/ 933574 h 3192694"/>
              <a:gd name="connsiteX968" fmla="*/ 4795547 w 8115305"/>
              <a:gd name="connsiteY968" fmla="*/ 927597 h 3192694"/>
              <a:gd name="connsiteX969" fmla="*/ 4902564 w 8115305"/>
              <a:gd name="connsiteY969" fmla="*/ 962907 h 3192694"/>
              <a:gd name="connsiteX970" fmla="*/ 4833574 w 8115305"/>
              <a:gd name="connsiteY970" fmla="*/ 1000389 h 3192694"/>
              <a:gd name="connsiteX971" fmla="*/ 4723116 w 8115305"/>
              <a:gd name="connsiteY971" fmla="*/ 962364 h 3192694"/>
              <a:gd name="connsiteX972" fmla="*/ 4795547 w 8115305"/>
              <a:gd name="connsiteY972" fmla="*/ 927597 h 3192694"/>
              <a:gd name="connsiteX973" fmla="*/ 1612221 w 8115305"/>
              <a:gd name="connsiteY973" fmla="*/ 923795 h 3192694"/>
              <a:gd name="connsiteX974" fmla="*/ 1631232 w 8115305"/>
              <a:gd name="connsiteY974" fmla="*/ 949146 h 3192694"/>
              <a:gd name="connsiteX975" fmla="*/ 1529471 w 8115305"/>
              <a:gd name="connsiteY975" fmla="*/ 973953 h 3192694"/>
              <a:gd name="connsiteX976" fmla="*/ 1511362 w 8115305"/>
              <a:gd name="connsiteY976" fmla="*/ 947516 h 3192694"/>
              <a:gd name="connsiteX977" fmla="*/ 1612221 w 8115305"/>
              <a:gd name="connsiteY977" fmla="*/ 923795 h 3192694"/>
              <a:gd name="connsiteX978" fmla="*/ 7000527 w 8115305"/>
              <a:gd name="connsiteY978" fmla="*/ 921441 h 3192694"/>
              <a:gd name="connsiteX979" fmla="*/ 7088893 w 8115305"/>
              <a:gd name="connsiteY979" fmla="*/ 941903 h 3192694"/>
              <a:gd name="connsiteX980" fmla="*/ 7076216 w 8115305"/>
              <a:gd name="connsiteY980" fmla="*/ 962727 h 3192694"/>
              <a:gd name="connsiteX981" fmla="*/ 6982420 w 8115305"/>
              <a:gd name="connsiteY981" fmla="*/ 940635 h 3192694"/>
              <a:gd name="connsiteX982" fmla="*/ 7000527 w 8115305"/>
              <a:gd name="connsiteY982" fmla="*/ 921441 h 3192694"/>
              <a:gd name="connsiteX983" fmla="*/ 1376278 w 8115305"/>
              <a:gd name="connsiteY983" fmla="*/ 920897 h 3192694"/>
              <a:gd name="connsiteX984" fmla="*/ 1393663 w 8115305"/>
              <a:gd name="connsiteY984" fmla="*/ 941902 h 3192694"/>
              <a:gd name="connsiteX985" fmla="*/ 1299861 w 8115305"/>
              <a:gd name="connsiteY985" fmla="*/ 964900 h 3192694"/>
              <a:gd name="connsiteX986" fmla="*/ 1279945 w 8115305"/>
              <a:gd name="connsiteY986" fmla="*/ 943895 h 3192694"/>
              <a:gd name="connsiteX987" fmla="*/ 1376278 w 8115305"/>
              <a:gd name="connsiteY987" fmla="*/ 920897 h 3192694"/>
              <a:gd name="connsiteX988" fmla="*/ 4549099 w 8115305"/>
              <a:gd name="connsiteY988" fmla="*/ 919991 h 3192694"/>
              <a:gd name="connsiteX989" fmla="*/ 4653762 w 8115305"/>
              <a:gd name="connsiteY989" fmla="*/ 956206 h 3192694"/>
              <a:gd name="connsiteX990" fmla="*/ 4574813 w 8115305"/>
              <a:gd name="connsiteY990" fmla="*/ 993690 h 3192694"/>
              <a:gd name="connsiteX991" fmla="*/ 4471961 w 8115305"/>
              <a:gd name="connsiteY991" fmla="*/ 957474 h 3192694"/>
              <a:gd name="connsiteX992" fmla="*/ 4549099 w 8115305"/>
              <a:gd name="connsiteY992" fmla="*/ 919991 h 3192694"/>
              <a:gd name="connsiteX993" fmla="*/ 6736698 w 8115305"/>
              <a:gd name="connsiteY993" fmla="*/ 912206 h 3192694"/>
              <a:gd name="connsiteX994" fmla="*/ 6836653 w 8115305"/>
              <a:gd name="connsiteY994" fmla="*/ 934479 h 3192694"/>
              <a:gd name="connsiteX995" fmla="*/ 6823254 w 8115305"/>
              <a:gd name="connsiteY995" fmla="*/ 958201 h 3192694"/>
              <a:gd name="connsiteX996" fmla="*/ 6722212 w 8115305"/>
              <a:gd name="connsiteY996" fmla="*/ 935203 h 3192694"/>
              <a:gd name="connsiteX997" fmla="*/ 6736698 w 8115305"/>
              <a:gd name="connsiteY997" fmla="*/ 912206 h 3192694"/>
              <a:gd name="connsiteX998" fmla="*/ 1151739 w 8115305"/>
              <a:gd name="connsiteY998" fmla="*/ 911663 h 3192694"/>
              <a:gd name="connsiteX999" fmla="*/ 1164958 w 8115305"/>
              <a:gd name="connsiteY999" fmla="*/ 930677 h 3192694"/>
              <a:gd name="connsiteX1000" fmla="*/ 1076771 w 8115305"/>
              <a:gd name="connsiteY1000" fmla="*/ 951683 h 3192694"/>
              <a:gd name="connsiteX1001" fmla="*/ 1063916 w 8115305"/>
              <a:gd name="connsiteY1001" fmla="*/ 931219 h 3192694"/>
              <a:gd name="connsiteX1002" fmla="*/ 1151739 w 8115305"/>
              <a:gd name="connsiteY1002" fmla="*/ 911663 h 3192694"/>
              <a:gd name="connsiteX1003" fmla="*/ 4305912 w 8115305"/>
              <a:gd name="connsiteY1003" fmla="*/ 908402 h 3192694"/>
              <a:gd name="connsiteX1004" fmla="*/ 4408220 w 8115305"/>
              <a:gd name="connsiteY1004" fmla="*/ 945161 h 3192694"/>
              <a:gd name="connsiteX1005" fmla="*/ 4320760 w 8115305"/>
              <a:gd name="connsiteY1005" fmla="*/ 984093 h 3192694"/>
              <a:gd name="connsiteX1006" fmla="*/ 4220081 w 8115305"/>
              <a:gd name="connsiteY1006" fmla="*/ 944617 h 3192694"/>
              <a:gd name="connsiteX1007" fmla="*/ 4305912 w 8115305"/>
              <a:gd name="connsiteY1007" fmla="*/ 908402 h 3192694"/>
              <a:gd name="connsiteX1008" fmla="*/ 920865 w 8115305"/>
              <a:gd name="connsiteY1008" fmla="*/ 908221 h 3192694"/>
              <a:gd name="connsiteX1009" fmla="*/ 927569 w 8115305"/>
              <a:gd name="connsiteY1009" fmla="*/ 924880 h 3192694"/>
              <a:gd name="connsiteX1010" fmla="*/ 847168 w 8115305"/>
              <a:gd name="connsiteY1010" fmla="*/ 941720 h 3192694"/>
              <a:gd name="connsiteX1011" fmla="*/ 845358 w 8115305"/>
              <a:gd name="connsiteY1011" fmla="*/ 923612 h 3192694"/>
              <a:gd name="connsiteX1012" fmla="*/ 920865 w 8115305"/>
              <a:gd name="connsiteY1012" fmla="*/ 908221 h 3192694"/>
              <a:gd name="connsiteX1013" fmla="*/ 4065623 w 8115305"/>
              <a:gd name="connsiteY1013" fmla="*/ 901883 h 3192694"/>
              <a:gd name="connsiteX1014" fmla="*/ 4163043 w 8115305"/>
              <a:gd name="connsiteY1014" fmla="*/ 937737 h 3192694"/>
              <a:gd name="connsiteX1015" fmla="*/ 4070332 w 8115305"/>
              <a:gd name="connsiteY1015" fmla="*/ 976850 h 3192694"/>
              <a:gd name="connsiteX1016" fmla="*/ 3975086 w 8115305"/>
              <a:gd name="connsiteY1016" fmla="*/ 938098 h 3192694"/>
              <a:gd name="connsiteX1017" fmla="*/ 4065623 w 8115305"/>
              <a:gd name="connsiteY1017" fmla="*/ 901883 h 3192694"/>
              <a:gd name="connsiteX1018" fmla="*/ 6482282 w 8115305"/>
              <a:gd name="connsiteY1018" fmla="*/ 901161 h 3192694"/>
              <a:gd name="connsiteX1019" fmla="*/ 6583142 w 8115305"/>
              <a:gd name="connsiteY1019" fmla="*/ 925968 h 3192694"/>
              <a:gd name="connsiteX1020" fmla="*/ 6556525 w 8115305"/>
              <a:gd name="connsiteY1020" fmla="*/ 949507 h 3192694"/>
              <a:gd name="connsiteX1021" fmla="*/ 6454397 w 8115305"/>
              <a:gd name="connsiteY1021" fmla="*/ 923795 h 3192694"/>
              <a:gd name="connsiteX1022" fmla="*/ 6482282 w 8115305"/>
              <a:gd name="connsiteY1022" fmla="*/ 901161 h 3192694"/>
              <a:gd name="connsiteX1023" fmla="*/ 697409 w 8115305"/>
              <a:gd name="connsiteY1023" fmla="*/ 900798 h 3192694"/>
              <a:gd name="connsiteX1024" fmla="*/ 702843 w 8115305"/>
              <a:gd name="connsiteY1024" fmla="*/ 914016 h 3192694"/>
              <a:gd name="connsiteX1025" fmla="*/ 636387 w 8115305"/>
              <a:gd name="connsiteY1025" fmla="*/ 928141 h 3192694"/>
              <a:gd name="connsiteX1026" fmla="*/ 631497 w 8115305"/>
              <a:gd name="connsiteY1026" fmla="*/ 914740 h 3192694"/>
              <a:gd name="connsiteX1027" fmla="*/ 697409 w 8115305"/>
              <a:gd name="connsiteY1027" fmla="*/ 900798 h 3192694"/>
              <a:gd name="connsiteX1028" fmla="*/ 470874 w 8115305"/>
              <a:gd name="connsiteY1028" fmla="*/ 897357 h 3192694"/>
              <a:gd name="connsiteX1029" fmla="*/ 468340 w 8115305"/>
              <a:gd name="connsiteY1029" fmla="*/ 908402 h 3192694"/>
              <a:gd name="connsiteX1030" fmla="*/ 416009 w 8115305"/>
              <a:gd name="connsiteY1030" fmla="*/ 918181 h 3192694"/>
              <a:gd name="connsiteX1031" fmla="*/ 419087 w 8115305"/>
              <a:gd name="connsiteY1031" fmla="*/ 906953 h 3192694"/>
              <a:gd name="connsiteX1032" fmla="*/ 470874 w 8115305"/>
              <a:gd name="connsiteY1032" fmla="*/ 897357 h 3192694"/>
              <a:gd name="connsiteX1033" fmla="*/ 3822617 w 8115305"/>
              <a:gd name="connsiteY1033" fmla="*/ 892106 h 3192694"/>
              <a:gd name="connsiteX1034" fmla="*/ 3911888 w 8115305"/>
              <a:gd name="connsiteY1034" fmla="*/ 927597 h 3192694"/>
              <a:gd name="connsiteX1035" fmla="*/ 3813381 w 8115305"/>
              <a:gd name="connsiteY1035" fmla="*/ 965986 h 3192694"/>
              <a:gd name="connsiteX1036" fmla="*/ 3724472 w 8115305"/>
              <a:gd name="connsiteY1036" fmla="*/ 928321 h 3192694"/>
              <a:gd name="connsiteX1037" fmla="*/ 3822617 w 8115305"/>
              <a:gd name="connsiteY1037" fmla="*/ 892106 h 3192694"/>
              <a:gd name="connsiteX1038" fmla="*/ 6226603 w 8115305"/>
              <a:gd name="connsiteY1038" fmla="*/ 891201 h 3192694"/>
              <a:gd name="connsiteX1039" fmla="*/ 6334525 w 8115305"/>
              <a:gd name="connsiteY1039" fmla="*/ 917095 h 3192694"/>
              <a:gd name="connsiteX1040" fmla="*/ 6311167 w 8115305"/>
              <a:gd name="connsiteY1040" fmla="*/ 945163 h 3192694"/>
              <a:gd name="connsiteX1041" fmla="*/ 6198355 w 8115305"/>
              <a:gd name="connsiteY1041" fmla="*/ 917457 h 3192694"/>
              <a:gd name="connsiteX1042" fmla="*/ 6226603 w 8115305"/>
              <a:gd name="connsiteY1042" fmla="*/ 891201 h 3192694"/>
              <a:gd name="connsiteX1043" fmla="*/ 3589751 w 8115305"/>
              <a:gd name="connsiteY1043" fmla="*/ 885044 h 3192694"/>
              <a:gd name="connsiteX1044" fmla="*/ 3670873 w 8115305"/>
              <a:gd name="connsiteY1044" fmla="*/ 919630 h 3192694"/>
              <a:gd name="connsiteX1045" fmla="*/ 3568204 w 8115305"/>
              <a:gd name="connsiteY1045" fmla="*/ 958562 h 3192694"/>
              <a:gd name="connsiteX1046" fmla="*/ 3485633 w 8115305"/>
              <a:gd name="connsiteY1046" fmla="*/ 921259 h 3192694"/>
              <a:gd name="connsiteX1047" fmla="*/ 3589751 w 8115305"/>
              <a:gd name="connsiteY1047" fmla="*/ 885044 h 3192694"/>
              <a:gd name="connsiteX1048" fmla="*/ 5974180 w 8115305"/>
              <a:gd name="connsiteY1048" fmla="*/ 879432 h 3192694"/>
              <a:gd name="connsiteX1049" fmla="*/ 6086087 w 8115305"/>
              <a:gd name="connsiteY1049" fmla="*/ 907316 h 3192694"/>
              <a:gd name="connsiteX1050" fmla="*/ 6053493 w 8115305"/>
              <a:gd name="connsiteY1050" fmla="*/ 937013 h 3192694"/>
              <a:gd name="connsiteX1051" fmla="*/ 5939957 w 8115305"/>
              <a:gd name="connsiteY1051" fmla="*/ 908041 h 3192694"/>
              <a:gd name="connsiteX1052" fmla="*/ 5974180 w 8115305"/>
              <a:gd name="connsiteY1052" fmla="*/ 879432 h 3192694"/>
              <a:gd name="connsiteX1053" fmla="*/ 3359960 w 8115305"/>
              <a:gd name="connsiteY1053" fmla="*/ 876534 h 3192694"/>
              <a:gd name="connsiteX1054" fmla="*/ 3432392 w 8115305"/>
              <a:gd name="connsiteY1054" fmla="*/ 911301 h 3192694"/>
              <a:gd name="connsiteX1055" fmla="*/ 3321211 w 8115305"/>
              <a:gd name="connsiteY1055" fmla="*/ 947517 h 3192694"/>
              <a:gd name="connsiteX1056" fmla="*/ 3252763 w 8115305"/>
              <a:gd name="connsiteY1056" fmla="*/ 910214 h 3192694"/>
              <a:gd name="connsiteX1057" fmla="*/ 3359960 w 8115305"/>
              <a:gd name="connsiteY1057" fmla="*/ 876534 h 3192694"/>
              <a:gd name="connsiteX1058" fmla="*/ 5725017 w 8115305"/>
              <a:gd name="connsiteY1058" fmla="*/ 871644 h 3192694"/>
              <a:gd name="connsiteX1059" fmla="*/ 5833664 w 8115305"/>
              <a:gd name="connsiteY1059" fmla="*/ 900436 h 3192694"/>
              <a:gd name="connsiteX1060" fmla="*/ 5794371 w 8115305"/>
              <a:gd name="connsiteY1060" fmla="*/ 931582 h 3192694"/>
              <a:gd name="connsiteX1061" fmla="*/ 5680654 w 8115305"/>
              <a:gd name="connsiteY1061" fmla="*/ 900797 h 3192694"/>
              <a:gd name="connsiteX1062" fmla="*/ 5725017 w 8115305"/>
              <a:gd name="connsiteY1062" fmla="*/ 871644 h 3192694"/>
              <a:gd name="connsiteX1063" fmla="*/ 3127276 w 8115305"/>
              <a:gd name="connsiteY1063" fmla="*/ 871282 h 3192694"/>
              <a:gd name="connsiteX1064" fmla="*/ 3193732 w 8115305"/>
              <a:gd name="connsiteY1064" fmla="*/ 903512 h 3192694"/>
              <a:gd name="connsiteX1065" fmla="*/ 3088346 w 8115305"/>
              <a:gd name="connsiteY1065" fmla="*/ 938823 h 3192694"/>
              <a:gd name="connsiteX1066" fmla="*/ 3020803 w 8115305"/>
              <a:gd name="connsiteY1066" fmla="*/ 904237 h 3192694"/>
              <a:gd name="connsiteX1067" fmla="*/ 3127276 w 8115305"/>
              <a:gd name="connsiteY1067" fmla="*/ 871282 h 3192694"/>
              <a:gd name="connsiteX1068" fmla="*/ 2900389 w 8115305"/>
              <a:gd name="connsiteY1068" fmla="*/ 865487 h 3192694"/>
              <a:gd name="connsiteX1069" fmla="*/ 2958876 w 8115305"/>
              <a:gd name="connsiteY1069" fmla="*/ 897176 h 3192694"/>
              <a:gd name="connsiteX1070" fmla="*/ 2846267 w 8115305"/>
              <a:gd name="connsiteY1070" fmla="*/ 931399 h 3192694"/>
              <a:gd name="connsiteX1071" fmla="*/ 2788866 w 8115305"/>
              <a:gd name="connsiteY1071" fmla="*/ 898261 h 3192694"/>
              <a:gd name="connsiteX1072" fmla="*/ 2900389 w 8115305"/>
              <a:gd name="connsiteY1072" fmla="*/ 865487 h 3192694"/>
              <a:gd name="connsiteX1073" fmla="*/ 7600620 w 8115305"/>
              <a:gd name="connsiteY1073" fmla="*/ 863677 h 3192694"/>
              <a:gd name="connsiteX1074" fmla="*/ 7658382 w 8115305"/>
              <a:gd name="connsiteY1074" fmla="*/ 874905 h 3192694"/>
              <a:gd name="connsiteX1075" fmla="*/ 7658382 w 8115305"/>
              <a:gd name="connsiteY1075" fmla="*/ 886493 h 3192694"/>
              <a:gd name="connsiteX1076" fmla="*/ 7600620 w 8115305"/>
              <a:gd name="connsiteY1076" fmla="*/ 875991 h 3192694"/>
              <a:gd name="connsiteX1077" fmla="*/ 7600620 w 8115305"/>
              <a:gd name="connsiteY1077" fmla="*/ 863677 h 3192694"/>
              <a:gd name="connsiteX1078" fmla="*/ 5481830 w 8115305"/>
              <a:gd name="connsiteY1078" fmla="*/ 863314 h 3192694"/>
              <a:gd name="connsiteX1079" fmla="*/ 5596451 w 8115305"/>
              <a:gd name="connsiteY1079" fmla="*/ 895183 h 3192694"/>
              <a:gd name="connsiteX1080" fmla="*/ 5546657 w 8115305"/>
              <a:gd name="connsiteY1080" fmla="*/ 927053 h 3192694"/>
              <a:gd name="connsiteX1081" fmla="*/ 5430767 w 8115305"/>
              <a:gd name="connsiteY1081" fmla="*/ 893735 h 3192694"/>
              <a:gd name="connsiteX1082" fmla="*/ 5481830 w 8115305"/>
              <a:gd name="connsiteY1082" fmla="*/ 863314 h 3192694"/>
              <a:gd name="connsiteX1083" fmla="*/ 2677502 w 8115305"/>
              <a:gd name="connsiteY1083" fmla="*/ 856977 h 3192694"/>
              <a:gd name="connsiteX1084" fmla="*/ 2726393 w 8115305"/>
              <a:gd name="connsiteY1084" fmla="*/ 889390 h 3192694"/>
              <a:gd name="connsiteX1085" fmla="*/ 2613220 w 8115305"/>
              <a:gd name="connsiteY1085" fmla="*/ 920172 h 3192694"/>
              <a:gd name="connsiteX1086" fmla="*/ 2565958 w 8115305"/>
              <a:gd name="connsiteY1086" fmla="*/ 886311 h 3192694"/>
              <a:gd name="connsiteX1087" fmla="*/ 2677502 w 8115305"/>
              <a:gd name="connsiteY1087" fmla="*/ 856977 h 3192694"/>
              <a:gd name="connsiteX1088" fmla="*/ 5242446 w 8115305"/>
              <a:gd name="connsiteY1088" fmla="*/ 852993 h 3192694"/>
              <a:gd name="connsiteX1089" fmla="*/ 5353446 w 8115305"/>
              <a:gd name="connsiteY1089" fmla="*/ 885406 h 3192694"/>
              <a:gd name="connsiteX1090" fmla="*/ 5293691 w 8115305"/>
              <a:gd name="connsiteY1090" fmla="*/ 917819 h 3192694"/>
              <a:gd name="connsiteX1091" fmla="*/ 5183233 w 8115305"/>
              <a:gd name="connsiteY1091" fmla="*/ 883052 h 3192694"/>
              <a:gd name="connsiteX1092" fmla="*/ 5242446 w 8115305"/>
              <a:gd name="connsiteY1092" fmla="*/ 852993 h 3192694"/>
              <a:gd name="connsiteX1093" fmla="*/ 2440834 w 8115305"/>
              <a:gd name="connsiteY1093" fmla="*/ 852813 h 3192694"/>
              <a:gd name="connsiteX1094" fmla="*/ 2485196 w 8115305"/>
              <a:gd name="connsiteY1094" fmla="*/ 881424 h 3192694"/>
              <a:gd name="connsiteX1095" fmla="*/ 2374557 w 8115305"/>
              <a:gd name="connsiteY1095" fmla="*/ 911120 h 3192694"/>
              <a:gd name="connsiteX1096" fmla="*/ 2334541 w 8115305"/>
              <a:gd name="connsiteY1096" fmla="*/ 880517 h 3192694"/>
              <a:gd name="connsiteX1097" fmla="*/ 2440834 w 8115305"/>
              <a:gd name="connsiteY1097" fmla="*/ 852813 h 3192694"/>
              <a:gd name="connsiteX1098" fmla="*/ 7340773 w 8115305"/>
              <a:gd name="connsiteY1098" fmla="*/ 851364 h 3192694"/>
              <a:gd name="connsiteX1099" fmla="*/ 7410848 w 8115305"/>
              <a:gd name="connsiteY1099" fmla="*/ 865669 h 3192694"/>
              <a:gd name="connsiteX1100" fmla="*/ 7403968 w 8115305"/>
              <a:gd name="connsiteY1100" fmla="*/ 880155 h 3192694"/>
              <a:gd name="connsiteX1101" fmla="*/ 7333529 w 8115305"/>
              <a:gd name="connsiteY1101" fmla="*/ 864945 h 3192694"/>
              <a:gd name="connsiteX1102" fmla="*/ 7340773 w 8115305"/>
              <a:gd name="connsiteY1102" fmla="*/ 851364 h 3192694"/>
              <a:gd name="connsiteX1103" fmla="*/ 5007767 w 8115305"/>
              <a:gd name="connsiteY1103" fmla="*/ 845750 h 3192694"/>
              <a:gd name="connsiteX1104" fmla="*/ 5116414 w 8115305"/>
              <a:gd name="connsiteY1104" fmla="*/ 878888 h 3192694"/>
              <a:gd name="connsiteX1105" fmla="*/ 5050140 w 8115305"/>
              <a:gd name="connsiteY1105" fmla="*/ 912025 h 3192694"/>
              <a:gd name="connsiteX1106" fmla="*/ 4943303 w 8115305"/>
              <a:gd name="connsiteY1106" fmla="*/ 878344 h 3192694"/>
              <a:gd name="connsiteX1107" fmla="*/ 5007767 w 8115305"/>
              <a:gd name="connsiteY1107" fmla="*/ 845750 h 3192694"/>
              <a:gd name="connsiteX1108" fmla="*/ 2222634 w 8115305"/>
              <a:gd name="connsiteY1108" fmla="*/ 844482 h 3192694"/>
              <a:gd name="connsiteX1109" fmla="*/ 2258851 w 8115305"/>
              <a:gd name="connsiteY1109" fmla="*/ 872549 h 3192694"/>
              <a:gd name="connsiteX1110" fmla="*/ 2150203 w 8115305"/>
              <a:gd name="connsiteY1110" fmla="*/ 900254 h 3192694"/>
              <a:gd name="connsiteX1111" fmla="*/ 2113987 w 8115305"/>
              <a:gd name="connsiteY1111" fmla="*/ 871101 h 3192694"/>
              <a:gd name="connsiteX1112" fmla="*/ 2222634 w 8115305"/>
              <a:gd name="connsiteY1112" fmla="*/ 844482 h 3192694"/>
              <a:gd name="connsiteX1113" fmla="*/ 7091973 w 8115305"/>
              <a:gd name="connsiteY1113" fmla="*/ 842853 h 3192694"/>
              <a:gd name="connsiteX1114" fmla="*/ 7171103 w 8115305"/>
              <a:gd name="connsiteY1114" fmla="*/ 859151 h 3192694"/>
              <a:gd name="connsiteX1115" fmla="*/ 7163860 w 8115305"/>
              <a:gd name="connsiteY1115" fmla="*/ 875991 h 3192694"/>
              <a:gd name="connsiteX1116" fmla="*/ 7083823 w 8115305"/>
              <a:gd name="connsiteY1116" fmla="*/ 859331 h 3192694"/>
              <a:gd name="connsiteX1117" fmla="*/ 7091973 w 8115305"/>
              <a:gd name="connsiteY1117" fmla="*/ 842853 h 3192694"/>
              <a:gd name="connsiteX1118" fmla="*/ 1998276 w 8115305"/>
              <a:gd name="connsiteY1118" fmla="*/ 840499 h 3192694"/>
              <a:gd name="connsiteX1119" fmla="*/ 2030509 w 8115305"/>
              <a:gd name="connsiteY1119" fmla="*/ 865306 h 3192694"/>
              <a:gd name="connsiteX1120" fmla="*/ 1925120 w 8115305"/>
              <a:gd name="connsiteY1120" fmla="*/ 891381 h 3192694"/>
              <a:gd name="connsiteX1121" fmla="*/ 1895063 w 8115305"/>
              <a:gd name="connsiteY1121" fmla="*/ 866394 h 3192694"/>
              <a:gd name="connsiteX1122" fmla="*/ 1998276 w 8115305"/>
              <a:gd name="connsiteY1122" fmla="*/ 840499 h 3192694"/>
              <a:gd name="connsiteX1123" fmla="*/ 4774180 w 8115305"/>
              <a:gd name="connsiteY1123" fmla="*/ 835066 h 3192694"/>
              <a:gd name="connsiteX1124" fmla="*/ 4881015 w 8115305"/>
              <a:gd name="connsiteY1124" fmla="*/ 869471 h 3192694"/>
              <a:gd name="connsiteX1125" fmla="*/ 4808584 w 8115305"/>
              <a:gd name="connsiteY1125" fmla="*/ 904056 h 3192694"/>
              <a:gd name="connsiteX1126" fmla="*/ 4699937 w 8115305"/>
              <a:gd name="connsiteY1126" fmla="*/ 869108 h 3192694"/>
              <a:gd name="connsiteX1127" fmla="*/ 4774180 w 8115305"/>
              <a:gd name="connsiteY1127" fmla="*/ 835066 h 3192694"/>
              <a:gd name="connsiteX1128" fmla="*/ 1783518 w 8115305"/>
              <a:gd name="connsiteY1128" fmla="*/ 833256 h 3192694"/>
              <a:gd name="connsiteX1129" fmla="*/ 1810138 w 8115305"/>
              <a:gd name="connsiteY1129" fmla="*/ 856253 h 3192694"/>
              <a:gd name="connsiteX1130" fmla="*/ 1708555 w 8115305"/>
              <a:gd name="connsiteY1130" fmla="*/ 880336 h 3192694"/>
              <a:gd name="connsiteX1131" fmla="*/ 1683202 w 8115305"/>
              <a:gd name="connsiteY1131" fmla="*/ 856434 h 3192694"/>
              <a:gd name="connsiteX1132" fmla="*/ 1783518 w 8115305"/>
              <a:gd name="connsiteY1132" fmla="*/ 833256 h 3192694"/>
              <a:gd name="connsiteX1133" fmla="*/ 6840273 w 8115305"/>
              <a:gd name="connsiteY1133" fmla="*/ 831263 h 3192694"/>
              <a:gd name="connsiteX1134" fmla="*/ 6929182 w 8115305"/>
              <a:gd name="connsiteY1134" fmla="*/ 850276 h 3192694"/>
              <a:gd name="connsiteX1135" fmla="*/ 6914334 w 8115305"/>
              <a:gd name="connsiteY1135" fmla="*/ 868383 h 3192694"/>
              <a:gd name="connsiteX1136" fmla="*/ 6827959 w 8115305"/>
              <a:gd name="connsiteY1136" fmla="*/ 850276 h 3192694"/>
              <a:gd name="connsiteX1137" fmla="*/ 6840273 w 8115305"/>
              <a:gd name="connsiteY1137" fmla="*/ 831263 h 3192694"/>
              <a:gd name="connsiteX1138" fmla="*/ 1565685 w 8115305"/>
              <a:gd name="connsiteY1138" fmla="*/ 828730 h 3192694"/>
              <a:gd name="connsiteX1139" fmla="*/ 1583792 w 8115305"/>
              <a:gd name="connsiteY1139" fmla="*/ 850278 h 3192694"/>
              <a:gd name="connsiteX1140" fmla="*/ 1487641 w 8115305"/>
              <a:gd name="connsiteY1140" fmla="*/ 871827 h 3192694"/>
              <a:gd name="connsiteX1141" fmla="*/ 1470619 w 8115305"/>
              <a:gd name="connsiteY1141" fmla="*/ 849554 h 3192694"/>
              <a:gd name="connsiteX1142" fmla="*/ 1565685 w 8115305"/>
              <a:gd name="connsiteY1142" fmla="*/ 828730 h 3192694"/>
              <a:gd name="connsiteX1143" fmla="*/ 4533527 w 8115305"/>
              <a:gd name="connsiteY1143" fmla="*/ 828547 h 3192694"/>
              <a:gd name="connsiteX1144" fmla="*/ 4638190 w 8115305"/>
              <a:gd name="connsiteY1144" fmla="*/ 861865 h 3192694"/>
              <a:gd name="connsiteX1145" fmla="*/ 4561050 w 8115305"/>
              <a:gd name="connsiteY1145" fmla="*/ 898081 h 3192694"/>
              <a:gd name="connsiteX1146" fmla="*/ 4455845 w 8115305"/>
              <a:gd name="connsiteY1146" fmla="*/ 863133 h 3192694"/>
              <a:gd name="connsiteX1147" fmla="*/ 4533527 w 8115305"/>
              <a:gd name="connsiteY1147" fmla="*/ 828547 h 3192694"/>
              <a:gd name="connsiteX1148" fmla="*/ 6597269 w 8115305"/>
              <a:gd name="connsiteY1148" fmla="*/ 822753 h 3192694"/>
              <a:gd name="connsiteX1149" fmla="*/ 6692878 w 8115305"/>
              <a:gd name="connsiteY1149" fmla="*/ 843033 h 3192694"/>
              <a:gd name="connsiteX1150" fmla="*/ 6676036 w 8115305"/>
              <a:gd name="connsiteY1150" fmla="*/ 865487 h 3192694"/>
              <a:gd name="connsiteX1151" fmla="*/ 6579703 w 8115305"/>
              <a:gd name="connsiteY1151" fmla="*/ 843758 h 3192694"/>
              <a:gd name="connsiteX1152" fmla="*/ 6597269 w 8115305"/>
              <a:gd name="connsiteY1152" fmla="*/ 822753 h 3192694"/>
              <a:gd name="connsiteX1153" fmla="*/ 1353279 w 8115305"/>
              <a:gd name="connsiteY1153" fmla="*/ 822392 h 3192694"/>
              <a:gd name="connsiteX1154" fmla="*/ 1366860 w 8115305"/>
              <a:gd name="connsiteY1154" fmla="*/ 840499 h 3192694"/>
              <a:gd name="connsiteX1155" fmla="*/ 1279037 w 8115305"/>
              <a:gd name="connsiteY1155" fmla="*/ 859693 h 3192694"/>
              <a:gd name="connsiteX1156" fmla="*/ 1266000 w 8115305"/>
              <a:gd name="connsiteY1156" fmla="*/ 840499 h 3192694"/>
              <a:gd name="connsiteX1157" fmla="*/ 1353279 w 8115305"/>
              <a:gd name="connsiteY1157" fmla="*/ 822392 h 3192694"/>
              <a:gd name="connsiteX1158" fmla="*/ 4305549 w 8115305"/>
              <a:gd name="connsiteY1158" fmla="*/ 819312 h 3192694"/>
              <a:gd name="connsiteX1159" fmla="*/ 4405504 w 8115305"/>
              <a:gd name="connsiteY1159" fmla="*/ 853174 h 3192694"/>
              <a:gd name="connsiteX1160" fmla="*/ 4322389 w 8115305"/>
              <a:gd name="connsiteY1160" fmla="*/ 889389 h 3192694"/>
              <a:gd name="connsiteX1161" fmla="*/ 4222073 w 8115305"/>
              <a:gd name="connsiteY1161" fmla="*/ 853174 h 3192694"/>
              <a:gd name="connsiteX1162" fmla="*/ 4305549 w 8115305"/>
              <a:gd name="connsiteY1162" fmla="*/ 819312 h 3192694"/>
              <a:gd name="connsiteX1163" fmla="*/ 1123676 w 8115305"/>
              <a:gd name="connsiteY1163" fmla="*/ 818045 h 3192694"/>
              <a:gd name="connsiteX1164" fmla="*/ 1138701 w 8115305"/>
              <a:gd name="connsiteY1164" fmla="*/ 834160 h 3192694"/>
              <a:gd name="connsiteX1165" fmla="*/ 1060296 w 8115305"/>
              <a:gd name="connsiteY1165" fmla="*/ 851363 h 3192694"/>
              <a:gd name="connsiteX1166" fmla="*/ 1045812 w 8115305"/>
              <a:gd name="connsiteY1166" fmla="*/ 835065 h 3192694"/>
              <a:gd name="connsiteX1167" fmla="*/ 1123676 w 8115305"/>
              <a:gd name="connsiteY1167" fmla="*/ 818045 h 3192694"/>
              <a:gd name="connsiteX1168" fmla="*/ 4078477 w 8115305"/>
              <a:gd name="connsiteY1168" fmla="*/ 813337 h 3192694"/>
              <a:gd name="connsiteX1169" fmla="*/ 4174810 w 8115305"/>
              <a:gd name="connsiteY1169" fmla="*/ 846111 h 3192694"/>
              <a:gd name="connsiteX1170" fmla="*/ 4084271 w 8115305"/>
              <a:gd name="connsiteY1170" fmla="*/ 882327 h 3192694"/>
              <a:gd name="connsiteX1171" fmla="*/ 3990474 w 8115305"/>
              <a:gd name="connsiteY1171" fmla="*/ 847018 h 3192694"/>
              <a:gd name="connsiteX1172" fmla="*/ 4078477 w 8115305"/>
              <a:gd name="connsiteY1172" fmla="*/ 813337 h 3192694"/>
              <a:gd name="connsiteX1173" fmla="*/ 916521 w 8115305"/>
              <a:gd name="connsiteY1173" fmla="*/ 811526 h 3192694"/>
              <a:gd name="connsiteX1174" fmla="*/ 925573 w 8115305"/>
              <a:gd name="connsiteY1174" fmla="*/ 825288 h 3192694"/>
              <a:gd name="connsiteX1175" fmla="*/ 853140 w 8115305"/>
              <a:gd name="connsiteY1175" fmla="*/ 840136 h 3192694"/>
              <a:gd name="connsiteX1176" fmla="*/ 845358 w 8115305"/>
              <a:gd name="connsiteY1176" fmla="*/ 826013 h 3192694"/>
              <a:gd name="connsiteX1177" fmla="*/ 916521 w 8115305"/>
              <a:gd name="connsiteY1177" fmla="*/ 811526 h 3192694"/>
              <a:gd name="connsiteX1178" fmla="*/ 6347924 w 8115305"/>
              <a:gd name="connsiteY1178" fmla="*/ 811344 h 3192694"/>
              <a:gd name="connsiteX1179" fmla="*/ 6448784 w 8115305"/>
              <a:gd name="connsiteY1179" fmla="*/ 834705 h 3192694"/>
              <a:gd name="connsiteX1180" fmla="*/ 6423614 w 8115305"/>
              <a:gd name="connsiteY1180" fmla="*/ 858788 h 3192694"/>
              <a:gd name="connsiteX1181" fmla="*/ 6321486 w 8115305"/>
              <a:gd name="connsiteY1181" fmla="*/ 834705 h 3192694"/>
              <a:gd name="connsiteX1182" fmla="*/ 6347924 w 8115305"/>
              <a:gd name="connsiteY1182" fmla="*/ 811344 h 3192694"/>
              <a:gd name="connsiteX1183" fmla="*/ 702302 w 8115305"/>
              <a:gd name="connsiteY1183" fmla="*/ 808447 h 3192694"/>
              <a:gd name="connsiteX1184" fmla="*/ 706466 w 8115305"/>
              <a:gd name="connsiteY1184" fmla="*/ 819492 h 3192694"/>
              <a:gd name="connsiteX1185" fmla="*/ 648702 w 8115305"/>
              <a:gd name="connsiteY1185" fmla="*/ 831264 h 3192694"/>
              <a:gd name="connsiteX1186" fmla="*/ 644719 w 8115305"/>
              <a:gd name="connsiteY1186" fmla="*/ 819311 h 3192694"/>
              <a:gd name="connsiteX1187" fmla="*/ 702302 w 8115305"/>
              <a:gd name="connsiteY1187" fmla="*/ 808447 h 3192694"/>
              <a:gd name="connsiteX1188" fmla="*/ 6112704 w 8115305"/>
              <a:gd name="connsiteY1188" fmla="*/ 804464 h 3192694"/>
              <a:gd name="connsiteX1189" fmla="*/ 6215375 w 8115305"/>
              <a:gd name="connsiteY1189" fmla="*/ 828367 h 3192694"/>
              <a:gd name="connsiteX1190" fmla="*/ 6188937 w 8115305"/>
              <a:gd name="connsiteY1190" fmla="*/ 853717 h 3192694"/>
              <a:gd name="connsiteX1191" fmla="*/ 6081739 w 8115305"/>
              <a:gd name="connsiteY1191" fmla="*/ 828186 h 3192694"/>
              <a:gd name="connsiteX1192" fmla="*/ 6112704 w 8115305"/>
              <a:gd name="connsiteY1192" fmla="*/ 804464 h 3192694"/>
              <a:gd name="connsiteX1193" fmla="*/ 3861547 w 8115305"/>
              <a:gd name="connsiteY1193" fmla="*/ 803560 h 3192694"/>
              <a:gd name="connsiteX1194" fmla="*/ 3947559 w 8115305"/>
              <a:gd name="connsiteY1194" fmla="*/ 838146 h 3192694"/>
              <a:gd name="connsiteX1195" fmla="*/ 3849958 w 8115305"/>
              <a:gd name="connsiteY1195" fmla="*/ 872732 h 3192694"/>
              <a:gd name="connsiteX1196" fmla="*/ 3764309 w 8115305"/>
              <a:gd name="connsiteY1196" fmla="*/ 836516 h 3192694"/>
              <a:gd name="connsiteX1197" fmla="*/ 3861547 w 8115305"/>
              <a:gd name="connsiteY1197" fmla="*/ 803560 h 3192694"/>
              <a:gd name="connsiteX1198" fmla="*/ 496585 w 8115305"/>
              <a:gd name="connsiteY1198" fmla="*/ 802472 h 3192694"/>
              <a:gd name="connsiteX1199" fmla="*/ 496765 w 8115305"/>
              <a:gd name="connsiteY1199" fmla="*/ 810802 h 3192694"/>
              <a:gd name="connsiteX1200" fmla="*/ 452221 w 8115305"/>
              <a:gd name="connsiteY1200" fmla="*/ 819494 h 3192694"/>
              <a:gd name="connsiteX1201" fmla="*/ 452221 w 8115305"/>
              <a:gd name="connsiteY1201" fmla="*/ 810439 h 3192694"/>
              <a:gd name="connsiteX1202" fmla="*/ 496585 w 8115305"/>
              <a:gd name="connsiteY1202" fmla="*/ 802472 h 3192694"/>
              <a:gd name="connsiteX1203" fmla="*/ 3638642 w 8115305"/>
              <a:gd name="connsiteY1203" fmla="*/ 798851 h 3192694"/>
              <a:gd name="connsiteX1204" fmla="*/ 3720850 w 8115305"/>
              <a:gd name="connsiteY1204" fmla="*/ 831625 h 3192694"/>
              <a:gd name="connsiteX1205" fmla="*/ 3619266 w 8115305"/>
              <a:gd name="connsiteY1205" fmla="*/ 866212 h 3192694"/>
              <a:gd name="connsiteX1206" fmla="*/ 3539229 w 8115305"/>
              <a:gd name="connsiteY1206" fmla="*/ 833256 h 3192694"/>
              <a:gd name="connsiteX1207" fmla="*/ 3638642 w 8115305"/>
              <a:gd name="connsiteY1207" fmla="*/ 798851 h 3192694"/>
              <a:gd name="connsiteX1208" fmla="*/ 5875674 w 8115305"/>
              <a:gd name="connsiteY1208" fmla="*/ 793599 h 3192694"/>
              <a:gd name="connsiteX1209" fmla="*/ 5984321 w 8115305"/>
              <a:gd name="connsiteY1209" fmla="*/ 820399 h 3192694"/>
              <a:gd name="connsiteX1210" fmla="*/ 5948105 w 8115305"/>
              <a:gd name="connsiteY1210" fmla="*/ 846838 h 3192694"/>
              <a:gd name="connsiteX1211" fmla="*/ 5838010 w 8115305"/>
              <a:gd name="connsiteY1211" fmla="*/ 819131 h 3192694"/>
              <a:gd name="connsiteX1212" fmla="*/ 5875674 w 8115305"/>
              <a:gd name="connsiteY1212" fmla="*/ 793599 h 3192694"/>
              <a:gd name="connsiteX1213" fmla="*/ 3422434 w 8115305"/>
              <a:gd name="connsiteY1213" fmla="*/ 790703 h 3192694"/>
              <a:gd name="connsiteX1214" fmla="*/ 3497038 w 8115305"/>
              <a:gd name="connsiteY1214" fmla="*/ 822392 h 3192694"/>
              <a:gd name="connsiteX1215" fmla="*/ 3390565 w 8115305"/>
              <a:gd name="connsiteY1215" fmla="*/ 856435 h 3192694"/>
              <a:gd name="connsiteX1216" fmla="*/ 3318133 w 8115305"/>
              <a:gd name="connsiteY1216" fmla="*/ 822392 h 3192694"/>
              <a:gd name="connsiteX1217" fmla="*/ 3422434 w 8115305"/>
              <a:gd name="connsiteY1217" fmla="*/ 790703 h 3192694"/>
              <a:gd name="connsiteX1218" fmla="*/ 7655848 w 8115305"/>
              <a:gd name="connsiteY1218" fmla="*/ 788529 h 3192694"/>
              <a:gd name="connsiteX1219" fmla="*/ 7700392 w 8115305"/>
              <a:gd name="connsiteY1219" fmla="*/ 797038 h 3192694"/>
              <a:gd name="connsiteX1220" fmla="*/ 7700392 w 8115305"/>
              <a:gd name="connsiteY1220" fmla="*/ 805369 h 3192694"/>
              <a:gd name="connsiteX1221" fmla="*/ 7651863 w 8115305"/>
              <a:gd name="connsiteY1221" fmla="*/ 796133 h 3192694"/>
              <a:gd name="connsiteX1222" fmla="*/ 7655848 w 8115305"/>
              <a:gd name="connsiteY1222" fmla="*/ 788529 h 3192694"/>
              <a:gd name="connsiteX1223" fmla="*/ 5648240 w 8115305"/>
              <a:gd name="connsiteY1223" fmla="*/ 785994 h 3192694"/>
              <a:gd name="connsiteX1224" fmla="*/ 5757069 w 8115305"/>
              <a:gd name="connsiteY1224" fmla="*/ 813881 h 3192694"/>
              <a:gd name="connsiteX1225" fmla="*/ 5711980 w 8115305"/>
              <a:gd name="connsiteY1225" fmla="*/ 842853 h 3192694"/>
              <a:gd name="connsiteX1226" fmla="*/ 5601885 w 8115305"/>
              <a:gd name="connsiteY1226" fmla="*/ 813881 h 3192694"/>
              <a:gd name="connsiteX1227" fmla="*/ 5648240 w 8115305"/>
              <a:gd name="connsiteY1227" fmla="*/ 785994 h 3192694"/>
              <a:gd name="connsiteX1228" fmla="*/ 3199709 w 8115305"/>
              <a:gd name="connsiteY1228" fmla="*/ 785451 h 3192694"/>
              <a:gd name="connsiteX1229" fmla="*/ 3265983 w 8115305"/>
              <a:gd name="connsiteY1229" fmla="*/ 816777 h 3192694"/>
              <a:gd name="connsiteX1230" fmla="*/ 3155887 w 8115305"/>
              <a:gd name="connsiteY1230" fmla="*/ 849732 h 3192694"/>
              <a:gd name="connsiteX1231" fmla="*/ 3091063 w 8115305"/>
              <a:gd name="connsiteY1231" fmla="*/ 816777 h 3192694"/>
              <a:gd name="connsiteX1232" fmla="*/ 3199709 w 8115305"/>
              <a:gd name="connsiteY1232" fmla="*/ 785451 h 3192694"/>
              <a:gd name="connsiteX1233" fmla="*/ 2988210 w 8115305"/>
              <a:gd name="connsiteY1233" fmla="*/ 777665 h 3192694"/>
              <a:gd name="connsiteX1234" fmla="*/ 3044887 w 8115305"/>
              <a:gd name="connsiteY1234" fmla="*/ 809898 h 3192694"/>
              <a:gd name="connsiteX1235" fmla="*/ 2933162 w 8115305"/>
              <a:gd name="connsiteY1235" fmla="*/ 839775 h 3192694"/>
              <a:gd name="connsiteX1236" fmla="*/ 2877933 w 8115305"/>
              <a:gd name="connsiteY1236" fmla="*/ 806276 h 3192694"/>
              <a:gd name="connsiteX1237" fmla="*/ 2988210 w 8115305"/>
              <a:gd name="connsiteY1237" fmla="*/ 777665 h 3192694"/>
              <a:gd name="connsiteX1238" fmla="*/ 7405780 w 8115305"/>
              <a:gd name="connsiteY1238" fmla="*/ 776941 h 3192694"/>
              <a:gd name="connsiteX1239" fmla="*/ 7466259 w 8115305"/>
              <a:gd name="connsiteY1239" fmla="*/ 788168 h 3192694"/>
              <a:gd name="connsiteX1240" fmla="*/ 7464810 w 8115305"/>
              <a:gd name="connsiteY1240" fmla="*/ 799214 h 3192694"/>
              <a:gd name="connsiteX1241" fmla="*/ 7403788 w 8115305"/>
              <a:gd name="connsiteY1241" fmla="*/ 787986 h 3192694"/>
              <a:gd name="connsiteX1242" fmla="*/ 7405780 w 8115305"/>
              <a:gd name="connsiteY1242" fmla="*/ 776941 h 3192694"/>
              <a:gd name="connsiteX1243" fmla="*/ 5419178 w 8115305"/>
              <a:gd name="connsiteY1243" fmla="*/ 776758 h 3192694"/>
              <a:gd name="connsiteX1244" fmla="*/ 5527824 w 8115305"/>
              <a:gd name="connsiteY1244" fmla="*/ 805731 h 3192694"/>
              <a:gd name="connsiteX1245" fmla="*/ 5476398 w 8115305"/>
              <a:gd name="connsiteY1245" fmla="*/ 834886 h 3192694"/>
              <a:gd name="connsiteX1246" fmla="*/ 5367752 w 8115305"/>
              <a:gd name="connsiteY1246" fmla="*/ 804645 h 3192694"/>
              <a:gd name="connsiteX1247" fmla="*/ 5419178 w 8115305"/>
              <a:gd name="connsiteY1247" fmla="*/ 776758 h 3192694"/>
              <a:gd name="connsiteX1248" fmla="*/ 2773653 w 8115305"/>
              <a:gd name="connsiteY1248" fmla="*/ 773863 h 3192694"/>
              <a:gd name="connsiteX1249" fmla="*/ 2823813 w 8115305"/>
              <a:gd name="connsiteY1249" fmla="*/ 802835 h 3192694"/>
              <a:gd name="connsiteX1250" fmla="*/ 2715346 w 8115305"/>
              <a:gd name="connsiteY1250" fmla="*/ 831988 h 3192694"/>
              <a:gd name="connsiteX1251" fmla="*/ 2663923 w 8115305"/>
              <a:gd name="connsiteY1251" fmla="*/ 802472 h 3192694"/>
              <a:gd name="connsiteX1252" fmla="*/ 2773653 w 8115305"/>
              <a:gd name="connsiteY1252" fmla="*/ 773863 h 3192694"/>
              <a:gd name="connsiteX1253" fmla="*/ 5187217 w 8115305"/>
              <a:gd name="connsiteY1253" fmla="*/ 769336 h 3192694"/>
              <a:gd name="connsiteX1254" fmla="*/ 5295864 w 8115305"/>
              <a:gd name="connsiteY1254" fmla="*/ 798850 h 3192694"/>
              <a:gd name="connsiteX1255" fmla="*/ 5239729 w 8115305"/>
              <a:gd name="connsiteY1255" fmla="*/ 830903 h 3192694"/>
              <a:gd name="connsiteX1256" fmla="*/ 5126917 w 8115305"/>
              <a:gd name="connsiteY1256" fmla="*/ 799214 h 3192694"/>
              <a:gd name="connsiteX1257" fmla="*/ 5187217 w 8115305"/>
              <a:gd name="connsiteY1257" fmla="*/ 769336 h 3192694"/>
              <a:gd name="connsiteX1258" fmla="*/ 7169836 w 8115305"/>
              <a:gd name="connsiteY1258" fmla="*/ 768793 h 3192694"/>
              <a:gd name="connsiteX1259" fmla="*/ 7241906 w 8115305"/>
              <a:gd name="connsiteY1259" fmla="*/ 782735 h 3192694"/>
              <a:gd name="connsiteX1260" fmla="*/ 7233575 w 8115305"/>
              <a:gd name="connsiteY1260" fmla="*/ 796497 h 3192694"/>
              <a:gd name="connsiteX1261" fmla="*/ 7161144 w 8115305"/>
              <a:gd name="connsiteY1261" fmla="*/ 781467 h 3192694"/>
              <a:gd name="connsiteX1262" fmla="*/ 7169836 w 8115305"/>
              <a:gd name="connsiteY1262" fmla="*/ 768793 h 3192694"/>
              <a:gd name="connsiteX1263" fmla="*/ 2563240 w 8115305"/>
              <a:gd name="connsiteY1263" fmla="*/ 766257 h 3192694"/>
              <a:gd name="connsiteX1264" fmla="*/ 2609596 w 8115305"/>
              <a:gd name="connsiteY1264" fmla="*/ 793056 h 3192694"/>
              <a:gd name="connsiteX1265" fmla="*/ 2500950 w 8115305"/>
              <a:gd name="connsiteY1265" fmla="*/ 822209 h 3192694"/>
              <a:gd name="connsiteX1266" fmla="*/ 2454593 w 8115305"/>
              <a:gd name="connsiteY1266" fmla="*/ 793600 h 3192694"/>
              <a:gd name="connsiteX1267" fmla="*/ 2563240 w 8115305"/>
              <a:gd name="connsiteY1267" fmla="*/ 766257 h 3192694"/>
              <a:gd name="connsiteX1268" fmla="*/ 2352470 w 8115305"/>
              <a:gd name="connsiteY1268" fmla="*/ 762817 h 3192694"/>
              <a:gd name="connsiteX1269" fmla="*/ 2389949 w 8115305"/>
              <a:gd name="connsiteY1269" fmla="*/ 788529 h 3192694"/>
              <a:gd name="connsiteX1270" fmla="*/ 2284020 w 8115305"/>
              <a:gd name="connsiteY1270" fmla="*/ 815149 h 3192694"/>
              <a:gd name="connsiteX1271" fmla="*/ 2247803 w 8115305"/>
              <a:gd name="connsiteY1271" fmla="*/ 788529 h 3192694"/>
              <a:gd name="connsiteX1272" fmla="*/ 2352470 w 8115305"/>
              <a:gd name="connsiteY1272" fmla="*/ 762817 h 3192694"/>
              <a:gd name="connsiteX1273" fmla="*/ 4962138 w 8115305"/>
              <a:gd name="connsiteY1273" fmla="*/ 760825 h 3192694"/>
              <a:gd name="connsiteX1274" fmla="*/ 5070965 w 8115305"/>
              <a:gd name="connsiteY1274" fmla="*/ 790341 h 3192694"/>
              <a:gd name="connsiteX1275" fmla="*/ 5008313 w 8115305"/>
              <a:gd name="connsiteY1275" fmla="*/ 822754 h 3192694"/>
              <a:gd name="connsiteX1276" fmla="*/ 4898399 w 8115305"/>
              <a:gd name="connsiteY1276" fmla="*/ 791426 h 3192694"/>
              <a:gd name="connsiteX1277" fmla="*/ 4962138 w 8115305"/>
              <a:gd name="connsiteY1277" fmla="*/ 760825 h 3192694"/>
              <a:gd name="connsiteX1278" fmla="*/ 6927011 w 8115305"/>
              <a:gd name="connsiteY1278" fmla="*/ 758108 h 3192694"/>
              <a:gd name="connsiteX1279" fmla="*/ 7005055 w 8115305"/>
              <a:gd name="connsiteY1279" fmla="*/ 774767 h 3192694"/>
              <a:gd name="connsiteX1280" fmla="*/ 6989845 w 8115305"/>
              <a:gd name="connsiteY1280" fmla="*/ 790519 h 3192694"/>
              <a:gd name="connsiteX1281" fmla="*/ 6911076 w 8115305"/>
              <a:gd name="connsiteY1281" fmla="*/ 773499 h 3192694"/>
              <a:gd name="connsiteX1282" fmla="*/ 6927011 w 8115305"/>
              <a:gd name="connsiteY1282" fmla="*/ 758108 h 3192694"/>
              <a:gd name="connsiteX1283" fmla="*/ 2146764 w 8115305"/>
              <a:gd name="connsiteY1283" fmla="*/ 755573 h 3192694"/>
              <a:gd name="connsiteX1284" fmla="*/ 2180621 w 8115305"/>
              <a:gd name="connsiteY1284" fmla="*/ 779294 h 3192694"/>
              <a:gd name="connsiteX1285" fmla="*/ 2074329 w 8115305"/>
              <a:gd name="connsiteY1285" fmla="*/ 804464 h 3192694"/>
              <a:gd name="connsiteX1286" fmla="*/ 2043909 w 8115305"/>
              <a:gd name="connsiteY1286" fmla="*/ 778750 h 3192694"/>
              <a:gd name="connsiteX1287" fmla="*/ 2146764 w 8115305"/>
              <a:gd name="connsiteY1287" fmla="*/ 755573 h 3192694"/>
              <a:gd name="connsiteX1288" fmla="*/ 4745933 w 8115305"/>
              <a:gd name="connsiteY1288" fmla="*/ 754307 h 3192694"/>
              <a:gd name="connsiteX1289" fmla="*/ 4850414 w 8115305"/>
              <a:gd name="connsiteY1289" fmla="*/ 785815 h 3192694"/>
              <a:gd name="connsiteX1290" fmla="*/ 4777983 w 8115305"/>
              <a:gd name="connsiteY1290" fmla="*/ 817685 h 3192694"/>
              <a:gd name="connsiteX1291" fmla="*/ 4673501 w 8115305"/>
              <a:gd name="connsiteY1291" fmla="*/ 784728 h 3192694"/>
              <a:gd name="connsiteX1292" fmla="*/ 4745933 w 8115305"/>
              <a:gd name="connsiteY1292" fmla="*/ 754307 h 3192694"/>
              <a:gd name="connsiteX1293" fmla="*/ 1929469 w 8115305"/>
              <a:gd name="connsiteY1293" fmla="*/ 752314 h 3192694"/>
              <a:gd name="connsiteX1294" fmla="*/ 1958077 w 8115305"/>
              <a:gd name="connsiteY1294" fmla="*/ 773500 h 3192694"/>
              <a:gd name="connsiteX1295" fmla="*/ 1858486 w 8115305"/>
              <a:gd name="connsiteY1295" fmla="*/ 796678 h 3192694"/>
              <a:gd name="connsiteX1296" fmla="*/ 1831326 w 8115305"/>
              <a:gd name="connsiteY1296" fmla="*/ 774768 h 3192694"/>
              <a:gd name="connsiteX1297" fmla="*/ 1929469 w 8115305"/>
              <a:gd name="connsiteY1297" fmla="*/ 752314 h 3192694"/>
              <a:gd name="connsiteX1298" fmla="*/ 6691791 w 8115305"/>
              <a:gd name="connsiteY1298" fmla="*/ 750322 h 3192694"/>
              <a:gd name="connsiteX1299" fmla="*/ 6780338 w 8115305"/>
              <a:gd name="connsiteY1299" fmla="*/ 768429 h 3192694"/>
              <a:gd name="connsiteX1300" fmla="*/ 6765490 w 8115305"/>
              <a:gd name="connsiteY1300" fmla="*/ 787805 h 3192694"/>
              <a:gd name="connsiteX1301" fmla="*/ 6676400 w 8115305"/>
              <a:gd name="connsiteY1301" fmla="*/ 769697 h 3192694"/>
              <a:gd name="connsiteX1302" fmla="*/ 6691791 w 8115305"/>
              <a:gd name="connsiteY1302" fmla="*/ 750322 h 3192694"/>
              <a:gd name="connsiteX1303" fmla="*/ 1722496 w 8115305"/>
              <a:gd name="connsiteY1303" fmla="*/ 748875 h 3192694"/>
              <a:gd name="connsiteX1304" fmla="*/ 1742416 w 8115305"/>
              <a:gd name="connsiteY1304" fmla="*/ 769336 h 3192694"/>
              <a:gd name="connsiteX1305" fmla="*/ 1651877 w 8115305"/>
              <a:gd name="connsiteY1305" fmla="*/ 788892 h 3192694"/>
              <a:gd name="connsiteX1306" fmla="*/ 1633768 w 8115305"/>
              <a:gd name="connsiteY1306" fmla="*/ 767887 h 3192694"/>
              <a:gd name="connsiteX1307" fmla="*/ 1722496 w 8115305"/>
              <a:gd name="connsiteY1307" fmla="*/ 748875 h 3192694"/>
              <a:gd name="connsiteX1308" fmla="*/ 4528456 w 8115305"/>
              <a:gd name="connsiteY1308" fmla="*/ 744891 h 3192694"/>
              <a:gd name="connsiteX1309" fmla="*/ 4631671 w 8115305"/>
              <a:gd name="connsiteY1309" fmla="*/ 777121 h 3192694"/>
              <a:gd name="connsiteX1310" fmla="*/ 4551634 w 8115305"/>
              <a:gd name="connsiteY1310" fmla="*/ 810440 h 3192694"/>
              <a:gd name="connsiteX1311" fmla="*/ 4447877 w 8115305"/>
              <a:gd name="connsiteY1311" fmla="*/ 776580 h 3192694"/>
              <a:gd name="connsiteX1312" fmla="*/ 4528456 w 8115305"/>
              <a:gd name="connsiteY1312" fmla="*/ 744891 h 3192694"/>
              <a:gd name="connsiteX1313" fmla="*/ 6469427 w 8115305"/>
              <a:gd name="connsiteY1313" fmla="*/ 743984 h 3192694"/>
              <a:gd name="connsiteX1314" fmla="*/ 6559966 w 8115305"/>
              <a:gd name="connsiteY1314" fmla="*/ 763540 h 3192694"/>
              <a:gd name="connsiteX1315" fmla="*/ 6540410 w 8115305"/>
              <a:gd name="connsiteY1315" fmla="*/ 783097 h 3192694"/>
              <a:gd name="connsiteX1316" fmla="*/ 6445706 w 8115305"/>
              <a:gd name="connsiteY1316" fmla="*/ 762092 h 3192694"/>
              <a:gd name="connsiteX1317" fmla="*/ 6469427 w 8115305"/>
              <a:gd name="connsiteY1317" fmla="*/ 743984 h 3192694"/>
              <a:gd name="connsiteX1318" fmla="*/ 1522587 w 8115305"/>
              <a:gd name="connsiteY1318" fmla="*/ 742718 h 3192694"/>
              <a:gd name="connsiteX1319" fmla="*/ 1540695 w 8115305"/>
              <a:gd name="connsiteY1319" fmla="*/ 760825 h 3192694"/>
              <a:gd name="connsiteX1320" fmla="*/ 1450156 w 8115305"/>
              <a:gd name="connsiteY1320" fmla="*/ 779838 h 3192694"/>
              <a:gd name="connsiteX1321" fmla="*/ 1436396 w 8115305"/>
              <a:gd name="connsiteY1321" fmla="*/ 760282 h 3192694"/>
              <a:gd name="connsiteX1322" fmla="*/ 1522587 w 8115305"/>
              <a:gd name="connsiteY1322" fmla="*/ 742718 h 3192694"/>
              <a:gd name="connsiteX1323" fmla="*/ 1317606 w 8115305"/>
              <a:gd name="connsiteY1323" fmla="*/ 739096 h 3192694"/>
              <a:gd name="connsiteX1324" fmla="*/ 1329017 w 8115305"/>
              <a:gd name="connsiteY1324" fmla="*/ 755211 h 3192694"/>
              <a:gd name="connsiteX1325" fmla="*/ 1246081 w 8115305"/>
              <a:gd name="connsiteY1325" fmla="*/ 771329 h 3192694"/>
              <a:gd name="connsiteX1326" fmla="*/ 1238838 w 8115305"/>
              <a:gd name="connsiteY1326" fmla="*/ 754306 h 3192694"/>
              <a:gd name="connsiteX1327" fmla="*/ 1317606 w 8115305"/>
              <a:gd name="connsiteY1327" fmla="*/ 739096 h 3192694"/>
              <a:gd name="connsiteX1328" fmla="*/ 4315509 w 8115305"/>
              <a:gd name="connsiteY1328" fmla="*/ 738371 h 3192694"/>
              <a:gd name="connsiteX1329" fmla="*/ 4414015 w 8115305"/>
              <a:gd name="connsiteY1329" fmla="*/ 772414 h 3192694"/>
              <a:gd name="connsiteX1330" fmla="*/ 4323477 w 8115305"/>
              <a:gd name="connsiteY1330" fmla="*/ 805008 h 3192694"/>
              <a:gd name="connsiteX1331" fmla="*/ 4227687 w 8115305"/>
              <a:gd name="connsiteY1331" fmla="*/ 768792 h 3192694"/>
              <a:gd name="connsiteX1332" fmla="*/ 4315509 w 8115305"/>
              <a:gd name="connsiteY1332" fmla="*/ 738371 h 3192694"/>
              <a:gd name="connsiteX1333" fmla="*/ 4103649 w 8115305"/>
              <a:gd name="connsiteY1333" fmla="*/ 733845 h 3192694"/>
              <a:gd name="connsiteX1334" fmla="*/ 4196903 w 8115305"/>
              <a:gd name="connsiteY1334" fmla="*/ 766258 h 3192694"/>
              <a:gd name="connsiteX1335" fmla="*/ 4104735 w 8115305"/>
              <a:gd name="connsiteY1335" fmla="*/ 799576 h 3192694"/>
              <a:gd name="connsiteX1336" fmla="*/ 4011479 w 8115305"/>
              <a:gd name="connsiteY1336" fmla="*/ 765533 h 3192694"/>
              <a:gd name="connsiteX1337" fmla="*/ 4103649 w 8115305"/>
              <a:gd name="connsiteY1337" fmla="*/ 733845 h 3192694"/>
              <a:gd name="connsiteX1338" fmla="*/ 6239639 w 8115305"/>
              <a:gd name="connsiteY1338" fmla="*/ 733844 h 3192694"/>
              <a:gd name="connsiteX1339" fmla="*/ 6335431 w 8115305"/>
              <a:gd name="connsiteY1339" fmla="*/ 754849 h 3192694"/>
              <a:gd name="connsiteX1340" fmla="*/ 6310260 w 8115305"/>
              <a:gd name="connsiteY1340" fmla="*/ 776941 h 3192694"/>
              <a:gd name="connsiteX1341" fmla="*/ 6213383 w 8115305"/>
              <a:gd name="connsiteY1341" fmla="*/ 755392 h 3192694"/>
              <a:gd name="connsiteX1342" fmla="*/ 6239639 w 8115305"/>
              <a:gd name="connsiteY1342" fmla="*/ 733844 h 3192694"/>
              <a:gd name="connsiteX1343" fmla="*/ 1120593 w 8115305"/>
              <a:gd name="connsiteY1343" fmla="*/ 733663 h 3192694"/>
              <a:gd name="connsiteX1344" fmla="*/ 1122223 w 8115305"/>
              <a:gd name="connsiteY1344" fmla="*/ 748873 h 3192694"/>
              <a:gd name="connsiteX1345" fmla="*/ 1053050 w 8115305"/>
              <a:gd name="connsiteY1345" fmla="*/ 760823 h 3192694"/>
              <a:gd name="connsiteX1346" fmla="*/ 1053050 w 8115305"/>
              <a:gd name="connsiteY1346" fmla="*/ 745251 h 3192694"/>
              <a:gd name="connsiteX1347" fmla="*/ 1120593 w 8115305"/>
              <a:gd name="connsiteY1347" fmla="*/ 733663 h 3192694"/>
              <a:gd name="connsiteX1348" fmla="*/ 915432 w 8115305"/>
              <a:gd name="connsiteY1348" fmla="*/ 730585 h 3192694"/>
              <a:gd name="connsiteX1349" fmla="*/ 919416 w 8115305"/>
              <a:gd name="connsiteY1349" fmla="*/ 742174 h 3192694"/>
              <a:gd name="connsiteX1350" fmla="*/ 858573 w 8115305"/>
              <a:gd name="connsiteY1350" fmla="*/ 753219 h 3192694"/>
              <a:gd name="connsiteX1351" fmla="*/ 855313 w 8115305"/>
              <a:gd name="connsiteY1351" fmla="*/ 741993 h 3192694"/>
              <a:gd name="connsiteX1352" fmla="*/ 915432 w 8115305"/>
              <a:gd name="connsiteY1352" fmla="*/ 730585 h 3192694"/>
              <a:gd name="connsiteX1353" fmla="*/ 6019811 w 8115305"/>
              <a:gd name="connsiteY1353" fmla="*/ 726602 h 3192694"/>
              <a:gd name="connsiteX1354" fmla="*/ 6119403 w 8115305"/>
              <a:gd name="connsiteY1354" fmla="*/ 749960 h 3192694"/>
              <a:gd name="connsiteX1355" fmla="*/ 6087353 w 8115305"/>
              <a:gd name="connsiteY1355" fmla="*/ 773682 h 3192694"/>
              <a:gd name="connsiteX1356" fmla="*/ 5983596 w 8115305"/>
              <a:gd name="connsiteY1356" fmla="*/ 748873 h 3192694"/>
              <a:gd name="connsiteX1357" fmla="*/ 6019811 w 8115305"/>
              <a:gd name="connsiteY1357" fmla="*/ 726602 h 3192694"/>
              <a:gd name="connsiteX1358" fmla="*/ 3885993 w 8115305"/>
              <a:gd name="connsiteY1358" fmla="*/ 726239 h 3192694"/>
              <a:gd name="connsiteX1359" fmla="*/ 3973815 w 8115305"/>
              <a:gd name="connsiteY1359" fmla="*/ 757928 h 3192694"/>
              <a:gd name="connsiteX1360" fmla="*/ 3877121 w 8115305"/>
              <a:gd name="connsiteY1360" fmla="*/ 790883 h 3192694"/>
              <a:gd name="connsiteX1361" fmla="*/ 3789660 w 8115305"/>
              <a:gd name="connsiteY1361" fmla="*/ 757565 h 3192694"/>
              <a:gd name="connsiteX1362" fmla="*/ 3885993 w 8115305"/>
              <a:gd name="connsiteY1362" fmla="*/ 726239 h 3192694"/>
              <a:gd name="connsiteX1363" fmla="*/ 708267 w 8115305"/>
              <a:gd name="connsiteY1363" fmla="*/ 726059 h 3192694"/>
              <a:gd name="connsiteX1364" fmla="*/ 712071 w 8115305"/>
              <a:gd name="connsiteY1364" fmla="*/ 734570 h 3192694"/>
              <a:gd name="connsiteX1365" fmla="*/ 667706 w 8115305"/>
              <a:gd name="connsiteY1365" fmla="*/ 742718 h 3192694"/>
              <a:gd name="connsiteX1366" fmla="*/ 664084 w 8115305"/>
              <a:gd name="connsiteY1366" fmla="*/ 734207 h 3192694"/>
              <a:gd name="connsiteX1367" fmla="*/ 708267 w 8115305"/>
              <a:gd name="connsiteY1367" fmla="*/ 726059 h 3192694"/>
              <a:gd name="connsiteX1368" fmla="*/ 3675943 w 8115305"/>
              <a:gd name="connsiteY1368" fmla="*/ 721168 h 3192694"/>
              <a:gd name="connsiteX1369" fmla="*/ 3760144 w 8115305"/>
              <a:gd name="connsiteY1369" fmla="*/ 752131 h 3192694"/>
              <a:gd name="connsiteX1370" fmla="*/ 3659104 w 8115305"/>
              <a:gd name="connsiteY1370" fmla="*/ 785269 h 3192694"/>
              <a:gd name="connsiteX1371" fmla="*/ 3577437 w 8115305"/>
              <a:gd name="connsiteY1371" fmla="*/ 751950 h 3192694"/>
              <a:gd name="connsiteX1372" fmla="*/ 3675943 w 8115305"/>
              <a:gd name="connsiteY1372" fmla="*/ 721168 h 3192694"/>
              <a:gd name="connsiteX1373" fmla="*/ 5786947 w 8115305"/>
              <a:gd name="connsiteY1373" fmla="*/ 718633 h 3192694"/>
              <a:gd name="connsiteX1374" fmla="*/ 5891248 w 8115305"/>
              <a:gd name="connsiteY1374" fmla="*/ 742716 h 3192694"/>
              <a:gd name="connsiteX1375" fmla="*/ 5853584 w 8115305"/>
              <a:gd name="connsiteY1375" fmla="*/ 767706 h 3192694"/>
              <a:gd name="connsiteX1376" fmla="*/ 5749101 w 8115305"/>
              <a:gd name="connsiteY1376" fmla="*/ 741992 h 3192694"/>
              <a:gd name="connsiteX1377" fmla="*/ 5786947 w 8115305"/>
              <a:gd name="connsiteY1377" fmla="*/ 718633 h 3192694"/>
              <a:gd name="connsiteX1378" fmla="*/ 3471868 w 8115305"/>
              <a:gd name="connsiteY1378" fmla="*/ 713745 h 3192694"/>
              <a:gd name="connsiteX1379" fmla="*/ 3549008 w 8115305"/>
              <a:gd name="connsiteY1379" fmla="*/ 743985 h 3192694"/>
              <a:gd name="connsiteX1380" fmla="*/ 3446880 w 8115305"/>
              <a:gd name="connsiteY1380" fmla="*/ 776579 h 3192694"/>
              <a:gd name="connsiteX1381" fmla="*/ 3368654 w 8115305"/>
              <a:gd name="connsiteY1381" fmla="*/ 744346 h 3192694"/>
              <a:gd name="connsiteX1382" fmla="*/ 3471868 w 8115305"/>
              <a:gd name="connsiteY1382" fmla="*/ 713745 h 3192694"/>
              <a:gd name="connsiteX1383" fmla="*/ 7470605 w 8115305"/>
              <a:gd name="connsiteY1383" fmla="*/ 713201 h 3192694"/>
              <a:gd name="connsiteX1384" fmla="*/ 7514787 w 8115305"/>
              <a:gd name="connsiteY1384" fmla="*/ 721712 h 3192694"/>
              <a:gd name="connsiteX1385" fmla="*/ 7509717 w 8115305"/>
              <a:gd name="connsiteY1385" fmla="*/ 729136 h 3192694"/>
              <a:gd name="connsiteX1386" fmla="*/ 7465354 w 8115305"/>
              <a:gd name="connsiteY1386" fmla="*/ 720444 h 3192694"/>
              <a:gd name="connsiteX1387" fmla="*/ 7470605 w 8115305"/>
              <a:gd name="connsiteY1387" fmla="*/ 713201 h 3192694"/>
              <a:gd name="connsiteX1388" fmla="*/ 5570196 w 8115305"/>
              <a:gd name="connsiteY1388" fmla="*/ 711029 h 3192694"/>
              <a:gd name="connsiteX1389" fmla="*/ 5677756 w 8115305"/>
              <a:gd name="connsiteY1389" fmla="*/ 736379 h 3192694"/>
              <a:gd name="connsiteX1390" fmla="*/ 5633935 w 8115305"/>
              <a:gd name="connsiteY1390" fmla="*/ 763179 h 3192694"/>
              <a:gd name="connsiteX1391" fmla="*/ 5527644 w 8115305"/>
              <a:gd name="connsiteY1391" fmla="*/ 737284 h 3192694"/>
              <a:gd name="connsiteX1392" fmla="*/ 5570196 w 8115305"/>
              <a:gd name="connsiteY1392" fmla="*/ 711029 h 3192694"/>
              <a:gd name="connsiteX1393" fmla="*/ 3267975 w 8115305"/>
              <a:gd name="connsiteY1393" fmla="*/ 709580 h 3192694"/>
              <a:gd name="connsiteX1394" fmla="*/ 3336785 w 8115305"/>
              <a:gd name="connsiteY1394" fmla="*/ 739096 h 3192694"/>
              <a:gd name="connsiteX1395" fmla="*/ 3232303 w 8115305"/>
              <a:gd name="connsiteY1395" fmla="*/ 770061 h 3192694"/>
              <a:gd name="connsiteX1396" fmla="*/ 3161865 w 8115305"/>
              <a:gd name="connsiteY1396" fmla="*/ 740001 h 3192694"/>
              <a:gd name="connsiteX1397" fmla="*/ 3267975 w 8115305"/>
              <a:gd name="connsiteY1397" fmla="*/ 709580 h 3192694"/>
              <a:gd name="connsiteX1398" fmla="*/ 3068246 w 8115305"/>
              <a:gd name="connsiteY1398" fmla="*/ 703424 h 3192694"/>
              <a:gd name="connsiteX1399" fmla="*/ 3126915 w 8115305"/>
              <a:gd name="connsiteY1399" fmla="*/ 731853 h 3192694"/>
              <a:gd name="connsiteX1400" fmla="*/ 3020984 w 8115305"/>
              <a:gd name="connsiteY1400" fmla="*/ 760645 h 3192694"/>
              <a:gd name="connsiteX1401" fmla="*/ 2961954 w 8115305"/>
              <a:gd name="connsiteY1401" fmla="*/ 730224 h 3192694"/>
              <a:gd name="connsiteX1402" fmla="*/ 3068246 w 8115305"/>
              <a:gd name="connsiteY1402" fmla="*/ 703424 h 3192694"/>
              <a:gd name="connsiteX1403" fmla="*/ 7237377 w 8115305"/>
              <a:gd name="connsiteY1403" fmla="*/ 703061 h 3192694"/>
              <a:gd name="connsiteX1404" fmla="*/ 7292788 w 8115305"/>
              <a:gd name="connsiteY1404" fmla="*/ 713382 h 3192694"/>
              <a:gd name="connsiteX1405" fmla="*/ 7287898 w 8115305"/>
              <a:gd name="connsiteY1405" fmla="*/ 724066 h 3192694"/>
              <a:gd name="connsiteX1406" fmla="*/ 7231946 w 8115305"/>
              <a:gd name="connsiteY1406" fmla="*/ 713745 h 3192694"/>
              <a:gd name="connsiteX1407" fmla="*/ 7237377 w 8115305"/>
              <a:gd name="connsiteY1407" fmla="*/ 703061 h 3192694"/>
              <a:gd name="connsiteX1408" fmla="*/ 5356888 w 8115305"/>
              <a:gd name="connsiteY1408" fmla="*/ 701793 h 3192694"/>
              <a:gd name="connsiteX1409" fmla="*/ 5463361 w 8115305"/>
              <a:gd name="connsiteY1409" fmla="*/ 728593 h 3192694"/>
              <a:gd name="connsiteX1410" fmla="*/ 5411211 w 8115305"/>
              <a:gd name="connsiteY1410" fmla="*/ 757021 h 3192694"/>
              <a:gd name="connsiteX1411" fmla="*/ 5302564 w 8115305"/>
              <a:gd name="connsiteY1411" fmla="*/ 728954 h 3192694"/>
              <a:gd name="connsiteX1412" fmla="*/ 5356888 w 8115305"/>
              <a:gd name="connsiteY1412" fmla="*/ 701793 h 3192694"/>
              <a:gd name="connsiteX1413" fmla="*/ 2863286 w 8115305"/>
              <a:gd name="connsiteY1413" fmla="*/ 699077 h 3192694"/>
              <a:gd name="connsiteX1414" fmla="*/ 2919943 w 8115305"/>
              <a:gd name="connsiteY1414" fmla="*/ 725876 h 3192694"/>
              <a:gd name="connsiteX1415" fmla="*/ 2813128 w 8115305"/>
              <a:gd name="connsiteY1415" fmla="*/ 754668 h 3192694"/>
              <a:gd name="connsiteX1416" fmla="*/ 2757537 w 8115305"/>
              <a:gd name="connsiteY1416" fmla="*/ 726420 h 3192694"/>
              <a:gd name="connsiteX1417" fmla="*/ 2863286 w 8115305"/>
              <a:gd name="connsiteY1417" fmla="*/ 699077 h 3192694"/>
              <a:gd name="connsiteX1418" fmla="*/ 5145750 w 8115305"/>
              <a:gd name="connsiteY1418" fmla="*/ 695999 h 3192694"/>
              <a:gd name="connsiteX1419" fmla="*/ 5251860 w 8115305"/>
              <a:gd name="connsiteY1419" fmla="*/ 724066 h 3192694"/>
              <a:gd name="connsiteX1420" fmla="*/ 5193374 w 8115305"/>
              <a:gd name="connsiteY1420" fmla="*/ 752495 h 3192694"/>
              <a:gd name="connsiteX1421" fmla="*/ 5086356 w 8115305"/>
              <a:gd name="connsiteY1421" fmla="*/ 723342 h 3192694"/>
              <a:gd name="connsiteX1422" fmla="*/ 5145750 w 8115305"/>
              <a:gd name="connsiteY1422" fmla="*/ 695999 h 3192694"/>
              <a:gd name="connsiteX1423" fmla="*/ 7015377 w 8115305"/>
              <a:gd name="connsiteY1423" fmla="*/ 695818 h 3192694"/>
              <a:gd name="connsiteX1424" fmla="*/ 7081289 w 8115305"/>
              <a:gd name="connsiteY1424" fmla="*/ 708673 h 3192694"/>
              <a:gd name="connsiteX1425" fmla="*/ 7075494 w 8115305"/>
              <a:gd name="connsiteY1425" fmla="*/ 721530 h 3192694"/>
              <a:gd name="connsiteX1426" fmla="*/ 7005237 w 8115305"/>
              <a:gd name="connsiteY1426" fmla="*/ 708492 h 3192694"/>
              <a:gd name="connsiteX1427" fmla="*/ 7015377 w 8115305"/>
              <a:gd name="connsiteY1427" fmla="*/ 695818 h 3192694"/>
              <a:gd name="connsiteX1428" fmla="*/ 2657764 w 8115305"/>
              <a:gd name="connsiteY1428" fmla="*/ 693284 h 3192694"/>
              <a:gd name="connsiteX1429" fmla="*/ 2706291 w 8115305"/>
              <a:gd name="connsiteY1429" fmla="*/ 718091 h 3192694"/>
              <a:gd name="connsiteX1430" fmla="*/ 2600002 w 8115305"/>
              <a:gd name="connsiteY1430" fmla="*/ 744890 h 3192694"/>
              <a:gd name="connsiteX1431" fmla="*/ 2555093 w 8115305"/>
              <a:gd name="connsiteY1431" fmla="*/ 718454 h 3192694"/>
              <a:gd name="connsiteX1432" fmla="*/ 2657764 w 8115305"/>
              <a:gd name="connsiteY1432" fmla="*/ 693284 h 3192694"/>
              <a:gd name="connsiteX1433" fmla="*/ 2458216 w 8115305"/>
              <a:gd name="connsiteY1433" fmla="*/ 689299 h 3192694"/>
              <a:gd name="connsiteX1434" fmla="*/ 2501676 w 8115305"/>
              <a:gd name="connsiteY1434" fmla="*/ 713384 h 3192694"/>
              <a:gd name="connsiteX1435" fmla="*/ 2396109 w 8115305"/>
              <a:gd name="connsiteY1435" fmla="*/ 738735 h 3192694"/>
              <a:gd name="connsiteX1436" fmla="*/ 2356453 w 8115305"/>
              <a:gd name="connsiteY1436" fmla="*/ 713021 h 3192694"/>
              <a:gd name="connsiteX1437" fmla="*/ 2458216 w 8115305"/>
              <a:gd name="connsiteY1437" fmla="*/ 689299 h 3192694"/>
              <a:gd name="connsiteX1438" fmla="*/ 4932259 w 8115305"/>
              <a:gd name="connsiteY1438" fmla="*/ 687126 h 3192694"/>
              <a:gd name="connsiteX1439" fmla="*/ 5041268 w 8115305"/>
              <a:gd name="connsiteY1439" fmla="*/ 715916 h 3192694"/>
              <a:gd name="connsiteX1440" fmla="*/ 4975898 w 8115305"/>
              <a:gd name="connsiteY1440" fmla="*/ 746337 h 3192694"/>
              <a:gd name="connsiteX1441" fmla="*/ 4867252 w 8115305"/>
              <a:gd name="connsiteY1441" fmla="*/ 715555 h 3192694"/>
              <a:gd name="connsiteX1442" fmla="*/ 4932259 w 8115305"/>
              <a:gd name="connsiteY1442" fmla="*/ 687126 h 3192694"/>
              <a:gd name="connsiteX1443" fmla="*/ 6787761 w 8115305"/>
              <a:gd name="connsiteY1443" fmla="*/ 686402 h 3192694"/>
              <a:gd name="connsiteX1444" fmla="*/ 6863994 w 8115305"/>
              <a:gd name="connsiteY1444" fmla="*/ 700707 h 3192694"/>
              <a:gd name="connsiteX1445" fmla="*/ 6855666 w 8115305"/>
              <a:gd name="connsiteY1445" fmla="*/ 716279 h 3192694"/>
              <a:gd name="connsiteX1446" fmla="*/ 6775448 w 8115305"/>
              <a:gd name="connsiteY1446" fmla="*/ 700888 h 3192694"/>
              <a:gd name="connsiteX1447" fmla="*/ 6787761 w 8115305"/>
              <a:gd name="connsiteY1447" fmla="*/ 686402 h 3192694"/>
              <a:gd name="connsiteX1448" fmla="*/ 2266272 w 8115305"/>
              <a:gd name="connsiteY1448" fmla="*/ 683505 h 3192694"/>
              <a:gd name="connsiteX1449" fmla="*/ 2297962 w 8115305"/>
              <a:gd name="connsiteY1449" fmla="*/ 706503 h 3192694"/>
              <a:gd name="connsiteX1450" fmla="*/ 2196740 w 8115305"/>
              <a:gd name="connsiteY1450" fmla="*/ 728776 h 3192694"/>
              <a:gd name="connsiteX1451" fmla="*/ 2166319 w 8115305"/>
              <a:gd name="connsiteY1451" fmla="*/ 704873 h 3192694"/>
              <a:gd name="connsiteX1452" fmla="*/ 2266272 w 8115305"/>
              <a:gd name="connsiteY1452" fmla="*/ 683505 h 3192694"/>
              <a:gd name="connsiteX1453" fmla="*/ 4728730 w 8115305"/>
              <a:gd name="connsiteY1453" fmla="*/ 681693 h 3192694"/>
              <a:gd name="connsiteX1454" fmla="*/ 4833030 w 8115305"/>
              <a:gd name="connsiteY1454" fmla="*/ 711570 h 3192694"/>
              <a:gd name="connsiteX1455" fmla="*/ 4758607 w 8115305"/>
              <a:gd name="connsiteY1455" fmla="*/ 742716 h 3192694"/>
              <a:gd name="connsiteX1456" fmla="*/ 4655031 w 8115305"/>
              <a:gd name="connsiteY1456" fmla="*/ 710665 h 3192694"/>
              <a:gd name="connsiteX1457" fmla="*/ 4728730 w 8115305"/>
              <a:gd name="connsiteY1457" fmla="*/ 681693 h 3192694"/>
              <a:gd name="connsiteX1458" fmla="*/ 2068176 w 8115305"/>
              <a:gd name="connsiteY1458" fmla="*/ 680246 h 3192694"/>
              <a:gd name="connsiteX1459" fmla="*/ 2096605 w 8115305"/>
              <a:gd name="connsiteY1459" fmla="*/ 701432 h 3192694"/>
              <a:gd name="connsiteX1460" fmla="*/ 1998641 w 8115305"/>
              <a:gd name="connsiteY1460" fmla="*/ 722800 h 3192694"/>
              <a:gd name="connsiteX1461" fmla="*/ 1971297 w 8115305"/>
              <a:gd name="connsiteY1461" fmla="*/ 700707 h 3192694"/>
              <a:gd name="connsiteX1462" fmla="*/ 2068176 w 8115305"/>
              <a:gd name="connsiteY1462" fmla="*/ 680246 h 3192694"/>
              <a:gd name="connsiteX1463" fmla="*/ 6571012 w 8115305"/>
              <a:gd name="connsiteY1463" fmla="*/ 679521 h 3192694"/>
              <a:gd name="connsiteX1464" fmla="*/ 6656481 w 8115305"/>
              <a:gd name="connsiteY1464" fmla="*/ 696542 h 3192694"/>
              <a:gd name="connsiteX1465" fmla="*/ 6638373 w 8115305"/>
              <a:gd name="connsiteY1465" fmla="*/ 713381 h 3192694"/>
              <a:gd name="connsiteX1466" fmla="*/ 6552904 w 8115305"/>
              <a:gd name="connsiteY1466" fmla="*/ 695274 h 3192694"/>
              <a:gd name="connsiteX1467" fmla="*/ 6571012 w 8115305"/>
              <a:gd name="connsiteY1467" fmla="*/ 679521 h 3192694"/>
              <a:gd name="connsiteX1468" fmla="*/ 1877860 w 8115305"/>
              <a:gd name="connsiteY1468" fmla="*/ 674632 h 3192694"/>
              <a:gd name="connsiteX1469" fmla="*/ 1897780 w 8115305"/>
              <a:gd name="connsiteY1469" fmla="*/ 694730 h 3192694"/>
              <a:gd name="connsiteX1470" fmla="*/ 1804160 w 8115305"/>
              <a:gd name="connsiteY1470" fmla="*/ 712838 h 3192694"/>
              <a:gd name="connsiteX1471" fmla="*/ 1785511 w 8115305"/>
              <a:gd name="connsiteY1471" fmla="*/ 692740 h 3192694"/>
              <a:gd name="connsiteX1472" fmla="*/ 1877860 w 8115305"/>
              <a:gd name="connsiteY1472" fmla="*/ 674632 h 3192694"/>
              <a:gd name="connsiteX1473" fmla="*/ 4516324 w 8115305"/>
              <a:gd name="connsiteY1473" fmla="*/ 674089 h 3192694"/>
              <a:gd name="connsiteX1474" fmla="*/ 4617003 w 8115305"/>
              <a:gd name="connsiteY1474" fmla="*/ 703785 h 3192694"/>
              <a:gd name="connsiteX1475" fmla="*/ 4538235 w 8115305"/>
              <a:gd name="connsiteY1475" fmla="*/ 734570 h 3192694"/>
              <a:gd name="connsiteX1476" fmla="*/ 4437374 w 8115305"/>
              <a:gd name="connsiteY1476" fmla="*/ 703242 h 3192694"/>
              <a:gd name="connsiteX1477" fmla="*/ 4516324 w 8115305"/>
              <a:gd name="connsiteY1477" fmla="*/ 674089 h 3192694"/>
              <a:gd name="connsiteX1478" fmla="*/ 1681572 w 8115305"/>
              <a:gd name="connsiteY1478" fmla="*/ 671916 h 3192694"/>
              <a:gd name="connsiteX1479" fmla="*/ 1698774 w 8115305"/>
              <a:gd name="connsiteY1479" fmla="*/ 688757 h 3192694"/>
              <a:gd name="connsiteX1480" fmla="*/ 1612762 w 8115305"/>
              <a:gd name="connsiteY1480" fmla="*/ 706502 h 3192694"/>
              <a:gd name="connsiteX1481" fmla="*/ 1595922 w 8115305"/>
              <a:gd name="connsiteY1481" fmla="*/ 688394 h 3192694"/>
              <a:gd name="connsiteX1482" fmla="*/ 1681572 w 8115305"/>
              <a:gd name="connsiteY1482" fmla="*/ 671916 h 3192694"/>
              <a:gd name="connsiteX1483" fmla="*/ 6346656 w 8115305"/>
              <a:gd name="connsiteY1483" fmla="*/ 670287 h 3192694"/>
              <a:gd name="connsiteX1484" fmla="*/ 6438282 w 8115305"/>
              <a:gd name="connsiteY1484" fmla="*/ 690024 h 3192694"/>
              <a:gd name="connsiteX1485" fmla="*/ 6413836 w 8115305"/>
              <a:gd name="connsiteY1485" fmla="*/ 708132 h 3192694"/>
              <a:gd name="connsiteX1486" fmla="*/ 6321124 w 8115305"/>
              <a:gd name="connsiteY1486" fmla="*/ 688395 h 3192694"/>
              <a:gd name="connsiteX1487" fmla="*/ 6346656 w 8115305"/>
              <a:gd name="connsiteY1487" fmla="*/ 670287 h 3192694"/>
              <a:gd name="connsiteX1488" fmla="*/ 4312068 w 8115305"/>
              <a:gd name="connsiteY1488" fmla="*/ 668476 h 3192694"/>
              <a:gd name="connsiteX1489" fmla="*/ 4412567 w 8115305"/>
              <a:gd name="connsiteY1489" fmla="*/ 698715 h 3192694"/>
              <a:gd name="connsiteX1490" fmla="*/ 4329090 w 8115305"/>
              <a:gd name="connsiteY1490" fmla="*/ 730404 h 3192694"/>
              <a:gd name="connsiteX1491" fmla="*/ 4228411 w 8115305"/>
              <a:gd name="connsiteY1491" fmla="*/ 699802 h 3192694"/>
              <a:gd name="connsiteX1492" fmla="*/ 4312068 w 8115305"/>
              <a:gd name="connsiteY1492" fmla="*/ 668476 h 3192694"/>
              <a:gd name="connsiteX1493" fmla="*/ 1483293 w 8115305"/>
              <a:gd name="connsiteY1493" fmla="*/ 666845 h 3192694"/>
              <a:gd name="connsiteX1494" fmla="*/ 1496693 w 8115305"/>
              <a:gd name="connsiteY1494" fmla="*/ 681693 h 3192694"/>
              <a:gd name="connsiteX1495" fmla="*/ 1420279 w 8115305"/>
              <a:gd name="connsiteY1495" fmla="*/ 696904 h 3192694"/>
              <a:gd name="connsiteX1496" fmla="*/ 1407239 w 8115305"/>
              <a:gd name="connsiteY1496" fmla="*/ 680969 h 3192694"/>
              <a:gd name="connsiteX1497" fmla="*/ 1483293 w 8115305"/>
              <a:gd name="connsiteY1497" fmla="*/ 666845 h 3192694"/>
              <a:gd name="connsiteX1498" fmla="*/ 6135701 w 8115305"/>
              <a:gd name="connsiteY1498" fmla="*/ 665035 h 3192694"/>
              <a:gd name="connsiteX1499" fmla="*/ 6230042 w 8115305"/>
              <a:gd name="connsiteY1499" fmla="*/ 685496 h 3192694"/>
              <a:gd name="connsiteX1500" fmla="*/ 6201794 w 8115305"/>
              <a:gd name="connsiteY1500" fmla="*/ 704328 h 3192694"/>
              <a:gd name="connsiteX1501" fmla="*/ 6106548 w 8115305"/>
              <a:gd name="connsiteY1501" fmla="*/ 683143 h 3192694"/>
              <a:gd name="connsiteX1502" fmla="*/ 6135701 w 8115305"/>
              <a:gd name="connsiteY1502" fmla="*/ 665035 h 3192694"/>
              <a:gd name="connsiteX1503" fmla="*/ 1288453 w 8115305"/>
              <a:gd name="connsiteY1503" fmla="*/ 663585 h 3192694"/>
              <a:gd name="connsiteX1504" fmla="*/ 1300947 w 8115305"/>
              <a:gd name="connsiteY1504" fmla="*/ 676803 h 3192694"/>
              <a:gd name="connsiteX1505" fmla="*/ 1232682 w 8115305"/>
              <a:gd name="connsiteY1505" fmla="*/ 690384 h 3192694"/>
              <a:gd name="connsiteX1506" fmla="*/ 1217471 w 8115305"/>
              <a:gd name="connsiteY1506" fmla="*/ 677709 h 3192694"/>
              <a:gd name="connsiteX1507" fmla="*/ 1288453 w 8115305"/>
              <a:gd name="connsiteY1507" fmla="*/ 663585 h 3192694"/>
              <a:gd name="connsiteX1508" fmla="*/ 4113787 w 8115305"/>
              <a:gd name="connsiteY1508" fmla="*/ 661051 h 3192694"/>
              <a:gd name="connsiteX1509" fmla="*/ 4208128 w 8115305"/>
              <a:gd name="connsiteY1509" fmla="*/ 691472 h 3192694"/>
              <a:gd name="connsiteX1510" fmla="*/ 4116323 w 8115305"/>
              <a:gd name="connsiteY1510" fmla="*/ 723161 h 3192694"/>
              <a:gd name="connsiteX1511" fmla="*/ 4021981 w 8115305"/>
              <a:gd name="connsiteY1511" fmla="*/ 691109 h 3192694"/>
              <a:gd name="connsiteX1512" fmla="*/ 4113787 w 8115305"/>
              <a:gd name="connsiteY1512" fmla="*/ 661051 h 3192694"/>
              <a:gd name="connsiteX1513" fmla="*/ 1101760 w 8115305"/>
              <a:gd name="connsiteY1513" fmla="*/ 658517 h 3192694"/>
              <a:gd name="connsiteX1514" fmla="*/ 1110814 w 8115305"/>
              <a:gd name="connsiteY1514" fmla="*/ 669562 h 3192694"/>
              <a:gd name="connsiteX1515" fmla="*/ 1048886 w 8115305"/>
              <a:gd name="connsiteY1515" fmla="*/ 681334 h 3192694"/>
              <a:gd name="connsiteX1516" fmla="*/ 1040375 w 8115305"/>
              <a:gd name="connsiteY1516" fmla="*/ 670106 h 3192694"/>
              <a:gd name="connsiteX1517" fmla="*/ 1101760 w 8115305"/>
              <a:gd name="connsiteY1517" fmla="*/ 658517 h 3192694"/>
              <a:gd name="connsiteX1518" fmla="*/ 3916234 w 8115305"/>
              <a:gd name="connsiteY1518" fmla="*/ 656344 h 3192694"/>
              <a:gd name="connsiteX1519" fmla="*/ 4004600 w 8115305"/>
              <a:gd name="connsiteY1519" fmla="*/ 686945 h 3192694"/>
              <a:gd name="connsiteX1520" fmla="*/ 3907362 w 8115305"/>
              <a:gd name="connsiteY1520" fmla="*/ 718091 h 3192694"/>
              <a:gd name="connsiteX1521" fmla="*/ 3819176 w 8115305"/>
              <a:gd name="connsiteY1521" fmla="*/ 686041 h 3192694"/>
              <a:gd name="connsiteX1522" fmla="*/ 3916234 w 8115305"/>
              <a:gd name="connsiteY1522" fmla="*/ 656344 h 3192694"/>
              <a:gd name="connsiteX1523" fmla="*/ 911810 w 8115305"/>
              <a:gd name="connsiteY1523" fmla="*/ 656162 h 3192694"/>
              <a:gd name="connsiteX1524" fmla="*/ 915432 w 8115305"/>
              <a:gd name="connsiteY1524" fmla="*/ 665217 h 3192694"/>
              <a:gd name="connsiteX1525" fmla="*/ 865453 w 8115305"/>
              <a:gd name="connsiteY1525" fmla="*/ 674270 h 3192694"/>
              <a:gd name="connsiteX1526" fmla="*/ 862012 w 8115305"/>
              <a:gd name="connsiteY1526" fmla="*/ 664492 h 3192694"/>
              <a:gd name="connsiteX1527" fmla="*/ 911810 w 8115305"/>
              <a:gd name="connsiteY1527" fmla="*/ 656162 h 3192694"/>
              <a:gd name="connsiteX1528" fmla="*/ 5922573 w 8115305"/>
              <a:gd name="connsiteY1528" fmla="*/ 655801 h 3192694"/>
              <a:gd name="connsiteX1529" fmla="*/ 6020718 w 8115305"/>
              <a:gd name="connsiteY1529" fmla="*/ 677347 h 3192694"/>
              <a:gd name="connsiteX1530" fmla="*/ 5986312 w 8115305"/>
              <a:gd name="connsiteY1530" fmla="*/ 698715 h 3192694"/>
              <a:gd name="connsiteX1531" fmla="*/ 5889799 w 8115305"/>
              <a:gd name="connsiteY1531" fmla="*/ 676986 h 3192694"/>
              <a:gd name="connsiteX1532" fmla="*/ 5922573 w 8115305"/>
              <a:gd name="connsiteY1532" fmla="*/ 655801 h 3192694"/>
              <a:gd name="connsiteX1533" fmla="*/ 3721395 w 8115305"/>
              <a:gd name="connsiteY1533" fmla="*/ 649824 h 3192694"/>
              <a:gd name="connsiteX1534" fmla="*/ 3802698 w 8115305"/>
              <a:gd name="connsiteY1534" fmla="*/ 679340 h 3192694"/>
              <a:gd name="connsiteX1535" fmla="*/ 3701838 w 8115305"/>
              <a:gd name="connsiteY1535" fmla="*/ 710305 h 3192694"/>
              <a:gd name="connsiteX1536" fmla="*/ 3619811 w 8115305"/>
              <a:gd name="connsiteY1536" fmla="*/ 678616 h 3192694"/>
              <a:gd name="connsiteX1537" fmla="*/ 3721395 w 8115305"/>
              <a:gd name="connsiteY1537" fmla="*/ 649824 h 3192694"/>
              <a:gd name="connsiteX1538" fmla="*/ 5716144 w 8115305"/>
              <a:gd name="connsiteY1538" fmla="*/ 649281 h 3192694"/>
              <a:gd name="connsiteX1539" fmla="*/ 5818272 w 8115305"/>
              <a:gd name="connsiteY1539" fmla="*/ 672459 h 3192694"/>
              <a:gd name="connsiteX1540" fmla="*/ 5778796 w 8115305"/>
              <a:gd name="connsiteY1540" fmla="*/ 695817 h 3192694"/>
              <a:gd name="connsiteX1541" fmla="*/ 5675583 w 8115305"/>
              <a:gd name="connsiteY1541" fmla="*/ 671915 h 3192694"/>
              <a:gd name="connsiteX1542" fmla="*/ 5716144 w 8115305"/>
              <a:gd name="connsiteY1542" fmla="*/ 649281 h 3192694"/>
              <a:gd name="connsiteX1543" fmla="*/ 7308359 w 8115305"/>
              <a:gd name="connsiteY1543" fmla="*/ 646204 h 3192694"/>
              <a:gd name="connsiteX1544" fmla="*/ 7352723 w 8115305"/>
              <a:gd name="connsiteY1544" fmla="*/ 653810 h 3192694"/>
              <a:gd name="connsiteX1545" fmla="*/ 7351274 w 8115305"/>
              <a:gd name="connsiteY1545" fmla="*/ 661053 h 3192694"/>
              <a:gd name="connsiteX1546" fmla="*/ 7306547 w 8115305"/>
              <a:gd name="connsiteY1546" fmla="*/ 653447 h 3192694"/>
              <a:gd name="connsiteX1547" fmla="*/ 7308359 w 8115305"/>
              <a:gd name="connsiteY1547" fmla="*/ 646204 h 3192694"/>
              <a:gd name="connsiteX1548" fmla="*/ 3522933 w 8115305"/>
              <a:gd name="connsiteY1548" fmla="*/ 646204 h 3192694"/>
              <a:gd name="connsiteX1549" fmla="*/ 3599710 w 8115305"/>
              <a:gd name="connsiteY1549" fmla="*/ 674271 h 3192694"/>
              <a:gd name="connsiteX1550" fmla="*/ 3499755 w 8115305"/>
              <a:gd name="connsiteY1550" fmla="*/ 704149 h 3192694"/>
              <a:gd name="connsiteX1551" fmla="*/ 3423520 w 8115305"/>
              <a:gd name="connsiteY1551" fmla="*/ 674815 h 3192694"/>
              <a:gd name="connsiteX1552" fmla="*/ 3522933 w 8115305"/>
              <a:gd name="connsiteY1552" fmla="*/ 646204 h 3192694"/>
              <a:gd name="connsiteX1553" fmla="*/ 5508810 w 8115305"/>
              <a:gd name="connsiteY1553" fmla="*/ 641676 h 3192694"/>
              <a:gd name="connsiteX1554" fmla="*/ 5611118 w 8115305"/>
              <a:gd name="connsiteY1554" fmla="*/ 665397 h 3192694"/>
              <a:gd name="connsiteX1555" fmla="*/ 5566211 w 8115305"/>
              <a:gd name="connsiteY1555" fmla="*/ 689480 h 3192694"/>
              <a:gd name="connsiteX1556" fmla="*/ 5463722 w 8115305"/>
              <a:gd name="connsiteY1556" fmla="*/ 664492 h 3192694"/>
              <a:gd name="connsiteX1557" fmla="*/ 5508810 w 8115305"/>
              <a:gd name="connsiteY1557" fmla="*/ 641676 h 3192694"/>
              <a:gd name="connsiteX1558" fmla="*/ 3323746 w 8115305"/>
              <a:gd name="connsiteY1558" fmla="*/ 640046 h 3192694"/>
              <a:gd name="connsiteX1559" fmla="*/ 3394004 w 8115305"/>
              <a:gd name="connsiteY1559" fmla="*/ 667026 h 3192694"/>
              <a:gd name="connsiteX1560" fmla="*/ 3289523 w 8115305"/>
              <a:gd name="connsiteY1560" fmla="*/ 696362 h 3192694"/>
              <a:gd name="connsiteX1561" fmla="*/ 3221981 w 8115305"/>
              <a:gd name="connsiteY1561" fmla="*/ 667389 h 3192694"/>
              <a:gd name="connsiteX1562" fmla="*/ 3323746 w 8115305"/>
              <a:gd name="connsiteY1562" fmla="*/ 640046 h 3192694"/>
              <a:gd name="connsiteX1563" fmla="*/ 7088349 w 8115305"/>
              <a:gd name="connsiteY1563" fmla="*/ 636605 h 3192694"/>
              <a:gd name="connsiteX1564" fmla="*/ 7145933 w 8115305"/>
              <a:gd name="connsiteY1564" fmla="*/ 646384 h 3192694"/>
              <a:gd name="connsiteX1565" fmla="*/ 7143397 w 8115305"/>
              <a:gd name="connsiteY1565" fmla="*/ 657249 h 3192694"/>
              <a:gd name="connsiteX1566" fmla="*/ 7085272 w 8115305"/>
              <a:gd name="connsiteY1566" fmla="*/ 647833 h 3192694"/>
              <a:gd name="connsiteX1567" fmla="*/ 7088349 w 8115305"/>
              <a:gd name="connsiteY1567" fmla="*/ 636605 h 3192694"/>
              <a:gd name="connsiteX1568" fmla="*/ 3129993 w 8115305"/>
              <a:gd name="connsiteY1568" fmla="*/ 636061 h 3192694"/>
              <a:gd name="connsiteX1569" fmla="*/ 3195001 w 8115305"/>
              <a:gd name="connsiteY1569" fmla="*/ 662317 h 3192694"/>
              <a:gd name="connsiteX1570" fmla="*/ 3091244 w 8115305"/>
              <a:gd name="connsiteY1570" fmla="*/ 690748 h 3192694"/>
              <a:gd name="connsiteX1571" fmla="*/ 3026961 w 8115305"/>
              <a:gd name="connsiteY1571" fmla="*/ 663224 h 3192694"/>
              <a:gd name="connsiteX1572" fmla="*/ 3129993 w 8115305"/>
              <a:gd name="connsiteY1572" fmla="*/ 636061 h 3192694"/>
              <a:gd name="connsiteX1573" fmla="*/ 5307453 w 8115305"/>
              <a:gd name="connsiteY1573" fmla="*/ 635701 h 3192694"/>
              <a:gd name="connsiteX1574" fmla="*/ 5411934 w 8115305"/>
              <a:gd name="connsiteY1574" fmla="*/ 660871 h 3192694"/>
              <a:gd name="connsiteX1575" fmla="*/ 5362501 w 8115305"/>
              <a:gd name="connsiteY1575" fmla="*/ 686402 h 3192694"/>
              <a:gd name="connsiteX1576" fmla="*/ 5255664 w 8115305"/>
              <a:gd name="connsiteY1576" fmla="*/ 660690 h 3192694"/>
              <a:gd name="connsiteX1577" fmla="*/ 5307453 w 8115305"/>
              <a:gd name="connsiteY1577" fmla="*/ 635701 h 3192694"/>
              <a:gd name="connsiteX1578" fmla="*/ 2939139 w 8115305"/>
              <a:gd name="connsiteY1578" fmla="*/ 633165 h 3192694"/>
              <a:gd name="connsiteX1579" fmla="*/ 2993462 w 8115305"/>
              <a:gd name="connsiteY1579" fmla="*/ 658878 h 3192694"/>
              <a:gd name="connsiteX1580" fmla="*/ 2891876 w 8115305"/>
              <a:gd name="connsiteY1580" fmla="*/ 684410 h 3192694"/>
              <a:gd name="connsiteX1581" fmla="*/ 2837574 w 8115305"/>
              <a:gd name="connsiteY1581" fmla="*/ 657610 h 3192694"/>
              <a:gd name="connsiteX1582" fmla="*/ 2939139 w 8115305"/>
              <a:gd name="connsiteY1582" fmla="*/ 633165 h 3192694"/>
              <a:gd name="connsiteX1583" fmla="*/ 6873774 w 8115305"/>
              <a:gd name="connsiteY1583" fmla="*/ 630630 h 3192694"/>
              <a:gd name="connsiteX1584" fmla="*/ 6938418 w 8115305"/>
              <a:gd name="connsiteY1584" fmla="*/ 642580 h 3192694"/>
              <a:gd name="connsiteX1585" fmla="*/ 6928278 w 8115305"/>
              <a:gd name="connsiteY1585" fmla="*/ 654352 h 3192694"/>
              <a:gd name="connsiteX1586" fmla="*/ 6863090 w 8115305"/>
              <a:gd name="connsiteY1586" fmla="*/ 642039 h 3192694"/>
              <a:gd name="connsiteX1587" fmla="*/ 6873774 w 8115305"/>
              <a:gd name="connsiteY1587" fmla="*/ 630630 h 3192694"/>
              <a:gd name="connsiteX1588" fmla="*/ 5101928 w 8115305"/>
              <a:gd name="connsiteY1588" fmla="*/ 629906 h 3192694"/>
              <a:gd name="connsiteX1589" fmla="*/ 5206591 w 8115305"/>
              <a:gd name="connsiteY1589" fmla="*/ 656886 h 3192694"/>
              <a:gd name="connsiteX1590" fmla="*/ 5146293 w 8115305"/>
              <a:gd name="connsiteY1590" fmla="*/ 683142 h 3192694"/>
              <a:gd name="connsiteX1591" fmla="*/ 5040905 w 8115305"/>
              <a:gd name="connsiteY1591" fmla="*/ 654894 h 3192694"/>
              <a:gd name="connsiteX1592" fmla="*/ 5101928 w 8115305"/>
              <a:gd name="connsiteY1592" fmla="*/ 629906 h 3192694"/>
              <a:gd name="connsiteX1593" fmla="*/ 2754454 w 8115305"/>
              <a:gd name="connsiteY1593" fmla="*/ 627189 h 3192694"/>
              <a:gd name="connsiteX1594" fmla="*/ 2800812 w 8115305"/>
              <a:gd name="connsiteY1594" fmla="*/ 652178 h 3192694"/>
              <a:gd name="connsiteX1595" fmla="*/ 2695425 w 8115305"/>
              <a:gd name="connsiteY1595" fmla="*/ 676441 h 3192694"/>
              <a:gd name="connsiteX1596" fmla="*/ 2650336 w 8115305"/>
              <a:gd name="connsiteY1596" fmla="*/ 650366 h 3192694"/>
              <a:gd name="connsiteX1597" fmla="*/ 2754454 w 8115305"/>
              <a:gd name="connsiteY1597" fmla="*/ 627189 h 3192694"/>
              <a:gd name="connsiteX1598" fmla="*/ 2561609 w 8115305"/>
              <a:gd name="connsiteY1598" fmla="*/ 624473 h 3192694"/>
              <a:gd name="connsiteX1599" fmla="*/ 2605432 w 8115305"/>
              <a:gd name="connsiteY1599" fmla="*/ 646383 h 3192694"/>
              <a:gd name="connsiteX1600" fmla="*/ 2506925 w 8115305"/>
              <a:gd name="connsiteY1600" fmla="*/ 670104 h 3192694"/>
              <a:gd name="connsiteX1601" fmla="*/ 2463283 w 8115305"/>
              <a:gd name="connsiteY1601" fmla="*/ 646565 h 3192694"/>
              <a:gd name="connsiteX1602" fmla="*/ 2561609 w 8115305"/>
              <a:gd name="connsiteY1602" fmla="*/ 624473 h 3192694"/>
              <a:gd name="connsiteX1603" fmla="*/ 4901656 w 8115305"/>
              <a:gd name="connsiteY1603" fmla="*/ 622482 h 3192694"/>
              <a:gd name="connsiteX1604" fmla="*/ 5005415 w 8115305"/>
              <a:gd name="connsiteY1604" fmla="*/ 649281 h 3192694"/>
              <a:gd name="connsiteX1605" fmla="*/ 4940589 w 8115305"/>
              <a:gd name="connsiteY1605" fmla="*/ 676986 h 3192694"/>
              <a:gd name="connsiteX1606" fmla="*/ 4836107 w 8115305"/>
              <a:gd name="connsiteY1606" fmla="*/ 648920 h 3192694"/>
              <a:gd name="connsiteX1607" fmla="*/ 4901656 w 8115305"/>
              <a:gd name="connsiteY1607" fmla="*/ 622482 h 3192694"/>
              <a:gd name="connsiteX1608" fmla="*/ 6661370 w 8115305"/>
              <a:gd name="connsiteY1608" fmla="*/ 621938 h 3192694"/>
              <a:gd name="connsiteX1609" fmla="*/ 6733801 w 8115305"/>
              <a:gd name="connsiteY1609" fmla="*/ 636063 h 3192694"/>
              <a:gd name="connsiteX1610" fmla="*/ 6719676 w 8115305"/>
              <a:gd name="connsiteY1610" fmla="*/ 649645 h 3192694"/>
              <a:gd name="connsiteX1611" fmla="*/ 6645977 w 8115305"/>
              <a:gd name="connsiteY1611" fmla="*/ 635159 h 3192694"/>
              <a:gd name="connsiteX1612" fmla="*/ 6661370 w 8115305"/>
              <a:gd name="connsiteY1612" fmla="*/ 621938 h 3192694"/>
              <a:gd name="connsiteX1613" fmla="*/ 2380172 w 8115305"/>
              <a:gd name="connsiteY1613" fmla="*/ 618859 h 3192694"/>
              <a:gd name="connsiteX1614" fmla="*/ 2414031 w 8115305"/>
              <a:gd name="connsiteY1614" fmla="*/ 640588 h 3192694"/>
              <a:gd name="connsiteX1615" fmla="*/ 2312627 w 8115305"/>
              <a:gd name="connsiteY1615" fmla="*/ 662137 h 3192694"/>
              <a:gd name="connsiteX1616" fmla="*/ 2280033 w 8115305"/>
              <a:gd name="connsiteY1616" fmla="*/ 639503 h 3192694"/>
              <a:gd name="connsiteX1617" fmla="*/ 2380172 w 8115305"/>
              <a:gd name="connsiteY1617" fmla="*/ 618859 h 3192694"/>
              <a:gd name="connsiteX1618" fmla="*/ 4707181 w 8115305"/>
              <a:gd name="connsiteY1618" fmla="*/ 617048 h 3192694"/>
              <a:gd name="connsiteX1619" fmla="*/ 4808585 w 8115305"/>
              <a:gd name="connsiteY1619" fmla="*/ 644392 h 3192694"/>
              <a:gd name="connsiteX1620" fmla="*/ 4739412 w 8115305"/>
              <a:gd name="connsiteY1620" fmla="*/ 673364 h 3192694"/>
              <a:gd name="connsiteX1621" fmla="*/ 4633119 w 8115305"/>
              <a:gd name="connsiteY1621" fmla="*/ 644755 h 3192694"/>
              <a:gd name="connsiteX1622" fmla="*/ 4707181 w 8115305"/>
              <a:gd name="connsiteY1622" fmla="*/ 617048 h 3192694"/>
              <a:gd name="connsiteX1623" fmla="*/ 2184789 w 8115305"/>
              <a:gd name="connsiteY1623" fmla="*/ 616505 h 3192694"/>
              <a:gd name="connsiteX1624" fmla="*/ 2213220 w 8115305"/>
              <a:gd name="connsiteY1624" fmla="*/ 636061 h 3192694"/>
              <a:gd name="connsiteX1625" fmla="*/ 2119421 w 8115305"/>
              <a:gd name="connsiteY1625" fmla="*/ 655798 h 3192694"/>
              <a:gd name="connsiteX1626" fmla="*/ 2091169 w 8115305"/>
              <a:gd name="connsiteY1626" fmla="*/ 634613 h 3192694"/>
              <a:gd name="connsiteX1627" fmla="*/ 2184789 w 8115305"/>
              <a:gd name="connsiteY1627" fmla="*/ 616505 h 3192694"/>
              <a:gd name="connsiteX1628" fmla="*/ 6458744 w 8115305"/>
              <a:gd name="connsiteY1628" fmla="*/ 615783 h 3192694"/>
              <a:gd name="connsiteX1629" fmla="*/ 6538599 w 8115305"/>
              <a:gd name="connsiteY1629" fmla="*/ 632623 h 3192694"/>
              <a:gd name="connsiteX1630" fmla="*/ 6516870 w 8115305"/>
              <a:gd name="connsiteY1630" fmla="*/ 647109 h 3192694"/>
              <a:gd name="connsiteX1631" fmla="*/ 6435566 w 8115305"/>
              <a:gd name="connsiteY1631" fmla="*/ 630269 h 3192694"/>
              <a:gd name="connsiteX1632" fmla="*/ 6458744 w 8115305"/>
              <a:gd name="connsiteY1632" fmla="*/ 615783 h 3192694"/>
              <a:gd name="connsiteX1633" fmla="*/ 1999365 w 8115305"/>
              <a:gd name="connsiteY1633" fmla="*/ 610893 h 3192694"/>
              <a:gd name="connsiteX1634" fmla="*/ 2025076 w 8115305"/>
              <a:gd name="connsiteY1634" fmla="*/ 629001 h 3192694"/>
              <a:gd name="connsiteX1635" fmla="*/ 1937072 w 8115305"/>
              <a:gd name="connsiteY1635" fmla="*/ 647108 h 3192694"/>
              <a:gd name="connsiteX1636" fmla="*/ 1912265 w 8115305"/>
              <a:gd name="connsiteY1636" fmla="*/ 629001 h 3192694"/>
              <a:gd name="connsiteX1637" fmla="*/ 1999365 w 8115305"/>
              <a:gd name="connsiteY1637" fmla="*/ 610893 h 3192694"/>
              <a:gd name="connsiteX1638" fmla="*/ 4512161 w 8115305"/>
              <a:gd name="connsiteY1638" fmla="*/ 609806 h 3192694"/>
              <a:gd name="connsiteX1639" fmla="*/ 4613021 w 8115305"/>
              <a:gd name="connsiteY1639" fmla="*/ 638417 h 3192694"/>
              <a:gd name="connsiteX1640" fmla="*/ 4531898 w 8115305"/>
              <a:gd name="connsiteY1640" fmla="*/ 667389 h 3192694"/>
              <a:gd name="connsiteX1641" fmla="*/ 4432123 w 8115305"/>
              <a:gd name="connsiteY1641" fmla="*/ 636786 h 3192694"/>
              <a:gd name="connsiteX1642" fmla="*/ 4512161 w 8115305"/>
              <a:gd name="connsiteY1642" fmla="*/ 609806 h 3192694"/>
              <a:gd name="connsiteX1643" fmla="*/ 1813760 w 8115305"/>
              <a:gd name="connsiteY1643" fmla="*/ 608177 h 3192694"/>
              <a:gd name="connsiteX1644" fmla="*/ 1836395 w 8115305"/>
              <a:gd name="connsiteY1644" fmla="*/ 624474 h 3192694"/>
              <a:gd name="connsiteX1645" fmla="*/ 1752194 w 8115305"/>
              <a:gd name="connsiteY1645" fmla="*/ 641495 h 3192694"/>
              <a:gd name="connsiteX1646" fmla="*/ 1730282 w 8115305"/>
              <a:gd name="connsiteY1646" fmla="*/ 624836 h 3192694"/>
              <a:gd name="connsiteX1647" fmla="*/ 1813760 w 8115305"/>
              <a:gd name="connsiteY1647" fmla="*/ 608177 h 3192694"/>
              <a:gd name="connsiteX1648" fmla="*/ 6249962 w 8115305"/>
              <a:gd name="connsiteY1648" fmla="*/ 606004 h 3192694"/>
              <a:gd name="connsiteX1649" fmla="*/ 6335974 w 8115305"/>
              <a:gd name="connsiteY1649" fmla="*/ 625016 h 3192694"/>
              <a:gd name="connsiteX1650" fmla="*/ 6313157 w 8115305"/>
              <a:gd name="connsiteY1650" fmla="*/ 642219 h 3192694"/>
              <a:gd name="connsiteX1651" fmla="*/ 6225516 w 8115305"/>
              <a:gd name="connsiteY1651" fmla="*/ 624111 h 3192694"/>
              <a:gd name="connsiteX1652" fmla="*/ 6249962 w 8115305"/>
              <a:gd name="connsiteY1652" fmla="*/ 606004 h 3192694"/>
              <a:gd name="connsiteX1653" fmla="*/ 4320941 w 8115305"/>
              <a:gd name="connsiteY1653" fmla="*/ 605280 h 3192694"/>
              <a:gd name="connsiteX1654" fmla="*/ 4417637 w 8115305"/>
              <a:gd name="connsiteY1654" fmla="*/ 634252 h 3192694"/>
              <a:gd name="connsiteX1655" fmla="*/ 4332530 w 8115305"/>
              <a:gd name="connsiteY1655" fmla="*/ 663044 h 3192694"/>
              <a:gd name="connsiteX1656" fmla="*/ 4235652 w 8115305"/>
              <a:gd name="connsiteY1656" fmla="*/ 632442 h 3192694"/>
              <a:gd name="connsiteX1657" fmla="*/ 4320941 w 8115305"/>
              <a:gd name="connsiteY1657" fmla="*/ 605280 h 3192694"/>
              <a:gd name="connsiteX1658" fmla="*/ 1634129 w 8115305"/>
              <a:gd name="connsiteY1658" fmla="*/ 603468 h 3192694"/>
              <a:gd name="connsiteX1659" fmla="*/ 1650065 w 8115305"/>
              <a:gd name="connsiteY1659" fmla="*/ 618678 h 3192694"/>
              <a:gd name="connsiteX1660" fmla="*/ 1573109 w 8115305"/>
              <a:gd name="connsiteY1660" fmla="*/ 633165 h 3192694"/>
              <a:gd name="connsiteX1661" fmla="*/ 1557896 w 8115305"/>
              <a:gd name="connsiteY1661" fmla="*/ 617593 h 3192694"/>
              <a:gd name="connsiteX1662" fmla="*/ 1634129 w 8115305"/>
              <a:gd name="connsiteY1662" fmla="*/ 603468 h 3192694"/>
              <a:gd name="connsiteX1663" fmla="*/ 6048059 w 8115305"/>
              <a:gd name="connsiteY1663" fmla="*/ 602382 h 3192694"/>
              <a:gd name="connsiteX1664" fmla="*/ 6139503 w 8115305"/>
              <a:gd name="connsiteY1664" fmla="*/ 619947 h 3192694"/>
              <a:gd name="connsiteX1665" fmla="*/ 6112886 w 8115305"/>
              <a:gd name="connsiteY1665" fmla="*/ 639504 h 3192694"/>
              <a:gd name="connsiteX1666" fmla="*/ 6020355 w 8115305"/>
              <a:gd name="connsiteY1666" fmla="*/ 621396 h 3192694"/>
              <a:gd name="connsiteX1667" fmla="*/ 6048059 w 8115305"/>
              <a:gd name="connsiteY1667" fmla="*/ 602382 h 3192694"/>
              <a:gd name="connsiteX1668" fmla="*/ 1449976 w 8115305"/>
              <a:gd name="connsiteY1668" fmla="*/ 601114 h 3192694"/>
              <a:gd name="connsiteX1669" fmla="*/ 1463377 w 8115305"/>
              <a:gd name="connsiteY1669" fmla="*/ 613608 h 3192694"/>
              <a:gd name="connsiteX1670" fmla="*/ 1390944 w 8115305"/>
              <a:gd name="connsiteY1670" fmla="*/ 626828 h 3192694"/>
              <a:gd name="connsiteX1671" fmla="*/ 1380985 w 8115305"/>
              <a:gd name="connsiteY1671" fmla="*/ 613608 h 3192694"/>
              <a:gd name="connsiteX1672" fmla="*/ 1449976 w 8115305"/>
              <a:gd name="connsiteY1672" fmla="*/ 601114 h 3192694"/>
              <a:gd name="connsiteX1673" fmla="*/ 4129000 w 8115305"/>
              <a:gd name="connsiteY1673" fmla="*/ 598761 h 3192694"/>
              <a:gd name="connsiteX1674" fmla="*/ 4222797 w 8115305"/>
              <a:gd name="connsiteY1674" fmla="*/ 626648 h 3192694"/>
              <a:gd name="connsiteX1675" fmla="*/ 4134795 w 8115305"/>
              <a:gd name="connsiteY1675" fmla="*/ 656345 h 3192694"/>
              <a:gd name="connsiteX1676" fmla="*/ 4040815 w 8115305"/>
              <a:gd name="connsiteY1676" fmla="*/ 627009 h 3192694"/>
              <a:gd name="connsiteX1677" fmla="*/ 4129000 w 8115305"/>
              <a:gd name="connsiteY1677" fmla="*/ 598761 h 3192694"/>
              <a:gd name="connsiteX1678" fmla="*/ 1266364 w 8115305"/>
              <a:gd name="connsiteY1678" fmla="*/ 596948 h 3192694"/>
              <a:gd name="connsiteX1679" fmla="*/ 1272882 w 8115305"/>
              <a:gd name="connsiteY1679" fmla="*/ 607813 h 3192694"/>
              <a:gd name="connsiteX1680" fmla="*/ 1213127 w 8115305"/>
              <a:gd name="connsiteY1680" fmla="*/ 618317 h 3192694"/>
              <a:gd name="connsiteX1681" fmla="*/ 1204073 w 8115305"/>
              <a:gd name="connsiteY1681" fmla="*/ 607632 h 3192694"/>
              <a:gd name="connsiteX1682" fmla="*/ 1266364 w 8115305"/>
              <a:gd name="connsiteY1682" fmla="*/ 596948 h 3192694"/>
              <a:gd name="connsiteX1683" fmla="*/ 1080209 w 8115305"/>
              <a:gd name="connsiteY1683" fmla="*/ 594777 h 3192694"/>
              <a:gd name="connsiteX1684" fmla="*/ 1088537 w 8115305"/>
              <a:gd name="connsiteY1684" fmla="*/ 602926 h 3192694"/>
              <a:gd name="connsiteX1685" fmla="*/ 1039104 w 8115305"/>
              <a:gd name="connsiteY1685" fmla="*/ 611981 h 3192694"/>
              <a:gd name="connsiteX1686" fmla="*/ 1031137 w 8115305"/>
              <a:gd name="connsiteY1686" fmla="*/ 603650 h 3192694"/>
              <a:gd name="connsiteX1687" fmla="*/ 1080209 w 8115305"/>
              <a:gd name="connsiteY1687" fmla="*/ 594777 h 3192694"/>
              <a:gd name="connsiteX1688" fmla="*/ 3935246 w 8115305"/>
              <a:gd name="connsiteY1688" fmla="*/ 594596 h 3192694"/>
              <a:gd name="connsiteX1689" fmla="*/ 4022887 w 8115305"/>
              <a:gd name="connsiteY1689" fmla="*/ 622663 h 3192694"/>
              <a:gd name="connsiteX1690" fmla="*/ 3928908 w 8115305"/>
              <a:gd name="connsiteY1690" fmla="*/ 651816 h 3192694"/>
              <a:gd name="connsiteX1691" fmla="*/ 3841447 w 8115305"/>
              <a:gd name="connsiteY1691" fmla="*/ 622300 h 3192694"/>
              <a:gd name="connsiteX1692" fmla="*/ 3935246 w 8115305"/>
              <a:gd name="connsiteY1692" fmla="*/ 594596 h 3192694"/>
              <a:gd name="connsiteX1693" fmla="*/ 5850322 w 8115305"/>
              <a:gd name="connsiteY1693" fmla="*/ 594415 h 3192694"/>
              <a:gd name="connsiteX1694" fmla="*/ 5941405 w 8115305"/>
              <a:gd name="connsiteY1694" fmla="*/ 614154 h 3192694"/>
              <a:gd name="connsiteX1695" fmla="*/ 5906819 w 8115305"/>
              <a:gd name="connsiteY1695" fmla="*/ 634072 h 3192694"/>
              <a:gd name="connsiteX1696" fmla="*/ 5814107 w 8115305"/>
              <a:gd name="connsiteY1696" fmla="*/ 613610 h 3192694"/>
              <a:gd name="connsiteX1697" fmla="*/ 5850322 w 8115305"/>
              <a:gd name="connsiteY1697" fmla="*/ 594415 h 3192694"/>
              <a:gd name="connsiteX1698" fmla="*/ 905097 w 8115305"/>
              <a:gd name="connsiteY1698" fmla="*/ 591154 h 3192694"/>
              <a:gd name="connsiteX1699" fmla="*/ 906546 w 8115305"/>
              <a:gd name="connsiteY1699" fmla="*/ 597853 h 3192694"/>
              <a:gd name="connsiteX1700" fmla="*/ 868157 w 8115305"/>
              <a:gd name="connsiteY1700" fmla="*/ 603648 h 3192694"/>
              <a:gd name="connsiteX1701" fmla="*/ 867071 w 8115305"/>
              <a:gd name="connsiteY1701" fmla="*/ 597492 h 3192694"/>
              <a:gd name="connsiteX1702" fmla="*/ 905097 w 8115305"/>
              <a:gd name="connsiteY1702" fmla="*/ 591154 h 3192694"/>
              <a:gd name="connsiteX1703" fmla="*/ 5648059 w 8115305"/>
              <a:gd name="connsiteY1703" fmla="*/ 588620 h 3192694"/>
              <a:gd name="connsiteX1704" fmla="*/ 5742400 w 8115305"/>
              <a:gd name="connsiteY1704" fmla="*/ 609808 h 3192694"/>
              <a:gd name="connsiteX1705" fmla="*/ 5702563 w 8115305"/>
              <a:gd name="connsiteY1705" fmla="*/ 631355 h 3192694"/>
              <a:gd name="connsiteX1706" fmla="*/ 5604601 w 8115305"/>
              <a:gd name="connsiteY1706" fmla="*/ 608901 h 3192694"/>
              <a:gd name="connsiteX1707" fmla="*/ 5648059 w 8115305"/>
              <a:gd name="connsiteY1707" fmla="*/ 588620 h 3192694"/>
              <a:gd name="connsiteX1708" fmla="*/ 3748916 w 8115305"/>
              <a:gd name="connsiteY1708" fmla="*/ 588620 h 3192694"/>
              <a:gd name="connsiteX1709" fmla="*/ 3830764 w 8115305"/>
              <a:gd name="connsiteY1709" fmla="*/ 616687 h 3192694"/>
              <a:gd name="connsiteX1710" fmla="*/ 3733345 w 8115305"/>
              <a:gd name="connsiteY1710" fmla="*/ 644755 h 3192694"/>
              <a:gd name="connsiteX1711" fmla="*/ 3651859 w 8115305"/>
              <a:gd name="connsiteY1711" fmla="*/ 615239 h 3192694"/>
              <a:gd name="connsiteX1712" fmla="*/ 3748916 w 8115305"/>
              <a:gd name="connsiteY1712" fmla="*/ 588620 h 3192694"/>
              <a:gd name="connsiteX1713" fmla="*/ 3561683 w 8115305"/>
              <a:gd name="connsiteY1713" fmla="*/ 584636 h 3192694"/>
              <a:gd name="connsiteX1714" fmla="*/ 3640269 w 8115305"/>
              <a:gd name="connsiteY1714" fmla="*/ 611255 h 3192694"/>
              <a:gd name="connsiteX1715" fmla="*/ 3541222 w 8115305"/>
              <a:gd name="connsiteY1715" fmla="*/ 640047 h 3192694"/>
              <a:gd name="connsiteX1716" fmla="*/ 3462996 w 8115305"/>
              <a:gd name="connsiteY1716" fmla="*/ 612160 h 3192694"/>
              <a:gd name="connsiteX1717" fmla="*/ 3561683 w 8115305"/>
              <a:gd name="connsiteY1717" fmla="*/ 584636 h 3192694"/>
              <a:gd name="connsiteX1718" fmla="*/ 7152633 w 8115305"/>
              <a:gd name="connsiteY1718" fmla="*/ 583189 h 3192694"/>
              <a:gd name="connsiteX1719" fmla="*/ 7198808 w 8115305"/>
              <a:gd name="connsiteY1719" fmla="*/ 591337 h 3192694"/>
              <a:gd name="connsiteX1720" fmla="*/ 7191385 w 8115305"/>
              <a:gd name="connsiteY1720" fmla="*/ 598580 h 3192694"/>
              <a:gd name="connsiteX1721" fmla="*/ 7145390 w 8115305"/>
              <a:gd name="connsiteY1721" fmla="*/ 589888 h 3192694"/>
              <a:gd name="connsiteX1722" fmla="*/ 7152633 w 8115305"/>
              <a:gd name="connsiteY1722" fmla="*/ 583189 h 3192694"/>
              <a:gd name="connsiteX1723" fmla="*/ 5447245 w 8115305"/>
              <a:gd name="connsiteY1723" fmla="*/ 581014 h 3192694"/>
              <a:gd name="connsiteX1724" fmla="*/ 5548466 w 8115305"/>
              <a:gd name="connsiteY1724" fmla="*/ 602925 h 3192694"/>
              <a:gd name="connsiteX1725" fmla="*/ 5505370 w 8115305"/>
              <a:gd name="connsiteY1725" fmla="*/ 626465 h 3192694"/>
              <a:gd name="connsiteX1726" fmla="*/ 5402880 w 8115305"/>
              <a:gd name="connsiteY1726" fmla="*/ 603650 h 3192694"/>
              <a:gd name="connsiteX1727" fmla="*/ 5447245 w 8115305"/>
              <a:gd name="connsiteY1727" fmla="*/ 581014 h 3192694"/>
              <a:gd name="connsiteX1728" fmla="*/ 3380244 w 8115305"/>
              <a:gd name="connsiteY1728" fmla="*/ 579204 h 3192694"/>
              <a:gd name="connsiteX1729" fmla="*/ 3450502 w 8115305"/>
              <a:gd name="connsiteY1729" fmla="*/ 605822 h 3192694"/>
              <a:gd name="connsiteX1730" fmla="*/ 3346381 w 8115305"/>
              <a:gd name="connsiteY1730" fmla="*/ 632622 h 3192694"/>
              <a:gd name="connsiteX1731" fmla="*/ 3278840 w 8115305"/>
              <a:gd name="connsiteY1731" fmla="*/ 604374 h 3192694"/>
              <a:gd name="connsiteX1732" fmla="*/ 3380244 w 8115305"/>
              <a:gd name="connsiteY1732" fmla="*/ 579204 h 3192694"/>
              <a:gd name="connsiteX1733" fmla="*/ 6949646 w 8115305"/>
              <a:gd name="connsiteY1733" fmla="*/ 577212 h 3192694"/>
              <a:gd name="connsiteX1734" fmla="*/ 7006142 w 8115305"/>
              <a:gd name="connsiteY1734" fmla="*/ 586628 h 3192694"/>
              <a:gd name="connsiteX1735" fmla="*/ 7002882 w 8115305"/>
              <a:gd name="connsiteY1735" fmla="*/ 596407 h 3192694"/>
              <a:gd name="connsiteX1736" fmla="*/ 6945661 w 8115305"/>
              <a:gd name="connsiteY1736" fmla="*/ 587352 h 3192694"/>
              <a:gd name="connsiteX1737" fmla="*/ 6949646 w 8115305"/>
              <a:gd name="connsiteY1737" fmla="*/ 577212 h 3192694"/>
              <a:gd name="connsiteX1738" fmla="*/ 3198261 w 8115305"/>
              <a:gd name="connsiteY1738" fmla="*/ 576489 h 3192694"/>
              <a:gd name="connsiteX1739" fmla="*/ 3259644 w 8115305"/>
              <a:gd name="connsiteY1739" fmla="*/ 601296 h 3192694"/>
              <a:gd name="connsiteX1740" fmla="*/ 3156793 w 8115305"/>
              <a:gd name="connsiteY1740" fmla="*/ 627008 h 3192694"/>
              <a:gd name="connsiteX1741" fmla="*/ 3096494 w 8115305"/>
              <a:gd name="connsiteY1741" fmla="*/ 601116 h 3192694"/>
              <a:gd name="connsiteX1742" fmla="*/ 3198261 w 8115305"/>
              <a:gd name="connsiteY1742" fmla="*/ 576489 h 3192694"/>
              <a:gd name="connsiteX1743" fmla="*/ 5260010 w 8115305"/>
              <a:gd name="connsiteY1743" fmla="*/ 576126 h 3192694"/>
              <a:gd name="connsiteX1744" fmla="*/ 5358516 w 8115305"/>
              <a:gd name="connsiteY1744" fmla="*/ 600029 h 3192694"/>
              <a:gd name="connsiteX1745" fmla="*/ 5304193 w 8115305"/>
              <a:gd name="connsiteY1745" fmla="*/ 622844 h 3192694"/>
              <a:gd name="connsiteX1746" fmla="*/ 5205687 w 8115305"/>
              <a:gd name="connsiteY1746" fmla="*/ 597673 h 3192694"/>
              <a:gd name="connsiteX1747" fmla="*/ 5260010 w 8115305"/>
              <a:gd name="connsiteY1747" fmla="*/ 576126 h 3192694"/>
              <a:gd name="connsiteX1748" fmla="*/ 3015552 w 8115305"/>
              <a:gd name="connsiteY1748" fmla="*/ 571056 h 3192694"/>
              <a:gd name="connsiteX1749" fmla="*/ 3074221 w 8115305"/>
              <a:gd name="connsiteY1749" fmla="*/ 594597 h 3192694"/>
              <a:gd name="connsiteX1750" fmla="*/ 2972998 w 8115305"/>
              <a:gd name="connsiteY1750" fmla="*/ 619948 h 3192694"/>
              <a:gd name="connsiteX1751" fmla="*/ 2915053 w 8115305"/>
              <a:gd name="connsiteY1751" fmla="*/ 595139 h 3192694"/>
              <a:gd name="connsiteX1752" fmla="*/ 3015552 w 8115305"/>
              <a:gd name="connsiteY1752" fmla="*/ 571056 h 3192694"/>
              <a:gd name="connsiteX1753" fmla="*/ 6746839 w 8115305"/>
              <a:gd name="connsiteY1753" fmla="*/ 569245 h 3192694"/>
              <a:gd name="connsiteX1754" fmla="*/ 6812207 w 8115305"/>
              <a:gd name="connsiteY1754" fmla="*/ 580834 h 3192694"/>
              <a:gd name="connsiteX1755" fmla="*/ 6800075 w 8115305"/>
              <a:gd name="connsiteY1755" fmla="*/ 592242 h 3192694"/>
              <a:gd name="connsiteX1756" fmla="*/ 6734706 w 8115305"/>
              <a:gd name="connsiteY1756" fmla="*/ 579929 h 3192694"/>
              <a:gd name="connsiteX1757" fmla="*/ 6746839 w 8115305"/>
              <a:gd name="connsiteY1757" fmla="*/ 569245 h 3192694"/>
              <a:gd name="connsiteX1758" fmla="*/ 5069697 w 8115305"/>
              <a:gd name="connsiteY1758" fmla="*/ 568703 h 3192694"/>
              <a:gd name="connsiteX1759" fmla="*/ 5168203 w 8115305"/>
              <a:gd name="connsiteY1759" fmla="*/ 593329 h 3192694"/>
              <a:gd name="connsiteX1760" fmla="*/ 5107905 w 8115305"/>
              <a:gd name="connsiteY1760" fmla="*/ 618136 h 3192694"/>
              <a:gd name="connsiteX1761" fmla="*/ 5006502 w 8115305"/>
              <a:gd name="connsiteY1761" fmla="*/ 591881 h 3192694"/>
              <a:gd name="connsiteX1762" fmla="*/ 5069697 w 8115305"/>
              <a:gd name="connsiteY1762" fmla="*/ 568703 h 3192694"/>
              <a:gd name="connsiteX1763" fmla="*/ 2828699 w 8115305"/>
              <a:gd name="connsiteY1763" fmla="*/ 568520 h 3192694"/>
              <a:gd name="connsiteX1764" fmla="*/ 2878658 w 8115305"/>
              <a:gd name="connsiteY1764" fmla="*/ 590612 h 3192694"/>
              <a:gd name="connsiteX1765" fmla="*/ 2780896 w 8115305"/>
              <a:gd name="connsiteY1765" fmla="*/ 613971 h 3192694"/>
              <a:gd name="connsiteX1766" fmla="*/ 2730737 w 8115305"/>
              <a:gd name="connsiteY1766" fmla="*/ 590430 h 3192694"/>
              <a:gd name="connsiteX1767" fmla="*/ 2828699 w 8115305"/>
              <a:gd name="connsiteY1767" fmla="*/ 568520 h 3192694"/>
              <a:gd name="connsiteX1768" fmla="*/ 4877935 w 8115305"/>
              <a:gd name="connsiteY1768" fmla="*/ 563994 h 3192694"/>
              <a:gd name="connsiteX1769" fmla="*/ 4978797 w 8115305"/>
              <a:gd name="connsiteY1769" fmla="*/ 588440 h 3192694"/>
              <a:gd name="connsiteX1770" fmla="*/ 4918316 w 8115305"/>
              <a:gd name="connsiteY1770" fmla="*/ 614515 h 3192694"/>
              <a:gd name="connsiteX1771" fmla="*/ 4814379 w 8115305"/>
              <a:gd name="connsiteY1771" fmla="*/ 588620 h 3192694"/>
              <a:gd name="connsiteX1772" fmla="*/ 4877935 w 8115305"/>
              <a:gd name="connsiteY1772" fmla="*/ 563994 h 3192694"/>
              <a:gd name="connsiteX1773" fmla="*/ 6554171 w 8115305"/>
              <a:gd name="connsiteY1773" fmla="*/ 563631 h 3192694"/>
              <a:gd name="connsiteX1774" fmla="*/ 6623705 w 8115305"/>
              <a:gd name="connsiteY1774" fmla="*/ 576849 h 3192694"/>
              <a:gd name="connsiteX1775" fmla="*/ 6607409 w 8115305"/>
              <a:gd name="connsiteY1775" fmla="*/ 589886 h 3192694"/>
              <a:gd name="connsiteX1776" fmla="*/ 6534978 w 8115305"/>
              <a:gd name="connsiteY1776" fmla="*/ 575944 h 3192694"/>
              <a:gd name="connsiteX1777" fmla="*/ 6554171 w 8115305"/>
              <a:gd name="connsiteY1777" fmla="*/ 563631 h 3192694"/>
              <a:gd name="connsiteX1778" fmla="*/ 2652513 w 8115305"/>
              <a:gd name="connsiteY1778" fmla="*/ 563269 h 3192694"/>
              <a:gd name="connsiteX1779" fmla="*/ 2695790 w 8115305"/>
              <a:gd name="connsiteY1779" fmla="*/ 584635 h 3192694"/>
              <a:gd name="connsiteX1780" fmla="*/ 2595656 w 8115305"/>
              <a:gd name="connsiteY1780" fmla="*/ 606908 h 3192694"/>
              <a:gd name="connsiteX1781" fmla="*/ 2553463 w 8115305"/>
              <a:gd name="connsiteY1781" fmla="*/ 584635 h 3192694"/>
              <a:gd name="connsiteX1782" fmla="*/ 2652513 w 8115305"/>
              <a:gd name="connsiteY1782" fmla="*/ 563269 h 3192694"/>
              <a:gd name="connsiteX1783" fmla="*/ 2472703 w 8115305"/>
              <a:gd name="connsiteY1783" fmla="*/ 561638 h 3192694"/>
              <a:gd name="connsiteX1784" fmla="*/ 2510188 w 8115305"/>
              <a:gd name="connsiteY1784" fmla="*/ 580653 h 3192694"/>
              <a:gd name="connsiteX1785" fmla="*/ 2413490 w 8115305"/>
              <a:gd name="connsiteY1785" fmla="*/ 601114 h 3192694"/>
              <a:gd name="connsiteX1786" fmla="*/ 2377274 w 8115305"/>
              <a:gd name="connsiteY1786" fmla="*/ 580653 h 3192694"/>
              <a:gd name="connsiteX1787" fmla="*/ 2472703 w 8115305"/>
              <a:gd name="connsiteY1787" fmla="*/ 561638 h 3192694"/>
              <a:gd name="connsiteX1788" fmla="*/ 2296696 w 8115305"/>
              <a:gd name="connsiteY1788" fmla="*/ 557114 h 3192694"/>
              <a:gd name="connsiteX1789" fmla="*/ 2328746 w 8115305"/>
              <a:gd name="connsiteY1789" fmla="*/ 575221 h 3192694"/>
              <a:gd name="connsiteX1790" fmla="*/ 2239839 w 8115305"/>
              <a:gd name="connsiteY1790" fmla="*/ 593329 h 3192694"/>
              <a:gd name="connsiteX1791" fmla="*/ 2206157 w 8115305"/>
              <a:gd name="connsiteY1791" fmla="*/ 575221 h 3192694"/>
              <a:gd name="connsiteX1792" fmla="*/ 2296696 w 8115305"/>
              <a:gd name="connsiteY1792" fmla="*/ 557114 h 3192694"/>
              <a:gd name="connsiteX1793" fmla="*/ 4689797 w 8115305"/>
              <a:gd name="connsiteY1793" fmla="*/ 556931 h 3192694"/>
              <a:gd name="connsiteX1794" fmla="*/ 4792288 w 8115305"/>
              <a:gd name="connsiteY1794" fmla="*/ 582282 h 3192694"/>
              <a:gd name="connsiteX1795" fmla="*/ 4723478 w 8115305"/>
              <a:gd name="connsiteY1795" fmla="*/ 609625 h 3192694"/>
              <a:gd name="connsiteX1796" fmla="*/ 4620263 w 8115305"/>
              <a:gd name="connsiteY1796" fmla="*/ 583187 h 3192694"/>
              <a:gd name="connsiteX1797" fmla="*/ 4689797 w 8115305"/>
              <a:gd name="connsiteY1797" fmla="*/ 556931 h 3192694"/>
              <a:gd name="connsiteX1798" fmla="*/ 6351546 w 8115305"/>
              <a:gd name="connsiteY1798" fmla="*/ 556570 h 3192694"/>
              <a:gd name="connsiteX1799" fmla="*/ 6428323 w 8115305"/>
              <a:gd name="connsiteY1799" fmla="*/ 570151 h 3192694"/>
              <a:gd name="connsiteX1800" fmla="*/ 6413112 w 8115305"/>
              <a:gd name="connsiteY1800" fmla="*/ 584998 h 3192694"/>
              <a:gd name="connsiteX1801" fmla="*/ 6335611 w 8115305"/>
              <a:gd name="connsiteY1801" fmla="*/ 571056 h 3192694"/>
              <a:gd name="connsiteX1802" fmla="*/ 6351546 w 8115305"/>
              <a:gd name="connsiteY1802" fmla="*/ 556570 h 3192694"/>
              <a:gd name="connsiteX1803" fmla="*/ 2119784 w 8115305"/>
              <a:gd name="connsiteY1803" fmla="*/ 554214 h 3192694"/>
              <a:gd name="connsiteX1804" fmla="*/ 2146764 w 8115305"/>
              <a:gd name="connsiteY1804" fmla="*/ 570693 h 3192694"/>
              <a:gd name="connsiteX1805" fmla="*/ 2059845 w 8115305"/>
              <a:gd name="connsiteY1805" fmla="*/ 588801 h 3192694"/>
              <a:gd name="connsiteX1806" fmla="*/ 2033045 w 8115305"/>
              <a:gd name="connsiteY1806" fmla="*/ 570693 h 3192694"/>
              <a:gd name="connsiteX1807" fmla="*/ 2119784 w 8115305"/>
              <a:gd name="connsiteY1807" fmla="*/ 554214 h 3192694"/>
              <a:gd name="connsiteX1808" fmla="*/ 4504191 w 8115305"/>
              <a:gd name="connsiteY1808" fmla="*/ 552585 h 3192694"/>
              <a:gd name="connsiteX1809" fmla="*/ 4600163 w 8115305"/>
              <a:gd name="connsiteY1809" fmla="*/ 579565 h 3192694"/>
              <a:gd name="connsiteX1810" fmla="*/ 4520126 w 8115305"/>
              <a:gd name="connsiteY1810" fmla="*/ 606003 h 3192694"/>
              <a:gd name="connsiteX1811" fmla="*/ 4423975 w 8115305"/>
              <a:gd name="connsiteY1811" fmla="*/ 577755 h 3192694"/>
              <a:gd name="connsiteX1812" fmla="*/ 4504191 w 8115305"/>
              <a:gd name="connsiteY1812" fmla="*/ 552585 h 3192694"/>
              <a:gd name="connsiteX1813" fmla="*/ 1936348 w 8115305"/>
              <a:gd name="connsiteY1813" fmla="*/ 551317 h 3192694"/>
              <a:gd name="connsiteX1814" fmla="*/ 1958440 w 8115305"/>
              <a:gd name="connsiteY1814" fmla="*/ 566891 h 3192694"/>
              <a:gd name="connsiteX1815" fmla="*/ 1876230 w 8115305"/>
              <a:gd name="connsiteY1815" fmla="*/ 582463 h 3192694"/>
              <a:gd name="connsiteX1816" fmla="*/ 1855044 w 8115305"/>
              <a:gd name="connsiteY1816" fmla="*/ 566528 h 3192694"/>
              <a:gd name="connsiteX1817" fmla="*/ 1936348 w 8115305"/>
              <a:gd name="connsiteY1817" fmla="*/ 551317 h 3192694"/>
              <a:gd name="connsiteX1818" fmla="*/ 6153990 w 8115305"/>
              <a:gd name="connsiteY1818" fmla="*/ 550956 h 3192694"/>
              <a:gd name="connsiteX1819" fmla="*/ 6237466 w 8115305"/>
              <a:gd name="connsiteY1819" fmla="*/ 566710 h 3192694"/>
              <a:gd name="connsiteX1820" fmla="*/ 6213383 w 8115305"/>
              <a:gd name="connsiteY1820" fmla="*/ 582825 h 3192694"/>
              <a:gd name="connsiteX1821" fmla="*/ 6130449 w 8115305"/>
              <a:gd name="connsiteY1821" fmla="*/ 566166 h 3192694"/>
              <a:gd name="connsiteX1822" fmla="*/ 6153990 w 8115305"/>
              <a:gd name="connsiteY1822" fmla="*/ 550956 h 3192694"/>
              <a:gd name="connsiteX1823" fmla="*/ 1763058 w 8115305"/>
              <a:gd name="connsiteY1823" fmla="*/ 547335 h 3192694"/>
              <a:gd name="connsiteX1824" fmla="*/ 1780259 w 8115305"/>
              <a:gd name="connsiteY1824" fmla="*/ 561277 h 3192694"/>
              <a:gd name="connsiteX1825" fmla="*/ 1707828 w 8115305"/>
              <a:gd name="connsiteY1825" fmla="*/ 574678 h 3192694"/>
              <a:gd name="connsiteX1826" fmla="*/ 1691350 w 8115305"/>
              <a:gd name="connsiteY1826" fmla="*/ 560372 h 3192694"/>
              <a:gd name="connsiteX1827" fmla="*/ 1763058 w 8115305"/>
              <a:gd name="connsiteY1827" fmla="*/ 547335 h 3192694"/>
              <a:gd name="connsiteX1828" fmla="*/ 1587051 w 8115305"/>
              <a:gd name="connsiteY1828" fmla="*/ 545161 h 3192694"/>
              <a:gd name="connsiteX1829" fmla="*/ 1601354 w 8115305"/>
              <a:gd name="connsiteY1829" fmla="*/ 556933 h 3192694"/>
              <a:gd name="connsiteX1830" fmla="*/ 1533814 w 8115305"/>
              <a:gd name="connsiteY1830" fmla="*/ 569064 h 3192694"/>
              <a:gd name="connsiteX1831" fmla="*/ 1522768 w 8115305"/>
              <a:gd name="connsiteY1831" fmla="*/ 556389 h 3192694"/>
              <a:gd name="connsiteX1832" fmla="*/ 1587051 w 8115305"/>
              <a:gd name="connsiteY1832" fmla="*/ 545161 h 3192694"/>
              <a:gd name="connsiteX1833" fmla="*/ 5962952 w 8115305"/>
              <a:gd name="connsiteY1833" fmla="*/ 544437 h 3192694"/>
              <a:gd name="connsiteX1834" fmla="*/ 6051318 w 8115305"/>
              <a:gd name="connsiteY1834" fmla="*/ 562544 h 3192694"/>
              <a:gd name="connsiteX1835" fmla="*/ 6025245 w 8115305"/>
              <a:gd name="connsiteY1835" fmla="*/ 580652 h 3192694"/>
              <a:gd name="connsiteX1836" fmla="*/ 5935972 w 8115305"/>
              <a:gd name="connsiteY1836" fmla="*/ 562544 h 3192694"/>
              <a:gd name="connsiteX1837" fmla="*/ 5962952 w 8115305"/>
              <a:gd name="connsiteY1837" fmla="*/ 544437 h 3192694"/>
              <a:gd name="connsiteX1838" fmla="*/ 1417922 w 8115305"/>
              <a:gd name="connsiteY1838" fmla="*/ 541359 h 3192694"/>
              <a:gd name="connsiteX1839" fmla="*/ 1426796 w 8115305"/>
              <a:gd name="connsiteY1839" fmla="*/ 551500 h 3192694"/>
              <a:gd name="connsiteX1840" fmla="*/ 1368128 w 8115305"/>
              <a:gd name="connsiteY1840" fmla="*/ 561640 h 3192694"/>
              <a:gd name="connsiteX1841" fmla="*/ 1359619 w 8115305"/>
              <a:gd name="connsiteY1841" fmla="*/ 551136 h 3192694"/>
              <a:gd name="connsiteX1842" fmla="*/ 1417922 w 8115305"/>
              <a:gd name="connsiteY1842" fmla="*/ 541359 h 3192694"/>
              <a:gd name="connsiteX1843" fmla="*/ 1244629 w 8115305"/>
              <a:gd name="connsiteY1843" fmla="*/ 538643 h 3192694"/>
              <a:gd name="connsiteX1844" fmla="*/ 1251872 w 8115305"/>
              <a:gd name="connsiteY1844" fmla="*/ 547154 h 3192694"/>
              <a:gd name="connsiteX1845" fmla="*/ 1201172 w 8115305"/>
              <a:gd name="connsiteY1845" fmla="*/ 556027 h 3192694"/>
              <a:gd name="connsiteX1846" fmla="*/ 1191392 w 8115305"/>
              <a:gd name="connsiteY1846" fmla="*/ 547878 h 3192694"/>
              <a:gd name="connsiteX1847" fmla="*/ 1244629 w 8115305"/>
              <a:gd name="connsiteY1847" fmla="*/ 538643 h 3192694"/>
              <a:gd name="connsiteX1848" fmla="*/ 5772098 w 8115305"/>
              <a:gd name="connsiteY1848" fmla="*/ 538462 h 3192694"/>
              <a:gd name="connsiteX1849" fmla="*/ 5865353 w 8115305"/>
              <a:gd name="connsiteY1849" fmla="*/ 556570 h 3192694"/>
              <a:gd name="connsiteX1850" fmla="*/ 5832216 w 8115305"/>
              <a:gd name="connsiteY1850" fmla="*/ 576126 h 3192694"/>
              <a:gd name="connsiteX1851" fmla="*/ 5738055 w 8115305"/>
              <a:gd name="connsiteY1851" fmla="*/ 556570 h 3192694"/>
              <a:gd name="connsiteX1852" fmla="*/ 5772098 w 8115305"/>
              <a:gd name="connsiteY1852" fmla="*/ 538462 h 3192694"/>
              <a:gd name="connsiteX1853" fmla="*/ 1077306 w 8115305"/>
              <a:gd name="connsiteY1853" fmla="*/ 535021 h 3192694"/>
              <a:gd name="connsiteX1854" fmla="*/ 1079298 w 8115305"/>
              <a:gd name="connsiteY1854" fmla="*/ 541903 h 3192694"/>
              <a:gd name="connsiteX1855" fmla="*/ 1038555 w 8115305"/>
              <a:gd name="connsiteY1855" fmla="*/ 548422 h 3192694"/>
              <a:gd name="connsiteX1856" fmla="*/ 1034028 w 8115305"/>
              <a:gd name="connsiteY1856" fmla="*/ 541720 h 3192694"/>
              <a:gd name="connsiteX1857" fmla="*/ 1077306 w 8115305"/>
              <a:gd name="connsiteY1857" fmla="*/ 535021 h 3192694"/>
              <a:gd name="connsiteX1858" fmla="*/ 5587217 w 8115305"/>
              <a:gd name="connsiteY1858" fmla="*/ 533753 h 3192694"/>
              <a:gd name="connsiteX1859" fmla="*/ 5681015 w 8115305"/>
              <a:gd name="connsiteY1859" fmla="*/ 553491 h 3192694"/>
              <a:gd name="connsiteX1860" fmla="*/ 5642265 w 8115305"/>
              <a:gd name="connsiteY1860" fmla="*/ 573048 h 3192694"/>
              <a:gd name="connsiteX1861" fmla="*/ 5547561 w 8115305"/>
              <a:gd name="connsiteY1861" fmla="*/ 552585 h 3192694"/>
              <a:gd name="connsiteX1862" fmla="*/ 5587217 w 8115305"/>
              <a:gd name="connsiteY1862" fmla="*/ 533753 h 3192694"/>
              <a:gd name="connsiteX1863" fmla="*/ 7023344 w 8115305"/>
              <a:gd name="connsiteY1863" fmla="*/ 528864 h 3192694"/>
              <a:gd name="connsiteX1864" fmla="*/ 7066983 w 8115305"/>
              <a:gd name="connsiteY1864" fmla="*/ 535745 h 3192694"/>
              <a:gd name="connsiteX1865" fmla="*/ 7064991 w 8115305"/>
              <a:gd name="connsiteY1865" fmla="*/ 543350 h 3192694"/>
              <a:gd name="connsiteX1866" fmla="*/ 7018274 w 8115305"/>
              <a:gd name="connsiteY1866" fmla="*/ 535926 h 3192694"/>
              <a:gd name="connsiteX1867" fmla="*/ 7023344 w 8115305"/>
              <a:gd name="connsiteY1867" fmla="*/ 528864 h 3192694"/>
              <a:gd name="connsiteX1868" fmla="*/ 5404692 w 8115305"/>
              <a:gd name="connsiteY1868" fmla="*/ 526873 h 3192694"/>
              <a:gd name="connsiteX1869" fmla="*/ 5497584 w 8115305"/>
              <a:gd name="connsiteY1869" fmla="*/ 547879 h 3192694"/>
              <a:gd name="connsiteX1870" fmla="*/ 5449962 w 8115305"/>
              <a:gd name="connsiteY1870" fmla="*/ 568703 h 3192694"/>
              <a:gd name="connsiteX1871" fmla="*/ 5354171 w 8115305"/>
              <a:gd name="connsiteY1871" fmla="*/ 546249 h 3192694"/>
              <a:gd name="connsiteX1872" fmla="*/ 5404692 w 8115305"/>
              <a:gd name="connsiteY1872" fmla="*/ 526873 h 3192694"/>
              <a:gd name="connsiteX1873" fmla="*/ 4242535 w 8115305"/>
              <a:gd name="connsiteY1873" fmla="*/ 525424 h 3192694"/>
              <a:gd name="connsiteX1874" fmla="*/ 4168836 w 8115305"/>
              <a:gd name="connsiteY1874" fmla="*/ 541903 h 3192694"/>
              <a:gd name="connsiteX1875" fmla="*/ 4234930 w 8115305"/>
              <a:gd name="connsiteY1875" fmla="*/ 567073 h 3192694"/>
              <a:gd name="connsiteX1876" fmla="*/ 4309715 w 8115305"/>
              <a:gd name="connsiteY1876" fmla="*/ 544256 h 3192694"/>
              <a:gd name="connsiteX1877" fmla="*/ 4242535 w 8115305"/>
              <a:gd name="connsiteY1877" fmla="*/ 525424 h 3192694"/>
              <a:gd name="connsiteX1878" fmla="*/ 3426058 w 8115305"/>
              <a:gd name="connsiteY1878" fmla="*/ 524881 h 3192694"/>
              <a:gd name="connsiteX1879" fmla="*/ 3493780 w 8115305"/>
              <a:gd name="connsiteY1879" fmla="*/ 549690 h 3192694"/>
              <a:gd name="connsiteX1880" fmla="*/ 3394912 w 8115305"/>
              <a:gd name="connsiteY1880" fmla="*/ 574678 h 3192694"/>
              <a:gd name="connsiteX1881" fmla="*/ 3326464 w 8115305"/>
              <a:gd name="connsiteY1881" fmla="*/ 548242 h 3192694"/>
              <a:gd name="connsiteX1882" fmla="*/ 3426058 w 8115305"/>
              <a:gd name="connsiteY1882" fmla="*/ 524881 h 3192694"/>
              <a:gd name="connsiteX1883" fmla="*/ 6832488 w 8115305"/>
              <a:gd name="connsiteY1883" fmla="*/ 523432 h 3192694"/>
              <a:gd name="connsiteX1884" fmla="*/ 6886448 w 8115305"/>
              <a:gd name="connsiteY1884" fmla="*/ 532485 h 3192694"/>
              <a:gd name="connsiteX1885" fmla="*/ 6877576 w 8115305"/>
              <a:gd name="connsiteY1885" fmla="*/ 541360 h 3192694"/>
              <a:gd name="connsiteX1886" fmla="*/ 6823252 w 8115305"/>
              <a:gd name="connsiteY1886" fmla="*/ 532124 h 3192694"/>
              <a:gd name="connsiteX1887" fmla="*/ 6832488 w 8115305"/>
              <a:gd name="connsiteY1887" fmla="*/ 523432 h 3192694"/>
              <a:gd name="connsiteX1888" fmla="*/ 5215647 w 8115305"/>
              <a:gd name="connsiteY1888" fmla="*/ 522165 h 3192694"/>
              <a:gd name="connsiteX1889" fmla="*/ 5315602 w 8115305"/>
              <a:gd name="connsiteY1889" fmla="*/ 543533 h 3192694"/>
              <a:gd name="connsiteX1890" fmla="*/ 5265624 w 8115305"/>
              <a:gd name="connsiteY1890" fmla="*/ 566528 h 3192694"/>
              <a:gd name="connsiteX1891" fmla="*/ 5165669 w 8115305"/>
              <a:gd name="connsiteY1891" fmla="*/ 543713 h 3192694"/>
              <a:gd name="connsiteX1892" fmla="*/ 5215647 w 8115305"/>
              <a:gd name="connsiteY1892" fmla="*/ 522165 h 3192694"/>
              <a:gd name="connsiteX1893" fmla="*/ 3250048 w 8115305"/>
              <a:gd name="connsiteY1893" fmla="*/ 521801 h 3192694"/>
              <a:gd name="connsiteX1894" fmla="*/ 3313605 w 8115305"/>
              <a:gd name="connsiteY1894" fmla="*/ 545885 h 3192694"/>
              <a:gd name="connsiteX1895" fmla="*/ 3211840 w 8115305"/>
              <a:gd name="connsiteY1895" fmla="*/ 569968 h 3192694"/>
              <a:gd name="connsiteX1896" fmla="*/ 3151179 w 8115305"/>
              <a:gd name="connsiteY1896" fmla="*/ 544437 h 3192694"/>
              <a:gd name="connsiteX1897" fmla="*/ 3250048 w 8115305"/>
              <a:gd name="connsiteY1897" fmla="*/ 521801 h 3192694"/>
              <a:gd name="connsiteX1898" fmla="*/ 4062544 w 8115305"/>
              <a:gd name="connsiteY1898" fmla="*/ 518725 h 3192694"/>
              <a:gd name="connsiteX1899" fmla="*/ 3984861 w 8115305"/>
              <a:gd name="connsiteY1899" fmla="*/ 537918 h 3192694"/>
              <a:gd name="connsiteX1900" fmla="*/ 4050773 w 8115305"/>
              <a:gd name="connsiteY1900" fmla="*/ 562184 h 3192694"/>
              <a:gd name="connsiteX1901" fmla="*/ 4122119 w 8115305"/>
              <a:gd name="connsiteY1901" fmla="*/ 541359 h 3192694"/>
              <a:gd name="connsiteX1902" fmla="*/ 4062544 w 8115305"/>
              <a:gd name="connsiteY1902" fmla="*/ 518725 h 3192694"/>
              <a:gd name="connsiteX1903" fmla="*/ 3077844 w 8115305"/>
              <a:gd name="connsiteY1903" fmla="*/ 517639 h 3192694"/>
              <a:gd name="connsiteX1904" fmla="*/ 3134158 w 8115305"/>
              <a:gd name="connsiteY1904" fmla="*/ 539911 h 3192694"/>
              <a:gd name="connsiteX1905" fmla="*/ 3037283 w 8115305"/>
              <a:gd name="connsiteY1905" fmla="*/ 562908 h 3192694"/>
              <a:gd name="connsiteX1906" fmla="*/ 2980785 w 8115305"/>
              <a:gd name="connsiteY1906" fmla="*/ 539186 h 3192694"/>
              <a:gd name="connsiteX1907" fmla="*/ 3077844 w 8115305"/>
              <a:gd name="connsiteY1907" fmla="*/ 517639 h 3192694"/>
              <a:gd name="connsiteX1908" fmla="*/ 3883096 w 8115305"/>
              <a:gd name="connsiteY1908" fmla="*/ 516733 h 3192694"/>
              <a:gd name="connsiteX1909" fmla="*/ 3850139 w 8115305"/>
              <a:gd name="connsiteY1909" fmla="*/ 526692 h 3192694"/>
              <a:gd name="connsiteX1910" fmla="*/ 3811751 w 8115305"/>
              <a:gd name="connsiteY1910" fmla="*/ 532487 h 3192694"/>
              <a:gd name="connsiteX1911" fmla="*/ 3848873 w 8115305"/>
              <a:gd name="connsiteY1911" fmla="*/ 543532 h 3192694"/>
              <a:gd name="connsiteX1912" fmla="*/ 3871327 w 8115305"/>
              <a:gd name="connsiteY1912" fmla="*/ 557838 h 3192694"/>
              <a:gd name="connsiteX1913" fmla="*/ 3958968 w 8115305"/>
              <a:gd name="connsiteY1913" fmla="*/ 538101 h 3192694"/>
              <a:gd name="connsiteX1914" fmla="*/ 3883096 w 8115305"/>
              <a:gd name="connsiteY1914" fmla="*/ 517457 h 3192694"/>
              <a:gd name="connsiteX1915" fmla="*/ 5031310 w 8115305"/>
              <a:gd name="connsiteY1915" fmla="*/ 515646 h 3192694"/>
              <a:gd name="connsiteX1916" fmla="*/ 5127643 w 8115305"/>
              <a:gd name="connsiteY1916" fmla="*/ 537738 h 3192694"/>
              <a:gd name="connsiteX1917" fmla="*/ 5070423 w 8115305"/>
              <a:gd name="connsiteY1917" fmla="*/ 561097 h 3192694"/>
              <a:gd name="connsiteX1918" fmla="*/ 4973183 w 8115305"/>
              <a:gd name="connsiteY1918" fmla="*/ 537919 h 3192694"/>
              <a:gd name="connsiteX1919" fmla="*/ 5031310 w 8115305"/>
              <a:gd name="connsiteY1919" fmla="*/ 515646 h 3192694"/>
              <a:gd name="connsiteX1920" fmla="*/ 6634026 w 8115305"/>
              <a:gd name="connsiteY1920" fmla="*/ 515645 h 3192694"/>
              <a:gd name="connsiteX1921" fmla="*/ 6697222 w 8115305"/>
              <a:gd name="connsiteY1921" fmla="*/ 527054 h 3192694"/>
              <a:gd name="connsiteX1922" fmla="*/ 6682555 w 8115305"/>
              <a:gd name="connsiteY1922" fmla="*/ 537736 h 3192694"/>
              <a:gd name="connsiteX1923" fmla="*/ 6619360 w 8115305"/>
              <a:gd name="connsiteY1923" fmla="*/ 525423 h 3192694"/>
              <a:gd name="connsiteX1924" fmla="*/ 6634026 w 8115305"/>
              <a:gd name="connsiteY1924" fmla="*/ 515645 h 3192694"/>
              <a:gd name="connsiteX1925" fmla="*/ 2902017 w 8115305"/>
              <a:gd name="connsiteY1925" fmla="*/ 514921 h 3192694"/>
              <a:gd name="connsiteX1926" fmla="*/ 2956340 w 8115305"/>
              <a:gd name="connsiteY1926" fmla="*/ 536108 h 3192694"/>
              <a:gd name="connsiteX1927" fmla="*/ 2859845 w 8115305"/>
              <a:gd name="connsiteY1927" fmla="*/ 558018 h 3192694"/>
              <a:gd name="connsiteX1928" fmla="*/ 2808059 w 8115305"/>
              <a:gd name="connsiteY1928" fmla="*/ 536469 h 3192694"/>
              <a:gd name="connsiteX1929" fmla="*/ 2902017 w 8115305"/>
              <a:gd name="connsiteY1929" fmla="*/ 514921 h 3192694"/>
              <a:gd name="connsiteX1930" fmla="*/ 6446794 w 8115305"/>
              <a:gd name="connsiteY1930" fmla="*/ 510938 h 3192694"/>
              <a:gd name="connsiteX1931" fmla="*/ 6515423 w 8115305"/>
              <a:gd name="connsiteY1931" fmla="*/ 523252 h 3192694"/>
              <a:gd name="connsiteX1932" fmla="*/ 6501117 w 8115305"/>
              <a:gd name="connsiteY1932" fmla="*/ 535565 h 3192694"/>
              <a:gd name="connsiteX1933" fmla="*/ 6428686 w 8115305"/>
              <a:gd name="connsiteY1933" fmla="*/ 522708 h 3192694"/>
              <a:gd name="connsiteX1934" fmla="*/ 6446794 w 8115305"/>
              <a:gd name="connsiteY1934" fmla="*/ 510938 h 3192694"/>
              <a:gd name="connsiteX1935" fmla="*/ 4852584 w 8115305"/>
              <a:gd name="connsiteY1935" fmla="*/ 510756 h 3192694"/>
              <a:gd name="connsiteX1936" fmla="*/ 4951634 w 8115305"/>
              <a:gd name="connsiteY1936" fmla="*/ 535021 h 3192694"/>
              <a:gd name="connsiteX1937" fmla="*/ 4885903 w 8115305"/>
              <a:gd name="connsiteY1937" fmla="*/ 558743 h 3192694"/>
              <a:gd name="connsiteX1938" fmla="*/ 4786311 w 8115305"/>
              <a:gd name="connsiteY1938" fmla="*/ 533209 h 3192694"/>
              <a:gd name="connsiteX1939" fmla="*/ 4852584 w 8115305"/>
              <a:gd name="connsiteY1939" fmla="*/ 510756 h 3192694"/>
              <a:gd name="connsiteX1940" fmla="*/ 2735084 w 8115305"/>
              <a:gd name="connsiteY1940" fmla="*/ 510576 h 3192694"/>
              <a:gd name="connsiteX1941" fmla="*/ 2780537 w 8115305"/>
              <a:gd name="connsiteY1941" fmla="*/ 530132 h 3192694"/>
              <a:gd name="connsiteX1942" fmla="*/ 2685469 w 8115305"/>
              <a:gd name="connsiteY1942" fmla="*/ 551137 h 3192694"/>
              <a:gd name="connsiteX1943" fmla="*/ 2640742 w 8115305"/>
              <a:gd name="connsiteY1943" fmla="*/ 530856 h 3192694"/>
              <a:gd name="connsiteX1944" fmla="*/ 2735084 w 8115305"/>
              <a:gd name="connsiteY1944" fmla="*/ 510576 h 3192694"/>
              <a:gd name="connsiteX1945" fmla="*/ 2559258 w 8115305"/>
              <a:gd name="connsiteY1945" fmla="*/ 507317 h 3192694"/>
              <a:gd name="connsiteX1946" fmla="*/ 2595470 w 8115305"/>
              <a:gd name="connsiteY1946" fmla="*/ 527054 h 3192694"/>
              <a:gd name="connsiteX1947" fmla="*/ 2504937 w 8115305"/>
              <a:gd name="connsiteY1947" fmla="*/ 545162 h 3192694"/>
              <a:gd name="connsiteX1948" fmla="*/ 2468719 w 8115305"/>
              <a:gd name="connsiteY1948" fmla="*/ 525424 h 3192694"/>
              <a:gd name="connsiteX1949" fmla="*/ 2559258 w 8115305"/>
              <a:gd name="connsiteY1949" fmla="*/ 507317 h 3192694"/>
              <a:gd name="connsiteX1950" fmla="*/ 6257205 w 8115305"/>
              <a:gd name="connsiteY1950" fmla="*/ 504781 h 3192694"/>
              <a:gd name="connsiteX1951" fmla="*/ 6331628 w 8115305"/>
              <a:gd name="connsiteY1951" fmla="*/ 517819 h 3192694"/>
              <a:gd name="connsiteX1952" fmla="*/ 6314606 w 8115305"/>
              <a:gd name="connsiteY1952" fmla="*/ 531039 h 3192694"/>
              <a:gd name="connsiteX1953" fmla="*/ 6239097 w 8115305"/>
              <a:gd name="connsiteY1953" fmla="*/ 517638 h 3192694"/>
              <a:gd name="connsiteX1954" fmla="*/ 6257205 w 8115305"/>
              <a:gd name="connsiteY1954" fmla="*/ 504781 h 3192694"/>
              <a:gd name="connsiteX1955" fmla="*/ 4674585 w 8115305"/>
              <a:gd name="connsiteY1955" fmla="*/ 504781 h 3192694"/>
              <a:gd name="connsiteX1956" fmla="*/ 4772367 w 8115305"/>
              <a:gd name="connsiteY1956" fmla="*/ 529046 h 3192694"/>
              <a:gd name="connsiteX1957" fmla="*/ 4701928 w 8115305"/>
              <a:gd name="connsiteY1957" fmla="*/ 553490 h 3192694"/>
              <a:gd name="connsiteX1958" fmla="*/ 4604509 w 8115305"/>
              <a:gd name="connsiteY1958" fmla="*/ 528322 h 3192694"/>
              <a:gd name="connsiteX1959" fmla="*/ 4674585 w 8115305"/>
              <a:gd name="connsiteY1959" fmla="*/ 504781 h 3192694"/>
              <a:gd name="connsiteX1960" fmla="*/ 2391036 w 8115305"/>
              <a:gd name="connsiteY1960" fmla="*/ 504237 h 3192694"/>
              <a:gd name="connsiteX1961" fmla="*/ 2423630 w 8115305"/>
              <a:gd name="connsiteY1961" fmla="*/ 522345 h 3192694"/>
              <a:gd name="connsiteX1962" fmla="*/ 2333090 w 8115305"/>
              <a:gd name="connsiteY1962" fmla="*/ 540452 h 3192694"/>
              <a:gd name="connsiteX1963" fmla="*/ 2303755 w 8115305"/>
              <a:gd name="connsiteY1963" fmla="*/ 522345 h 3192694"/>
              <a:gd name="connsiteX1964" fmla="*/ 2391036 w 8115305"/>
              <a:gd name="connsiteY1964" fmla="*/ 504237 h 3192694"/>
              <a:gd name="connsiteX1965" fmla="*/ 2221551 w 8115305"/>
              <a:gd name="connsiteY1965" fmla="*/ 501884 h 3192694"/>
              <a:gd name="connsiteX1966" fmla="*/ 2249072 w 8115305"/>
              <a:gd name="connsiteY1966" fmla="*/ 517999 h 3192694"/>
              <a:gd name="connsiteX1967" fmla="*/ 2164872 w 8115305"/>
              <a:gd name="connsiteY1967" fmla="*/ 534116 h 3192694"/>
              <a:gd name="connsiteX1968" fmla="*/ 2138250 w 8115305"/>
              <a:gd name="connsiteY1968" fmla="*/ 517457 h 3192694"/>
              <a:gd name="connsiteX1969" fmla="*/ 2221551 w 8115305"/>
              <a:gd name="connsiteY1969" fmla="*/ 501884 h 3192694"/>
              <a:gd name="connsiteX1970" fmla="*/ 6076127 w 8115305"/>
              <a:gd name="connsiteY1970" fmla="*/ 499711 h 3192694"/>
              <a:gd name="connsiteX1971" fmla="*/ 6154533 w 8115305"/>
              <a:gd name="connsiteY1971" fmla="*/ 514197 h 3192694"/>
              <a:gd name="connsiteX1972" fmla="*/ 6131535 w 8115305"/>
              <a:gd name="connsiteY1972" fmla="*/ 528864 h 3192694"/>
              <a:gd name="connsiteX1973" fmla="*/ 6052224 w 8115305"/>
              <a:gd name="connsiteY1973" fmla="*/ 514016 h 3192694"/>
              <a:gd name="connsiteX1974" fmla="*/ 6076127 w 8115305"/>
              <a:gd name="connsiteY1974" fmla="*/ 499711 h 3192694"/>
              <a:gd name="connsiteX1975" fmla="*/ 2054411 w 8115305"/>
              <a:gd name="connsiteY1975" fmla="*/ 498081 h 3192694"/>
              <a:gd name="connsiteX1976" fmla="*/ 2078132 w 8115305"/>
              <a:gd name="connsiteY1976" fmla="*/ 512387 h 3192694"/>
              <a:gd name="connsiteX1977" fmla="*/ 1999545 w 8115305"/>
              <a:gd name="connsiteY1977" fmla="*/ 526873 h 3192694"/>
              <a:gd name="connsiteX1978" fmla="*/ 1978902 w 8115305"/>
              <a:gd name="connsiteY1978" fmla="*/ 511843 h 3192694"/>
              <a:gd name="connsiteX1979" fmla="*/ 2054411 w 8115305"/>
              <a:gd name="connsiteY1979" fmla="*/ 498081 h 3192694"/>
              <a:gd name="connsiteX1980" fmla="*/ 1890718 w 8115305"/>
              <a:gd name="connsiteY1980" fmla="*/ 496089 h 3192694"/>
              <a:gd name="connsiteX1981" fmla="*/ 1903756 w 8115305"/>
              <a:gd name="connsiteY1981" fmla="*/ 509851 h 3192694"/>
              <a:gd name="connsiteX1982" fmla="*/ 1831506 w 8115305"/>
              <a:gd name="connsiteY1982" fmla="*/ 521801 h 3192694"/>
              <a:gd name="connsiteX1983" fmla="*/ 1816837 w 8115305"/>
              <a:gd name="connsiteY1983" fmla="*/ 508222 h 3192694"/>
              <a:gd name="connsiteX1984" fmla="*/ 1890718 w 8115305"/>
              <a:gd name="connsiteY1984" fmla="*/ 496089 h 3192694"/>
              <a:gd name="connsiteX1985" fmla="*/ 5890521 w 8115305"/>
              <a:gd name="connsiteY1985" fmla="*/ 493191 h 3192694"/>
              <a:gd name="connsiteX1986" fmla="*/ 5973635 w 8115305"/>
              <a:gd name="connsiteY1986" fmla="*/ 508402 h 3192694"/>
              <a:gd name="connsiteX1987" fmla="*/ 5945751 w 8115305"/>
              <a:gd name="connsiteY1987" fmla="*/ 524880 h 3192694"/>
              <a:gd name="connsiteX1988" fmla="*/ 5862453 w 8115305"/>
              <a:gd name="connsiteY1988" fmla="*/ 508765 h 3192694"/>
              <a:gd name="connsiteX1989" fmla="*/ 5890521 w 8115305"/>
              <a:gd name="connsiteY1989" fmla="*/ 493191 h 3192694"/>
              <a:gd name="connsiteX1990" fmla="*/ 1723039 w 8115305"/>
              <a:gd name="connsiteY1990" fmla="*/ 491926 h 3192694"/>
              <a:gd name="connsiteX1991" fmla="*/ 1740060 w 8115305"/>
              <a:gd name="connsiteY1991" fmla="*/ 503334 h 3192694"/>
              <a:gd name="connsiteX1992" fmla="*/ 1673062 w 8115305"/>
              <a:gd name="connsiteY1992" fmla="*/ 515285 h 3192694"/>
              <a:gd name="connsiteX1993" fmla="*/ 1656765 w 8115305"/>
              <a:gd name="connsiteY1993" fmla="*/ 503695 h 3192694"/>
              <a:gd name="connsiteX1994" fmla="*/ 1723039 w 8115305"/>
              <a:gd name="connsiteY1994" fmla="*/ 491926 h 3192694"/>
              <a:gd name="connsiteX1995" fmla="*/ 1551921 w 8115305"/>
              <a:gd name="connsiteY1995" fmla="*/ 489934 h 3192694"/>
              <a:gd name="connsiteX1996" fmla="*/ 1562967 w 8115305"/>
              <a:gd name="connsiteY1996" fmla="*/ 500074 h 3192694"/>
              <a:gd name="connsiteX1997" fmla="*/ 1503755 w 8115305"/>
              <a:gd name="connsiteY1997" fmla="*/ 510215 h 3192694"/>
              <a:gd name="connsiteX1998" fmla="*/ 1492890 w 8115305"/>
              <a:gd name="connsiteY1998" fmla="*/ 499530 h 3192694"/>
              <a:gd name="connsiteX1999" fmla="*/ 1551921 w 8115305"/>
              <a:gd name="connsiteY1999" fmla="*/ 489934 h 3192694"/>
              <a:gd name="connsiteX2000" fmla="*/ 5710712 w 8115305"/>
              <a:gd name="connsiteY2000" fmla="*/ 488485 h 3192694"/>
              <a:gd name="connsiteX2001" fmla="*/ 5799439 w 8115305"/>
              <a:gd name="connsiteY2001" fmla="*/ 505144 h 3192694"/>
              <a:gd name="connsiteX2002" fmla="*/ 5766303 w 8115305"/>
              <a:gd name="connsiteY2002" fmla="*/ 523252 h 3192694"/>
              <a:gd name="connsiteX2003" fmla="*/ 5677574 w 8115305"/>
              <a:gd name="connsiteY2003" fmla="*/ 505144 h 3192694"/>
              <a:gd name="connsiteX2004" fmla="*/ 5710712 w 8115305"/>
              <a:gd name="connsiteY2004" fmla="*/ 488485 h 3192694"/>
              <a:gd name="connsiteX2005" fmla="*/ 1388045 w 8115305"/>
              <a:gd name="connsiteY2005" fmla="*/ 486493 h 3192694"/>
              <a:gd name="connsiteX2006" fmla="*/ 1398004 w 8115305"/>
              <a:gd name="connsiteY2006" fmla="*/ 494641 h 3192694"/>
              <a:gd name="connsiteX2007" fmla="*/ 1347485 w 8115305"/>
              <a:gd name="connsiteY2007" fmla="*/ 503152 h 3192694"/>
              <a:gd name="connsiteX2008" fmla="*/ 1337708 w 8115305"/>
              <a:gd name="connsiteY2008" fmla="*/ 495004 h 3192694"/>
              <a:gd name="connsiteX2009" fmla="*/ 1388045 w 8115305"/>
              <a:gd name="connsiteY2009" fmla="*/ 486493 h 3192694"/>
              <a:gd name="connsiteX2010" fmla="*/ 1225426 w 8115305"/>
              <a:gd name="connsiteY2010" fmla="*/ 485044 h 3192694"/>
              <a:gd name="connsiteX2011" fmla="*/ 1227963 w 8115305"/>
              <a:gd name="connsiteY2011" fmla="*/ 491562 h 3192694"/>
              <a:gd name="connsiteX2012" fmla="*/ 1187038 w 8115305"/>
              <a:gd name="connsiteY2012" fmla="*/ 497720 h 3192694"/>
              <a:gd name="connsiteX2013" fmla="*/ 1184321 w 8115305"/>
              <a:gd name="connsiteY2013" fmla="*/ 490838 h 3192694"/>
              <a:gd name="connsiteX2014" fmla="*/ 1225426 w 8115305"/>
              <a:gd name="connsiteY2014" fmla="*/ 485044 h 3192694"/>
              <a:gd name="connsiteX2015" fmla="*/ 4246881 w 8115305"/>
              <a:gd name="connsiteY2015" fmla="*/ 482146 h 3192694"/>
              <a:gd name="connsiteX2016" fmla="*/ 4202154 w 8115305"/>
              <a:gd name="connsiteY2016" fmla="*/ 493374 h 3192694"/>
              <a:gd name="connsiteX2017" fmla="*/ 4243983 w 8115305"/>
              <a:gd name="connsiteY2017" fmla="*/ 508585 h 3192694"/>
              <a:gd name="connsiteX2018" fmla="*/ 4293780 w 8115305"/>
              <a:gd name="connsiteY2018" fmla="*/ 494823 h 3192694"/>
              <a:gd name="connsiteX2019" fmla="*/ 4414559 w 8115305"/>
              <a:gd name="connsiteY2019" fmla="*/ 481966 h 3192694"/>
              <a:gd name="connsiteX2020" fmla="*/ 4359319 w 8115305"/>
              <a:gd name="connsiteY2020" fmla="*/ 495642 h 3192694"/>
              <a:gd name="connsiteX2021" fmla="*/ 4358063 w 8115305"/>
              <a:gd name="connsiteY2021" fmla="*/ 495184 h 3192694"/>
              <a:gd name="connsiteX2022" fmla="*/ 4358244 w 8115305"/>
              <a:gd name="connsiteY2022" fmla="*/ 495908 h 3192694"/>
              <a:gd name="connsiteX2023" fmla="*/ 4359319 w 8115305"/>
              <a:gd name="connsiteY2023" fmla="*/ 495642 h 3192694"/>
              <a:gd name="connsiteX2024" fmla="*/ 4421078 w 8115305"/>
              <a:gd name="connsiteY2024" fmla="*/ 518181 h 3192694"/>
              <a:gd name="connsiteX2025" fmla="*/ 4489888 w 8115305"/>
              <a:gd name="connsiteY2025" fmla="*/ 500074 h 3192694"/>
              <a:gd name="connsiteX2026" fmla="*/ 4414559 w 8115305"/>
              <a:gd name="connsiteY2026" fmla="*/ 481966 h 3192694"/>
              <a:gd name="connsiteX2027" fmla="*/ 5525470 w 8115305"/>
              <a:gd name="connsiteY2027" fmla="*/ 481603 h 3192694"/>
              <a:gd name="connsiteX2028" fmla="*/ 5615104 w 8115305"/>
              <a:gd name="connsiteY2028" fmla="*/ 499710 h 3192694"/>
              <a:gd name="connsiteX2029" fmla="*/ 5578889 w 8115305"/>
              <a:gd name="connsiteY2029" fmla="*/ 517818 h 3192694"/>
              <a:gd name="connsiteX2030" fmla="*/ 5488350 w 8115305"/>
              <a:gd name="connsiteY2030" fmla="*/ 499710 h 3192694"/>
              <a:gd name="connsiteX2031" fmla="*/ 5525470 w 8115305"/>
              <a:gd name="connsiteY2031" fmla="*/ 481603 h 3192694"/>
              <a:gd name="connsiteX2032" fmla="*/ 6901478 w 8115305"/>
              <a:gd name="connsiteY2032" fmla="*/ 479791 h 3192694"/>
              <a:gd name="connsiteX2033" fmla="*/ 6942220 w 8115305"/>
              <a:gd name="connsiteY2033" fmla="*/ 486129 h 3192694"/>
              <a:gd name="connsiteX2034" fmla="*/ 6938418 w 8115305"/>
              <a:gd name="connsiteY2034" fmla="*/ 492829 h 3192694"/>
              <a:gd name="connsiteX2035" fmla="*/ 6897132 w 8115305"/>
              <a:gd name="connsiteY2035" fmla="*/ 486854 h 3192694"/>
              <a:gd name="connsiteX2036" fmla="*/ 6901478 w 8115305"/>
              <a:gd name="connsiteY2036" fmla="*/ 479791 h 3192694"/>
              <a:gd name="connsiteX2037" fmla="*/ 4073951 w 8115305"/>
              <a:gd name="connsiteY2037" fmla="*/ 478888 h 3192694"/>
              <a:gd name="connsiteX2038" fmla="*/ 4025422 w 8115305"/>
              <a:gd name="connsiteY2038" fmla="*/ 489209 h 3192694"/>
              <a:gd name="connsiteX2039" fmla="*/ 4049507 w 8115305"/>
              <a:gd name="connsiteY2039" fmla="*/ 496815 h 3192694"/>
              <a:gd name="connsiteX2040" fmla="*/ 4065442 w 8115305"/>
              <a:gd name="connsiteY2040" fmla="*/ 506049 h 3192694"/>
              <a:gd name="connsiteX2041" fmla="*/ 4114512 w 8115305"/>
              <a:gd name="connsiteY2041" fmla="*/ 491382 h 3192694"/>
              <a:gd name="connsiteX2042" fmla="*/ 5350368 w 8115305"/>
              <a:gd name="connsiteY2042" fmla="*/ 478345 h 3192694"/>
              <a:gd name="connsiteX2043" fmla="*/ 5442356 w 8115305"/>
              <a:gd name="connsiteY2043" fmla="*/ 496091 h 3192694"/>
              <a:gd name="connsiteX2044" fmla="*/ 5401794 w 8115305"/>
              <a:gd name="connsiteY2044" fmla="*/ 516009 h 3192694"/>
              <a:gd name="connsiteX2045" fmla="*/ 5306727 w 8115305"/>
              <a:gd name="connsiteY2045" fmla="*/ 496452 h 3192694"/>
              <a:gd name="connsiteX2046" fmla="*/ 5350368 w 8115305"/>
              <a:gd name="connsiteY2046" fmla="*/ 478345 h 3192694"/>
              <a:gd name="connsiteX2047" fmla="*/ 6718047 w 8115305"/>
              <a:gd name="connsiteY2047" fmla="*/ 474723 h 3192694"/>
              <a:gd name="connsiteX2048" fmla="*/ 6770197 w 8115305"/>
              <a:gd name="connsiteY2048" fmla="*/ 483053 h 3192694"/>
              <a:gd name="connsiteX2049" fmla="*/ 6762410 w 8115305"/>
              <a:gd name="connsiteY2049" fmla="*/ 491202 h 3192694"/>
              <a:gd name="connsiteX2050" fmla="*/ 6709899 w 8115305"/>
              <a:gd name="connsiteY2050" fmla="*/ 482690 h 3192694"/>
              <a:gd name="connsiteX2051" fmla="*/ 6718047 w 8115305"/>
              <a:gd name="connsiteY2051" fmla="*/ 474723 h 3192694"/>
              <a:gd name="connsiteX2052" fmla="*/ 3904825 w 8115305"/>
              <a:gd name="connsiteY2052" fmla="*/ 474179 h 3192694"/>
              <a:gd name="connsiteX2053" fmla="*/ 3851951 w 8115305"/>
              <a:gd name="connsiteY2053" fmla="*/ 484863 h 3192694"/>
              <a:gd name="connsiteX2054" fmla="*/ 3889976 w 8115305"/>
              <a:gd name="connsiteY2054" fmla="*/ 499169 h 3192694"/>
              <a:gd name="connsiteX2055" fmla="*/ 3941041 w 8115305"/>
              <a:gd name="connsiteY2055" fmla="*/ 486131 h 3192694"/>
              <a:gd name="connsiteX2056" fmla="*/ 5176353 w 8115305"/>
              <a:gd name="connsiteY2056" fmla="*/ 471102 h 3192694"/>
              <a:gd name="connsiteX2057" fmla="*/ 5269970 w 8115305"/>
              <a:gd name="connsiteY2057" fmla="*/ 491382 h 3192694"/>
              <a:gd name="connsiteX2058" fmla="*/ 5220356 w 8115305"/>
              <a:gd name="connsiteY2058" fmla="*/ 512207 h 3192694"/>
              <a:gd name="connsiteX2059" fmla="*/ 5124746 w 8115305"/>
              <a:gd name="connsiteY2059" fmla="*/ 491745 h 3192694"/>
              <a:gd name="connsiteX2060" fmla="*/ 5176353 w 8115305"/>
              <a:gd name="connsiteY2060" fmla="*/ 471102 h 3192694"/>
              <a:gd name="connsiteX2061" fmla="*/ 3303103 w 8115305"/>
              <a:gd name="connsiteY2061" fmla="*/ 471102 h 3192694"/>
              <a:gd name="connsiteX2062" fmla="*/ 3368471 w 8115305"/>
              <a:gd name="connsiteY2062" fmla="*/ 492650 h 3192694"/>
              <a:gd name="connsiteX2063" fmla="*/ 3273769 w 8115305"/>
              <a:gd name="connsiteY2063" fmla="*/ 515828 h 3192694"/>
              <a:gd name="connsiteX2064" fmla="*/ 3208943 w 8115305"/>
              <a:gd name="connsiteY2064" fmla="*/ 493374 h 3192694"/>
              <a:gd name="connsiteX2065" fmla="*/ 3303103 w 8115305"/>
              <a:gd name="connsiteY2065" fmla="*/ 471102 h 3192694"/>
              <a:gd name="connsiteX2066" fmla="*/ 3133617 w 8115305"/>
              <a:gd name="connsiteY2066" fmla="*/ 468566 h 3192694"/>
              <a:gd name="connsiteX2067" fmla="*/ 3188845 w 8115305"/>
              <a:gd name="connsiteY2067" fmla="*/ 489209 h 3192694"/>
              <a:gd name="connsiteX2068" fmla="*/ 3094685 w 8115305"/>
              <a:gd name="connsiteY2068" fmla="*/ 510395 h 3192694"/>
              <a:gd name="connsiteX2069" fmla="*/ 3040361 w 8115305"/>
              <a:gd name="connsiteY2069" fmla="*/ 488846 h 3192694"/>
              <a:gd name="connsiteX2070" fmla="*/ 3133617 w 8115305"/>
              <a:gd name="connsiteY2070" fmla="*/ 468566 h 3192694"/>
              <a:gd name="connsiteX2071" fmla="*/ 6536065 w 8115305"/>
              <a:gd name="connsiteY2071" fmla="*/ 468023 h 3192694"/>
              <a:gd name="connsiteX2072" fmla="*/ 6593466 w 8115305"/>
              <a:gd name="connsiteY2072" fmla="*/ 477801 h 3192694"/>
              <a:gd name="connsiteX2073" fmla="*/ 6583325 w 8115305"/>
              <a:gd name="connsiteY2073" fmla="*/ 487761 h 3192694"/>
              <a:gd name="connsiteX2074" fmla="*/ 6522483 w 8115305"/>
              <a:gd name="connsiteY2074" fmla="*/ 477801 h 3192694"/>
              <a:gd name="connsiteX2075" fmla="*/ 6536065 w 8115305"/>
              <a:gd name="connsiteY2075" fmla="*/ 468023 h 3192694"/>
              <a:gd name="connsiteX2076" fmla="*/ 5002336 w 8115305"/>
              <a:gd name="connsiteY2076" fmla="*/ 467480 h 3192694"/>
              <a:gd name="connsiteX2077" fmla="*/ 5097402 w 8115305"/>
              <a:gd name="connsiteY2077" fmla="*/ 487580 h 3192694"/>
              <a:gd name="connsiteX2078" fmla="*/ 5043985 w 8115305"/>
              <a:gd name="connsiteY2078" fmla="*/ 509309 h 3192694"/>
              <a:gd name="connsiteX2079" fmla="*/ 4948193 w 8115305"/>
              <a:gd name="connsiteY2079" fmla="*/ 488304 h 3192694"/>
              <a:gd name="connsiteX2080" fmla="*/ 5002336 w 8115305"/>
              <a:gd name="connsiteY2080" fmla="*/ 467480 h 3192694"/>
              <a:gd name="connsiteX2081" fmla="*/ 2968111 w 8115305"/>
              <a:gd name="connsiteY2081" fmla="*/ 466574 h 3192694"/>
              <a:gd name="connsiteX2082" fmla="*/ 3018993 w 8115305"/>
              <a:gd name="connsiteY2082" fmla="*/ 486131 h 3192694"/>
              <a:gd name="connsiteX2083" fmla="*/ 2926282 w 8115305"/>
              <a:gd name="connsiteY2083" fmla="*/ 506773 h 3192694"/>
              <a:gd name="connsiteX2084" fmla="*/ 2875217 w 8115305"/>
              <a:gd name="connsiteY2084" fmla="*/ 485768 h 3192694"/>
              <a:gd name="connsiteX2085" fmla="*/ 2968111 w 8115305"/>
              <a:gd name="connsiteY2085" fmla="*/ 466574 h 3192694"/>
              <a:gd name="connsiteX2086" fmla="*/ 6357340 w 8115305"/>
              <a:gd name="connsiteY2086" fmla="*/ 463315 h 3192694"/>
              <a:gd name="connsiteX2087" fmla="*/ 6422889 w 8115305"/>
              <a:gd name="connsiteY2087" fmla="*/ 474721 h 3192694"/>
              <a:gd name="connsiteX2088" fmla="*/ 6406774 w 8115305"/>
              <a:gd name="connsiteY2088" fmla="*/ 485768 h 3192694"/>
              <a:gd name="connsiteX2089" fmla="*/ 6339232 w 8115305"/>
              <a:gd name="connsiteY2089" fmla="*/ 473816 h 3192694"/>
              <a:gd name="connsiteX2090" fmla="*/ 6357340 w 8115305"/>
              <a:gd name="connsiteY2090" fmla="*/ 463315 h 3192694"/>
              <a:gd name="connsiteX2091" fmla="*/ 4835745 w 8115305"/>
              <a:gd name="connsiteY2091" fmla="*/ 463132 h 3192694"/>
              <a:gd name="connsiteX2092" fmla="*/ 4929181 w 8115305"/>
              <a:gd name="connsiteY2092" fmla="*/ 485405 h 3192694"/>
              <a:gd name="connsiteX2093" fmla="*/ 4865441 w 8115305"/>
              <a:gd name="connsiteY2093" fmla="*/ 507315 h 3192694"/>
              <a:gd name="connsiteX2094" fmla="*/ 4770376 w 8115305"/>
              <a:gd name="connsiteY2094" fmla="*/ 484500 h 3192694"/>
              <a:gd name="connsiteX2095" fmla="*/ 4835745 w 8115305"/>
              <a:gd name="connsiteY2095" fmla="*/ 463132 h 3192694"/>
              <a:gd name="connsiteX2096" fmla="*/ 2805886 w 8115305"/>
              <a:gd name="connsiteY2096" fmla="*/ 462771 h 3192694"/>
              <a:gd name="connsiteX2097" fmla="*/ 2849525 w 8115305"/>
              <a:gd name="connsiteY2097" fmla="*/ 480878 h 3192694"/>
              <a:gd name="connsiteX2098" fmla="*/ 2756994 w 8115305"/>
              <a:gd name="connsiteY2098" fmla="*/ 498986 h 3192694"/>
              <a:gd name="connsiteX2099" fmla="*/ 2716250 w 8115305"/>
              <a:gd name="connsiteY2099" fmla="*/ 479610 h 3192694"/>
              <a:gd name="connsiteX2100" fmla="*/ 2805886 w 8115305"/>
              <a:gd name="connsiteY2100" fmla="*/ 462771 h 3192694"/>
              <a:gd name="connsiteX2101" fmla="*/ 3735698 w 8115305"/>
              <a:gd name="connsiteY2101" fmla="*/ 462048 h 3192694"/>
              <a:gd name="connsiteX2102" fmla="*/ 3660733 w 8115305"/>
              <a:gd name="connsiteY2102" fmla="*/ 477983 h 3192694"/>
              <a:gd name="connsiteX2103" fmla="*/ 3717773 w 8115305"/>
              <a:gd name="connsiteY2103" fmla="*/ 499169 h 3192694"/>
              <a:gd name="connsiteX2104" fmla="*/ 3717590 w 8115305"/>
              <a:gd name="connsiteY2104" fmla="*/ 498444 h 3192694"/>
              <a:gd name="connsiteX2105" fmla="*/ 3782961 w 8115305"/>
              <a:gd name="connsiteY2105" fmla="*/ 481422 h 3192694"/>
              <a:gd name="connsiteX2106" fmla="*/ 3735698 w 8115305"/>
              <a:gd name="connsiteY2106" fmla="*/ 462048 h 3192694"/>
              <a:gd name="connsiteX2107" fmla="*/ 2639474 w 8115305"/>
              <a:gd name="connsiteY2107" fmla="*/ 460781 h 3192694"/>
              <a:gd name="connsiteX2108" fmla="*/ 2680217 w 8115305"/>
              <a:gd name="connsiteY2108" fmla="*/ 477620 h 3192694"/>
              <a:gd name="connsiteX2109" fmla="*/ 2593660 w 8115305"/>
              <a:gd name="connsiteY2109" fmla="*/ 495728 h 3192694"/>
              <a:gd name="connsiteX2110" fmla="*/ 2555636 w 8115305"/>
              <a:gd name="connsiteY2110" fmla="*/ 477620 h 3192694"/>
              <a:gd name="connsiteX2111" fmla="*/ 2639474 w 8115305"/>
              <a:gd name="connsiteY2111" fmla="*/ 460781 h 3192694"/>
              <a:gd name="connsiteX2112" fmla="*/ 3571643 w 8115305"/>
              <a:gd name="connsiteY2112" fmla="*/ 457520 h 3192694"/>
              <a:gd name="connsiteX2113" fmla="*/ 3472773 w 8115305"/>
              <a:gd name="connsiteY2113" fmla="*/ 475628 h 3192694"/>
              <a:gd name="connsiteX2114" fmla="*/ 3541946 w 8115305"/>
              <a:gd name="connsiteY2114" fmla="*/ 496633 h 3192694"/>
              <a:gd name="connsiteX2115" fmla="*/ 3576893 w 8115305"/>
              <a:gd name="connsiteY2115" fmla="*/ 485044 h 3192694"/>
              <a:gd name="connsiteX2116" fmla="*/ 3619628 w 8115305"/>
              <a:gd name="connsiteY2116" fmla="*/ 477439 h 3192694"/>
              <a:gd name="connsiteX2117" fmla="*/ 3571643 w 8115305"/>
              <a:gd name="connsiteY2117" fmla="*/ 457520 h 3192694"/>
              <a:gd name="connsiteX2118" fmla="*/ 6175901 w 8115305"/>
              <a:gd name="connsiteY2118" fmla="*/ 457157 h 3192694"/>
              <a:gd name="connsiteX2119" fmla="*/ 6248332 w 8115305"/>
              <a:gd name="connsiteY2119" fmla="*/ 469470 h 3192694"/>
              <a:gd name="connsiteX2120" fmla="*/ 6232217 w 8115305"/>
              <a:gd name="connsiteY2120" fmla="*/ 482146 h 3192694"/>
              <a:gd name="connsiteX2121" fmla="*/ 6159786 w 8115305"/>
              <a:gd name="connsiteY2121" fmla="*/ 470013 h 3192694"/>
              <a:gd name="connsiteX2122" fmla="*/ 6175901 w 8115305"/>
              <a:gd name="connsiteY2122" fmla="*/ 457157 h 3192694"/>
              <a:gd name="connsiteX2123" fmla="*/ 2481394 w 8115305"/>
              <a:gd name="connsiteY2123" fmla="*/ 456796 h 3192694"/>
              <a:gd name="connsiteX2124" fmla="*/ 2515619 w 8115305"/>
              <a:gd name="connsiteY2124" fmla="*/ 472911 h 3192694"/>
              <a:gd name="connsiteX2125" fmla="*/ 2430513 w 8115305"/>
              <a:gd name="connsiteY2125" fmla="*/ 489390 h 3192694"/>
              <a:gd name="connsiteX2126" fmla="*/ 2397195 w 8115305"/>
              <a:gd name="connsiteY2126" fmla="*/ 472731 h 3192694"/>
              <a:gd name="connsiteX2127" fmla="*/ 2481394 w 8115305"/>
              <a:gd name="connsiteY2127" fmla="*/ 456796 h 3192694"/>
              <a:gd name="connsiteX2128" fmla="*/ 2318607 w 8115305"/>
              <a:gd name="connsiteY2128" fmla="*/ 454804 h 3192694"/>
              <a:gd name="connsiteX2129" fmla="*/ 2348483 w 8115305"/>
              <a:gd name="connsiteY2129" fmla="*/ 469110 h 3192694"/>
              <a:gd name="connsiteX2130" fmla="*/ 2268267 w 8115305"/>
              <a:gd name="connsiteY2130" fmla="*/ 484683 h 3192694"/>
              <a:gd name="connsiteX2131" fmla="*/ 2239110 w 8115305"/>
              <a:gd name="connsiteY2131" fmla="*/ 469834 h 3192694"/>
              <a:gd name="connsiteX2132" fmla="*/ 2318607 w 8115305"/>
              <a:gd name="connsiteY2132" fmla="*/ 454804 h 3192694"/>
              <a:gd name="connsiteX2133" fmla="*/ 5996634 w 8115305"/>
              <a:gd name="connsiteY2133" fmla="*/ 452992 h 3192694"/>
              <a:gd name="connsiteX2134" fmla="*/ 6071057 w 8115305"/>
              <a:gd name="connsiteY2134" fmla="*/ 465849 h 3192694"/>
              <a:gd name="connsiteX2135" fmla="*/ 6048060 w 8115305"/>
              <a:gd name="connsiteY2135" fmla="*/ 479791 h 3192694"/>
              <a:gd name="connsiteX2136" fmla="*/ 5973819 w 8115305"/>
              <a:gd name="connsiteY2136" fmla="*/ 466212 h 3192694"/>
              <a:gd name="connsiteX2137" fmla="*/ 5996634 w 8115305"/>
              <a:gd name="connsiteY2137" fmla="*/ 452992 h 3192694"/>
              <a:gd name="connsiteX2138" fmla="*/ 2154188 w 8115305"/>
              <a:gd name="connsiteY2138" fmla="*/ 451364 h 3192694"/>
              <a:gd name="connsiteX2139" fmla="*/ 2178452 w 8115305"/>
              <a:gd name="connsiteY2139" fmla="*/ 464583 h 3192694"/>
              <a:gd name="connsiteX2140" fmla="*/ 2106020 w 8115305"/>
              <a:gd name="connsiteY2140" fmla="*/ 478164 h 3192694"/>
              <a:gd name="connsiteX2141" fmla="*/ 2081754 w 8115305"/>
              <a:gd name="connsiteY2141" fmla="*/ 464221 h 3192694"/>
              <a:gd name="connsiteX2142" fmla="*/ 2154188 w 8115305"/>
              <a:gd name="connsiteY2142" fmla="*/ 451364 h 3192694"/>
              <a:gd name="connsiteX2143" fmla="*/ 1994654 w 8115305"/>
              <a:gd name="connsiteY2143" fmla="*/ 449190 h 3192694"/>
              <a:gd name="connsiteX2144" fmla="*/ 2014031 w 8115305"/>
              <a:gd name="connsiteY2144" fmla="*/ 461503 h 3192694"/>
              <a:gd name="connsiteX2145" fmla="*/ 1942870 w 8115305"/>
              <a:gd name="connsiteY2145" fmla="*/ 473816 h 3192694"/>
              <a:gd name="connsiteX2146" fmla="*/ 1924217 w 8115305"/>
              <a:gd name="connsiteY2146" fmla="*/ 461142 h 3192694"/>
              <a:gd name="connsiteX2147" fmla="*/ 1994654 w 8115305"/>
              <a:gd name="connsiteY2147" fmla="*/ 449190 h 3192694"/>
              <a:gd name="connsiteX2148" fmla="*/ 5822075 w 8115305"/>
              <a:gd name="connsiteY2148" fmla="*/ 447017 h 3192694"/>
              <a:gd name="connsiteX2149" fmla="*/ 5900301 w 8115305"/>
              <a:gd name="connsiteY2149" fmla="*/ 461142 h 3192694"/>
              <a:gd name="connsiteX2150" fmla="*/ 5872777 w 8115305"/>
              <a:gd name="connsiteY2150" fmla="*/ 476172 h 3192694"/>
              <a:gd name="connsiteX2151" fmla="*/ 5793827 w 8115305"/>
              <a:gd name="connsiteY2151" fmla="*/ 461686 h 3192694"/>
              <a:gd name="connsiteX2152" fmla="*/ 5822075 w 8115305"/>
              <a:gd name="connsiteY2152" fmla="*/ 447017 h 3192694"/>
              <a:gd name="connsiteX2153" fmla="*/ 1835670 w 8115305"/>
              <a:gd name="connsiteY2153" fmla="*/ 445751 h 3192694"/>
              <a:gd name="connsiteX2154" fmla="*/ 1855226 w 8115305"/>
              <a:gd name="connsiteY2154" fmla="*/ 455710 h 3192694"/>
              <a:gd name="connsiteX2155" fmla="*/ 1790579 w 8115305"/>
              <a:gd name="connsiteY2155" fmla="*/ 467661 h 3192694"/>
              <a:gd name="connsiteX2156" fmla="*/ 1772474 w 8115305"/>
              <a:gd name="connsiteY2156" fmla="*/ 456435 h 3192694"/>
              <a:gd name="connsiteX2157" fmla="*/ 1835670 w 8115305"/>
              <a:gd name="connsiteY2157" fmla="*/ 445751 h 3192694"/>
              <a:gd name="connsiteX2158" fmla="*/ 1678132 w 8115305"/>
              <a:gd name="connsiteY2158" fmla="*/ 443939 h 3192694"/>
              <a:gd name="connsiteX2159" fmla="*/ 1689177 w 8115305"/>
              <a:gd name="connsiteY2159" fmla="*/ 453718 h 3192694"/>
              <a:gd name="connsiteX2160" fmla="*/ 1630690 w 8115305"/>
              <a:gd name="connsiteY2160" fmla="*/ 462771 h 3192694"/>
              <a:gd name="connsiteX2161" fmla="*/ 1620548 w 8115305"/>
              <a:gd name="connsiteY2161" fmla="*/ 453355 h 3192694"/>
              <a:gd name="connsiteX2162" fmla="*/ 1678132 w 8115305"/>
              <a:gd name="connsiteY2162" fmla="*/ 443939 h 3192694"/>
              <a:gd name="connsiteX2163" fmla="*/ 5652767 w 8115305"/>
              <a:gd name="connsiteY2163" fmla="*/ 442490 h 3192694"/>
              <a:gd name="connsiteX2164" fmla="*/ 5734794 w 8115305"/>
              <a:gd name="connsiteY2164" fmla="*/ 458425 h 3192694"/>
              <a:gd name="connsiteX2165" fmla="*/ 5700210 w 8115305"/>
              <a:gd name="connsiteY2165" fmla="*/ 474359 h 3192694"/>
              <a:gd name="connsiteX2166" fmla="*/ 5616551 w 8115305"/>
              <a:gd name="connsiteY2166" fmla="*/ 457700 h 3192694"/>
              <a:gd name="connsiteX2167" fmla="*/ 5652767 w 8115305"/>
              <a:gd name="connsiteY2167" fmla="*/ 442490 h 3192694"/>
              <a:gd name="connsiteX2168" fmla="*/ 1522587 w 8115305"/>
              <a:gd name="connsiteY2168" fmla="*/ 440861 h 3192694"/>
              <a:gd name="connsiteX2169" fmla="*/ 1530374 w 8115305"/>
              <a:gd name="connsiteY2169" fmla="*/ 449009 h 3192694"/>
              <a:gd name="connsiteX2170" fmla="*/ 1480211 w 8115305"/>
              <a:gd name="connsiteY2170" fmla="*/ 456433 h 3192694"/>
              <a:gd name="connsiteX2171" fmla="*/ 1473333 w 8115305"/>
              <a:gd name="connsiteY2171" fmla="*/ 448465 h 3192694"/>
              <a:gd name="connsiteX2172" fmla="*/ 1522587 w 8115305"/>
              <a:gd name="connsiteY2172" fmla="*/ 440861 h 3192694"/>
              <a:gd name="connsiteX2173" fmla="*/ 1362508 w 8115305"/>
              <a:gd name="connsiteY2173" fmla="*/ 439232 h 3192694"/>
              <a:gd name="connsiteX2174" fmla="*/ 1369027 w 8115305"/>
              <a:gd name="connsiteY2174" fmla="*/ 445751 h 3192694"/>
              <a:gd name="connsiteX2175" fmla="*/ 1330458 w 8115305"/>
              <a:gd name="connsiteY2175" fmla="*/ 451726 h 3192694"/>
              <a:gd name="connsiteX2176" fmla="*/ 1324120 w 8115305"/>
              <a:gd name="connsiteY2176" fmla="*/ 445207 h 3192694"/>
              <a:gd name="connsiteX2177" fmla="*/ 1362508 w 8115305"/>
              <a:gd name="connsiteY2177" fmla="*/ 439232 h 3192694"/>
              <a:gd name="connsiteX2178" fmla="*/ 4253580 w 8115305"/>
              <a:gd name="connsiteY2178" fmla="*/ 437059 h 3192694"/>
              <a:gd name="connsiteX2179" fmla="*/ 4212657 w 8115305"/>
              <a:gd name="connsiteY2179" fmla="*/ 447018 h 3192694"/>
              <a:gd name="connsiteX2180" fmla="*/ 4248873 w 8115305"/>
              <a:gd name="connsiteY2180" fmla="*/ 458064 h 3192694"/>
              <a:gd name="connsiteX2181" fmla="*/ 4292693 w 8115305"/>
              <a:gd name="connsiteY2181" fmla="*/ 448104 h 3192694"/>
              <a:gd name="connsiteX2182" fmla="*/ 4082462 w 8115305"/>
              <a:gd name="connsiteY2182" fmla="*/ 436515 h 3192694"/>
              <a:gd name="connsiteX2183" fmla="*/ 4053309 w 8115305"/>
              <a:gd name="connsiteY2183" fmla="*/ 443034 h 3192694"/>
              <a:gd name="connsiteX2184" fmla="*/ 4082281 w 8115305"/>
              <a:gd name="connsiteY2184" fmla="*/ 452993 h 3192694"/>
              <a:gd name="connsiteX2185" fmla="*/ 4116143 w 8115305"/>
              <a:gd name="connsiteY2185" fmla="*/ 445207 h 3192694"/>
              <a:gd name="connsiteX2186" fmla="*/ 5480924 w 8115305"/>
              <a:gd name="connsiteY2186" fmla="*/ 435973 h 3192694"/>
              <a:gd name="connsiteX2187" fmla="*/ 5565488 w 8115305"/>
              <a:gd name="connsiteY2187" fmla="*/ 452993 h 3192694"/>
              <a:gd name="connsiteX2188" fmla="*/ 5527280 w 8115305"/>
              <a:gd name="connsiteY2188" fmla="*/ 469833 h 3192694"/>
              <a:gd name="connsiteX2189" fmla="*/ 5440000 w 8115305"/>
              <a:gd name="connsiteY2189" fmla="*/ 451725 h 3192694"/>
              <a:gd name="connsiteX2190" fmla="*/ 5480924 w 8115305"/>
              <a:gd name="connsiteY2190" fmla="*/ 435973 h 3192694"/>
              <a:gd name="connsiteX2191" fmla="*/ 6794280 w 8115305"/>
              <a:gd name="connsiteY2191" fmla="*/ 434706 h 3192694"/>
              <a:gd name="connsiteX2192" fmla="*/ 6835022 w 8115305"/>
              <a:gd name="connsiteY2192" fmla="*/ 441044 h 3192694"/>
              <a:gd name="connsiteX2193" fmla="*/ 6827599 w 8115305"/>
              <a:gd name="connsiteY2193" fmla="*/ 446839 h 3192694"/>
              <a:gd name="connsiteX2194" fmla="*/ 6789029 w 8115305"/>
              <a:gd name="connsiteY2194" fmla="*/ 440681 h 3192694"/>
              <a:gd name="connsiteX2195" fmla="*/ 6794280 w 8115305"/>
              <a:gd name="connsiteY2195" fmla="*/ 434706 h 3192694"/>
              <a:gd name="connsiteX2196" fmla="*/ 5311075 w 8115305"/>
              <a:gd name="connsiteY2196" fmla="*/ 431808 h 3192694"/>
              <a:gd name="connsiteX2197" fmla="*/ 5398716 w 8115305"/>
              <a:gd name="connsiteY2197" fmla="*/ 449916 h 3192694"/>
              <a:gd name="connsiteX2198" fmla="*/ 5358696 w 8115305"/>
              <a:gd name="connsiteY2198" fmla="*/ 468024 h 3192694"/>
              <a:gd name="connsiteX2199" fmla="*/ 5268158 w 8115305"/>
              <a:gd name="connsiteY2199" fmla="*/ 449916 h 3192694"/>
              <a:gd name="connsiteX2200" fmla="*/ 5311075 w 8115305"/>
              <a:gd name="connsiteY2200" fmla="*/ 431808 h 3192694"/>
              <a:gd name="connsiteX2201" fmla="*/ 3919131 w 8115305"/>
              <a:gd name="connsiteY2201" fmla="*/ 431627 h 3192694"/>
              <a:gd name="connsiteX2202" fmla="*/ 3881647 w 8115305"/>
              <a:gd name="connsiteY2202" fmla="*/ 438870 h 3192694"/>
              <a:gd name="connsiteX2203" fmla="*/ 3912612 w 8115305"/>
              <a:gd name="connsiteY2203" fmla="*/ 448828 h 3192694"/>
              <a:gd name="connsiteX2204" fmla="*/ 3946472 w 8115305"/>
              <a:gd name="connsiteY2204" fmla="*/ 440319 h 3192694"/>
              <a:gd name="connsiteX2205" fmla="*/ 6616282 w 8115305"/>
              <a:gd name="connsiteY2205" fmla="*/ 428548 h 3192694"/>
              <a:gd name="connsiteX2206" fmla="*/ 6665352 w 8115305"/>
              <a:gd name="connsiteY2206" fmla="*/ 436335 h 3192694"/>
              <a:gd name="connsiteX2207" fmla="*/ 6657024 w 8115305"/>
              <a:gd name="connsiteY2207" fmla="*/ 443759 h 3192694"/>
              <a:gd name="connsiteX2208" fmla="*/ 6607771 w 8115305"/>
              <a:gd name="connsiteY2208" fmla="*/ 435972 h 3192694"/>
              <a:gd name="connsiteX2209" fmla="*/ 6616282 w 8115305"/>
              <a:gd name="connsiteY2209" fmla="*/ 428548 h 3192694"/>
              <a:gd name="connsiteX2210" fmla="*/ 5148103 w 8115305"/>
              <a:gd name="connsiteY2210" fmla="*/ 426736 h 3192694"/>
              <a:gd name="connsiteX2211" fmla="*/ 5235203 w 8115305"/>
              <a:gd name="connsiteY2211" fmla="*/ 444844 h 3192694"/>
              <a:gd name="connsiteX2212" fmla="*/ 5181965 w 8115305"/>
              <a:gd name="connsiteY2212" fmla="*/ 462952 h 3192694"/>
              <a:gd name="connsiteX2213" fmla="*/ 5093780 w 8115305"/>
              <a:gd name="connsiteY2213" fmla="*/ 444844 h 3192694"/>
              <a:gd name="connsiteX2214" fmla="*/ 5148103 w 8115305"/>
              <a:gd name="connsiteY2214" fmla="*/ 426736 h 3192694"/>
              <a:gd name="connsiteX2215" fmla="*/ 3348916 w 8115305"/>
              <a:gd name="connsiteY2215" fmla="*/ 426736 h 3192694"/>
              <a:gd name="connsiteX2216" fmla="*/ 3409939 w 8115305"/>
              <a:gd name="connsiteY2216" fmla="*/ 447016 h 3192694"/>
              <a:gd name="connsiteX2217" fmla="*/ 3316685 w 8115305"/>
              <a:gd name="connsiteY2217" fmla="*/ 468021 h 3192694"/>
              <a:gd name="connsiteX2218" fmla="*/ 3256384 w 8115305"/>
              <a:gd name="connsiteY2218" fmla="*/ 447016 h 3192694"/>
              <a:gd name="connsiteX2219" fmla="*/ 3348916 w 8115305"/>
              <a:gd name="connsiteY2219" fmla="*/ 426736 h 3192694"/>
              <a:gd name="connsiteX2220" fmla="*/ 3190655 w 8115305"/>
              <a:gd name="connsiteY2220" fmla="*/ 425468 h 3192694"/>
              <a:gd name="connsiteX2221" fmla="*/ 3246065 w 8115305"/>
              <a:gd name="connsiteY2221" fmla="*/ 444663 h 3192694"/>
              <a:gd name="connsiteX2222" fmla="*/ 3153897 w 8115305"/>
              <a:gd name="connsiteY2222" fmla="*/ 464039 h 3192694"/>
              <a:gd name="connsiteX2223" fmla="*/ 3098487 w 8115305"/>
              <a:gd name="connsiteY2223" fmla="*/ 443576 h 3192694"/>
              <a:gd name="connsiteX2224" fmla="*/ 3190655 w 8115305"/>
              <a:gd name="connsiteY2224" fmla="*/ 425468 h 3192694"/>
              <a:gd name="connsiteX2225" fmla="*/ 3759783 w 8115305"/>
              <a:gd name="connsiteY2225" fmla="*/ 425289 h 3192694"/>
              <a:gd name="connsiteX2226" fmla="*/ 3704011 w 8115305"/>
              <a:gd name="connsiteY2226" fmla="*/ 434886 h 3192694"/>
              <a:gd name="connsiteX2227" fmla="*/ 3743848 w 8115305"/>
              <a:gd name="connsiteY2227" fmla="*/ 450820 h 3192694"/>
              <a:gd name="connsiteX2228" fmla="*/ 3794006 w 8115305"/>
              <a:gd name="connsiteY2228" fmla="*/ 437422 h 3192694"/>
              <a:gd name="connsiteX2229" fmla="*/ 6440997 w 8115305"/>
              <a:gd name="connsiteY2229" fmla="*/ 424202 h 3192694"/>
              <a:gd name="connsiteX2230" fmla="*/ 6494959 w 8115305"/>
              <a:gd name="connsiteY2230" fmla="*/ 433074 h 3192694"/>
              <a:gd name="connsiteX2231" fmla="*/ 6481741 w 8115305"/>
              <a:gd name="connsiteY2231" fmla="*/ 442129 h 3192694"/>
              <a:gd name="connsiteX2232" fmla="*/ 6427418 w 8115305"/>
              <a:gd name="connsiteY2232" fmla="*/ 433074 h 3192694"/>
              <a:gd name="connsiteX2233" fmla="*/ 6440997 w 8115305"/>
              <a:gd name="connsiteY2233" fmla="*/ 424202 h 3192694"/>
              <a:gd name="connsiteX2234" fmla="*/ 4973727 w 8115305"/>
              <a:gd name="connsiteY2234" fmla="*/ 423658 h 3192694"/>
              <a:gd name="connsiteX2235" fmla="*/ 5065532 w 8115305"/>
              <a:gd name="connsiteY2235" fmla="*/ 443395 h 3192694"/>
              <a:gd name="connsiteX2236" fmla="*/ 5010304 w 8115305"/>
              <a:gd name="connsiteY2236" fmla="*/ 462410 h 3192694"/>
              <a:gd name="connsiteX2237" fmla="*/ 4917773 w 8115305"/>
              <a:gd name="connsiteY2237" fmla="*/ 441766 h 3192694"/>
              <a:gd name="connsiteX2238" fmla="*/ 4973727 w 8115305"/>
              <a:gd name="connsiteY2238" fmla="*/ 423658 h 3192694"/>
              <a:gd name="connsiteX2239" fmla="*/ 3032575 w 8115305"/>
              <a:gd name="connsiteY2239" fmla="*/ 421849 h 3192694"/>
              <a:gd name="connsiteX2240" fmla="*/ 3083277 w 8115305"/>
              <a:gd name="connsiteY2240" fmla="*/ 439956 h 3192694"/>
              <a:gd name="connsiteX2241" fmla="*/ 2994549 w 8115305"/>
              <a:gd name="connsiteY2241" fmla="*/ 458064 h 3192694"/>
              <a:gd name="connsiteX2242" fmla="*/ 2943667 w 8115305"/>
              <a:gd name="connsiteY2242" fmla="*/ 439956 h 3192694"/>
              <a:gd name="connsiteX2243" fmla="*/ 3032575 w 8115305"/>
              <a:gd name="connsiteY2243" fmla="*/ 421849 h 3192694"/>
              <a:gd name="connsiteX2244" fmla="*/ 6264267 w 8115305"/>
              <a:gd name="connsiteY2244" fmla="*/ 418227 h 3192694"/>
              <a:gd name="connsiteX2245" fmla="*/ 6327826 w 8115305"/>
              <a:gd name="connsiteY2245" fmla="*/ 428728 h 3192694"/>
              <a:gd name="connsiteX2246" fmla="*/ 6311528 w 8115305"/>
              <a:gd name="connsiteY2246" fmla="*/ 438871 h 3192694"/>
              <a:gd name="connsiteX2247" fmla="*/ 6249600 w 8115305"/>
              <a:gd name="connsiteY2247" fmla="*/ 428548 h 3192694"/>
              <a:gd name="connsiteX2248" fmla="*/ 6264267 w 8115305"/>
              <a:gd name="connsiteY2248" fmla="*/ 418227 h 3192694"/>
              <a:gd name="connsiteX2249" fmla="*/ 2876122 w 8115305"/>
              <a:gd name="connsiteY2249" fmla="*/ 418045 h 3192694"/>
              <a:gd name="connsiteX2250" fmla="*/ 2920488 w 8115305"/>
              <a:gd name="connsiteY2250" fmla="*/ 434704 h 3192694"/>
              <a:gd name="connsiteX2251" fmla="*/ 2834856 w 8115305"/>
              <a:gd name="connsiteY2251" fmla="*/ 452992 h 3192694"/>
              <a:gd name="connsiteX2252" fmla="*/ 2790313 w 8115305"/>
              <a:gd name="connsiteY2252" fmla="*/ 434884 h 3192694"/>
              <a:gd name="connsiteX2253" fmla="*/ 2876122 w 8115305"/>
              <a:gd name="connsiteY2253" fmla="*/ 418045 h 3192694"/>
              <a:gd name="connsiteX2254" fmla="*/ 4808040 w 8115305"/>
              <a:gd name="connsiteY2254" fmla="*/ 417864 h 3192694"/>
              <a:gd name="connsiteX2255" fmla="*/ 4900751 w 8115305"/>
              <a:gd name="connsiteY2255" fmla="*/ 437783 h 3192694"/>
              <a:gd name="connsiteX2256" fmla="*/ 4842263 w 8115305"/>
              <a:gd name="connsiteY2256" fmla="*/ 458245 h 3192694"/>
              <a:gd name="connsiteX2257" fmla="*/ 4748827 w 8115305"/>
              <a:gd name="connsiteY2257" fmla="*/ 437603 h 3192694"/>
              <a:gd name="connsiteX2258" fmla="*/ 4808040 w 8115305"/>
              <a:gd name="connsiteY2258" fmla="*/ 417864 h 3192694"/>
              <a:gd name="connsiteX2259" fmla="*/ 3605322 w 8115305"/>
              <a:gd name="connsiteY2259" fmla="*/ 416054 h 3192694"/>
              <a:gd name="connsiteX2260" fmla="*/ 3528917 w 8115305"/>
              <a:gd name="connsiteY2260" fmla="*/ 430313 h 3192694"/>
              <a:gd name="connsiteX2261" fmla="*/ 3526735 w 8115305"/>
              <a:gd name="connsiteY2261" fmla="*/ 429996 h 3192694"/>
              <a:gd name="connsiteX2262" fmla="*/ 3526735 w 8115305"/>
              <a:gd name="connsiteY2262" fmla="*/ 430720 h 3192694"/>
              <a:gd name="connsiteX2263" fmla="*/ 3528917 w 8115305"/>
              <a:gd name="connsiteY2263" fmla="*/ 430313 h 3192694"/>
              <a:gd name="connsiteX2264" fmla="*/ 3554814 w 8115305"/>
              <a:gd name="connsiteY2264" fmla="*/ 434077 h 3192694"/>
              <a:gd name="connsiteX2265" fmla="*/ 3579971 w 8115305"/>
              <a:gd name="connsiteY2265" fmla="*/ 447199 h 3192694"/>
              <a:gd name="connsiteX2266" fmla="*/ 3647151 w 8115305"/>
              <a:gd name="connsiteY2266" fmla="*/ 431808 h 3192694"/>
              <a:gd name="connsiteX2267" fmla="*/ 3621620 w 8115305"/>
              <a:gd name="connsiteY2267" fmla="*/ 425108 h 3192694"/>
              <a:gd name="connsiteX2268" fmla="*/ 3605322 w 8115305"/>
              <a:gd name="connsiteY2268" fmla="*/ 416054 h 3192694"/>
              <a:gd name="connsiteX2269" fmla="*/ 2715889 w 8115305"/>
              <a:gd name="connsiteY2269" fmla="*/ 415512 h 3192694"/>
              <a:gd name="connsiteX2270" fmla="*/ 2754095 w 8115305"/>
              <a:gd name="connsiteY2270" fmla="*/ 431627 h 3192694"/>
              <a:gd name="connsiteX2271" fmla="*/ 2668447 w 8115305"/>
              <a:gd name="connsiteY2271" fmla="*/ 448104 h 3192694"/>
              <a:gd name="connsiteX2272" fmla="*/ 2630783 w 8115305"/>
              <a:gd name="connsiteY2272" fmla="*/ 431446 h 3192694"/>
              <a:gd name="connsiteX2273" fmla="*/ 2715889 w 8115305"/>
              <a:gd name="connsiteY2273" fmla="*/ 415512 h 3192694"/>
              <a:gd name="connsiteX2274" fmla="*/ 6101659 w 8115305"/>
              <a:gd name="connsiteY2274" fmla="*/ 414242 h 3192694"/>
              <a:gd name="connsiteX2275" fmla="*/ 6166666 w 8115305"/>
              <a:gd name="connsiteY2275" fmla="*/ 425831 h 3192694"/>
              <a:gd name="connsiteX2276" fmla="*/ 6143850 w 8115305"/>
              <a:gd name="connsiteY2276" fmla="*/ 436878 h 3192694"/>
              <a:gd name="connsiteX2277" fmla="*/ 6077032 w 8115305"/>
              <a:gd name="connsiteY2277" fmla="*/ 424746 h 3192694"/>
              <a:gd name="connsiteX2278" fmla="*/ 6101659 w 8115305"/>
              <a:gd name="connsiteY2278" fmla="*/ 414242 h 3192694"/>
              <a:gd name="connsiteX2279" fmla="*/ 2561976 w 8115305"/>
              <a:gd name="connsiteY2279" fmla="*/ 413700 h 3192694"/>
              <a:gd name="connsiteX2280" fmla="*/ 2591666 w 8115305"/>
              <a:gd name="connsiteY2280" fmla="*/ 429272 h 3192694"/>
              <a:gd name="connsiteX2281" fmla="*/ 2510006 w 8115305"/>
              <a:gd name="connsiteY2281" fmla="*/ 443758 h 3192694"/>
              <a:gd name="connsiteX2282" fmla="*/ 2479222 w 8115305"/>
              <a:gd name="connsiteY2282" fmla="*/ 428006 h 3192694"/>
              <a:gd name="connsiteX2283" fmla="*/ 2561976 w 8115305"/>
              <a:gd name="connsiteY2283" fmla="*/ 413700 h 3192694"/>
              <a:gd name="connsiteX2284" fmla="*/ 2407154 w 8115305"/>
              <a:gd name="connsiteY2284" fmla="*/ 410440 h 3192694"/>
              <a:gd name="connsiteX2285" fmla="*/ 2433408 w 8115305"/>
              <a:gd name="connsiteY2285" fmla="*/ 424563 h 3192694"/>
              <a:gd name="connsiteX2286" fmla="*/ 2356814 w 8115305"/>
              <a:gd name="connsiteY2286" fmla="*/ 437782 h 3192694"/>
              <a:gd name="connsiteX2287" fmla="*/ 2331282 w 8115305"/>
              <a:gd name="connsiteY2287" fmla="*/ 423295 h 3192694"/>
              <a:gd name="connsiteX2288" fmla="*/ 2407154 w 8115305"/>
              <a:gd name="connsiteY2288" fmla="*/ 410440 h 3192694"/>
              <a:gd name="connsiteX2289" fmla="*/ 5929997 w 8115305"/>
              <a:gd name="connsiteY2289" fmla="*/ 408992 h 3192694"/>
              <a:gd name="connsiteX2290" fmla="*/ 5999531 w 8115305"/>
              <a:gd name="connsiteY2290" fmla="*/ 421124 h 3192694"/>
              <a:gd name="connsiteX2291" fmla="*/ 5975628 w 8115305"/>
              <a:gd name="connsiteY2291" fmla="*/ 433257 h 3192694"/>
              <a:gd name="connsiteX2292" fmla="*/ 5905551 w 8115305"/>
              <a:gd name="connsiteY2292" fmla="*/ 420763 h 3192694"/>
              <a:gd name="connsiteX2293" fmla="*/ 5929997 w 8115305"/>
              <a:gd name="connsiteY2293" fmla="*/ 408992 h 3192694"/>
              <a:gd name="connsiteX2294" fmla="*/ 2250701 w 8115305"/>
              <a:gd name="connsiteY2294" fmla="*/ 408628 h 3192694"/>
              <a:gd name="connsiteX2295" fmla="*/ 2274242 w 8115305"/>
              <a:gd name="connsiteY2295" fmla="*/ 421485 h 3192694"/>
              <a:gd name="connsiteX2296" fmla="*/ 2203982 w 8115305"/>
              <a:gd name="connsiteY2296" fmla="*/ 433436 h 3192694"/>
              <a:gd name="connsiteX2297" fmla="*/ 2181163 w 8115305"/>
              <a:gd name="connsiteY2297" fmla="*/ 420398 h 3192694"/>
              <a:gd name="connsiteX2298" fmla="*/ 2250701 w 8115305"/>
              <a:gd name="connsiteY2298" fmla="*/ 408628 h 3192694"/>
              <a:gd name="connsiteX2299" fmla="*/ 2098777 w 8115305"/>
              <a:gd name="connsiteY2299" fmla="*/ 406457 h 3192694"/>
              <a:gd name="connsiteX2300" fmla="*/ 2117609 w 8115305"/>
              <a:gd name="connsiteY2300" fmla="*/ 418410 h 3192694"/>
              <a:gd name="connsiteX2301" fmla="*/ 2047712 w 8115305"/>
              <a:gd name="connsiteY2301" fmla="*/ 429635 h 3192694"/>
              <a:gd name="connsiteX2302" fmla="*/ 2029604 w 8115305"/>
              <a:gd name="connsiteY2302" fmla="*/ 417685 h 3192694"/>
              <a:gd name="connsiteX2303" fmla="*/ 2098777 w 8115305"/>
              <a:gd name="connsiteY2303" fmla="*/ 406457 h 3192694"/>
              <a:gd name="connsiteX2304" fmla="*/ 5765396 w 8115305"/>
              <a:gd name="connsiteY2304" fmla="*/ 404826 h 3192694"/>
              <a:gd name="connsiteX2305" fmla="*/ 5838734 w 8115305"/>
              <a:gd name="connsiteY2305" fmla="*/ 418045 h 3192694"/>
              <a:gd name="connsiteX2306" fmla="*/ 5810123 w 8115305"/>
              <a:gd name="connsiteY2306" fmla="*/ 431445 h 3192694"/>
              <a:gd name="connsiteX2307" fmla="*/ 5736243 w 8115305"/>
              <a:gd name="connsiteY2307" fmla="*/ 418045 h 3192694"/>
              <a:gd name="connsiteX2308" fmla="*/ 5765396 w 8115305"/>
              <a:gd name="connsiteY2308" fmla="*/ 404826 h 3192694"/>
              <a:gd name="connsiteX2309" fmla="*/ 1945403 w 8115305"/>
              <a:gd name="connsiteY2309" fmla="*/ 403378 h 3192694"/>
              <a:gd name="connsiteX2310" fmla="*/ 1963509 w 8115305"/>
              <a:gd name="connsiteY2310" fmla="*/ 413518 h 3192694"/>
              <a:gd name="connsiteX2311" fmla="*/ 1901400 w 8115305"/>
              <a:gd name="connsiteY2311" fmla="*/ 423839 h 3192694"/>
              <a:gd name="connsiteX2312" fmla="*/ 1884198 w 8115305"/>
              <a:gd name="connsiteY2312" fmla="*/ 413881 h 3192694"/>
              <a:gd name="connsiteX2313" fmla="*/ 1945403 w 8115305"/>
              <a:gd name="connsiteY2313" fmla="*/ 403378 h 3192694"/>
              <a:gd name="connsiteX2314" fmla="*/ 1787142 w 8115305"/>
              <a:gd name="connsiteY2314" fmla="*/ 401929 h 3192694"/>
              <a:gd name="connsiteX2315" fmla="*/ 1800543 w 8115305"/>
              <a:gd name="connsiteY2315" fmla="*/ 410620 h 3192694"/>
              <a:gd name="connsiteX2316" fmla="*/ 1746218 w 8115305"/>
              <a:gd name="connsiteY2316" fmla="*/ 419493 h 3192694"/>
              <a:gd name="connsiteX2317" fmla="*/ 1734811 w 8115305"/>
              <a:gd name="connsiteY2317" fmla="*/ 410259 h 3192694"/>
              <a:gd name="connsiteX2318" fmla="*/ 1787142 w 8115305"/>
              <a:gd name="connsiteY2318" fmla="*/ 401929 h 3192694"/>
              <a:gd name="connsiteX2319" fmla="*/ 5598987 w 8115305"/>
              <a:gd name="connsiteY2319" fmla="*/ 400663 h 3192694"/>
              <a:gd name="connsiteX2320" fmla="*/ 5679024 w 8115305"/>
              <a:gd name="connsiteY2320" fmla="*/ 414967 h 3192694"/>
              <a:gd name="connsiteX2321" fmla="*/ 5647155 w 8115305"/>
              <a:gd name="connsiteY2321" fmla="*/ 429816 h 3192694"/>
              <a:gd name="connsiteX2322" fmla="*/ 5567298 w 8115305"/>
              <a:gd name="connsiteY2322" fmla="*/ 414786 h 3192694"/>
              <a:gd name="connsiteX2323" fmla="*/ 5598987 w 8115305"/>
              <a:gd name="connsiteY2323" fmla="*/ 400663 h 3192694"/>
              <a:gd name="connsiteX2324" fmla="*/ 1639742 w 8115305"/>
              <a:gd name="connsiteY2324" fmla="*/ 398671 h 3192694"/>
              <a:gd name="connsiteX2325" fmla="*/ 1648074 w 8115305"/>
              <a:gd name="connsiteY2325" fmla="*/ 406094 h 3192694"/>
              <a:gd name="connsiteX2326" fmla="*/ 1600449 w 8115305"/>
              <a:gd name="connsiteY2326" fmla="*/ 413520 h 3192694"/>
              <a:gd name="connsiteX2327" fmla="*/ 1592483 w 8115305"/>
              <a:gd name="connsiteY2327" fmla="*/ 405914 h 3192694"/>
              <a:gd name="connsiteX2328" fmla="*/ 1639742 w 8115305"/>
              <a:gd name="connsiteY2328" fmla="*/ 398671 h 3192694"/>
              <a:gd name="connsiteX2329" fmla="*/ 1484736 w 8115305"/>
              <a:gd name="connsiteY2329" fmla="*/ 397583 h 3192694"/>
              <a:gd name="connsiteX2330" fmla="*/ 1492884 w 8115305"/>
              <a:gd name="connsiteY2330" fmla="*/ 403197 h 3192694"/>
              <a:gd name="connsiteX2331" fmla="*/ 1454312 w 8115305"/>
              <a:gd name="connsiteY2331" fmla="*/ 409173 h 3192694"/>
              <a:gd name="connsiteX2332" fmla="*/ 1448519 w 8115305"/>
              <a:gd name="connsiteY2332" fmla="*/ 403015 h 3192694"/>
              <a:gd name="connsiteX2333" fmla="*/ 1484736 w 8115305"/>
              <a:gd name="connsiteY2333" fmla="*/ 397583 h 3192694"/>
              <a:gd name="connsiteX2334" fmla="*/ 4414559 w 8115305"/>
              <a:gd name="connsiteY2334" fmla="*/ 397402 h 3192694"/>
              <a:gd name="connsiteX2335" fmla="*/ 4376171 w 8115305"/>
              <a:gd name="connsiteY2335" fmla="*/ 407362 h 3192694"/>
              <a:gd name="connsiteX2336" fmla="*/ 4416913 w 8115305"/>
              <a:gd name="connsiteY2336" fmla="*/ 418951 h 3192694"/>
              <a:gd name="connsiteX2337" fmla="*/ 4463269 w 8115305"/>
              <a:gd name="connsiteY2337" fmla="*/ 408810 h 3192694"/>
              <a:gd name="connsiteX2338" fmla="*/ 4568837 w 8115305"/>
              <a:gd name="connsiteY2338" fmla="*/ 395592 h 3192694"/>
              <a:gd name="connsiteX2339" fmla="*/ 4517229 w 8115305"/>
              <a:gd name="connsiteY2339" fmla="*/ 409898 h 3192694"/>
              <a:gd name="connsiteX2340" fmla="*/ 4579520 w 8115305"/>
              <a:gd name="connsiteY2340" fmla="*/ 428006 h 3192694"/>
              <a:gd name="connsiteX2341" fmla="*/ 4640362 w 8115305"/>
              <a:gd name="connsiteY2341" fmla="*/ 412613 h 3192694"/>
              <a:gd name="connsiteX2342" fmla="*/ 4568837 w 8115305"/>
              <a:gd name="connsiteY2342" fmla="*/ 395592 h 3192694"/>
              <a:gd name="connsiteX2343" fmla="*/ 4256840 w 8115305"/>
              <a:gd name="connsiteY2343" fmla="*/ 395592 h 3192694"/>
              <a:gd name="connsiteX2344" fmla="*/ 4227324 w 8115305"/>
              <a:gd name="connsiteY2344" fmla="*/ 403016 h 3192694"/>
              <a:gd name="connsiteX2345" fmla="*/ 4257926 w 8115305"/>
              <a:gd name="connsiteY2345" fmla="*/ 413337 h 3192694"/>
              <a:gd name="connsiteX2346" fmla="*/ 4294141 w 8115305"/>
              <a:gd name="connsiteY2346" fmla="*/ 405552 h 3192694"/>
              <a:gd name="connsiteX2347" fmla="*/ 5430766 w 8115305"/>
              <a:gd name="connsiteY2347" fmla="*/ 395412 h 3192694"/>
              <a:gd name="connsiteX2348" fmla="*/ 5512070 w 8115305"/>
              <a:gd name="connsiteY2348" fmla="*/ 410623 h 3192694"/>
              <a:gd name="connsiteX2349" fmla="*/ 5475854 w 8115305"/>
              <a:gd name="connsiteY2349" fmla="*/ 426195 h 3192694"/>
              <a:gd name="connsiteX2350" fmla="*/ 5392197 w 8115305"/>
              <a:gd name="connsiteY2350" fmla="*/ 410260 h 3192694"/>
              <a:gd name="connsiteX2351" fmla="*/ 5430766 w 8115305"/>
              <a:gd name="connsiteY2351" fmla="*/ 395412 h 3192694"/>
              <a:gd name="connsiteX2352" fmla="*/ 1337873 w 8115305"/>
              <a:gd name="connsiteY2352" fmla="*/ 394505 h 3192694"/>
              <a:gd name="connsiteX2353" fmla="*/ 1341856 w 8115305"/>
              <a:gd name="connsiteY2353" fmla="*/ 398670 h 3192694"/>
              <a:gd name="connsiteX2354" fmla="*/ 1314332 w 8115305"/>
              <a:gd name="connsiteY2354" fmla="*/ 402836 h 3192694"/>
              <a:gd name="connsiteX2355" fmla="*/ 1310168 w 8115305"/>
              <a:gd name="connsiteY2355" fmla="*/ 398307 h 3192694"/>
              <a:gd name="connsiteX2356" fmla="*/ 1337873 w 8115305"/>
              <a:gd name="connsiteY2356" fmla="*/ 394505 h 3192694"/>
              <a:gd name="connsiteX2357" fmla="*/ 6691608 w 8115305"/>
              <a:gd name="connsiteY2357" fmla="*/ 393781 h 3192694"/>
              <a:gd name="connsiteX2358" fmla="*/ 6728004 w 8115305"/>
              <a:gd name="connsiteY2358" fmla="*/ 398670 h 3192694"/>
              <a:gd name="connsiteX2359" fmla="*/ 6723478 w 8115305"/>
              <a:gd name="connsiteY2359" fmla="*/ 404465 h 3192694"/>
              <a:gd name="connsiteX2360" fmla="*/ 6689254 w 8115305"/>
              <a:gd name="connsiteY2360" fmla="*/ 399756 h 3192694"/>
              <a:gd name="connsiteX2361" fmla="*/ 6691608 w 8115305"/>
              <a:gd name="connsiteY2361" fmla="*/ 393781 h 3192694"/>
              <a:gd name="connsiteX2362" fmla="*/ 4100570 w 8115305"/>
              <a:gd name="connsiteY2362" fmla="*/ 393600 h 3192694"/>
              <a:gd name="connsiteX2363" fmla="*/ 4071054 w 8115305"/>
              <a:gd name="connsiteY2363" fmla="*/ 400482 h 3192694"/>
              <a:gd name="connsiteX2364" fmla="*/ 4092059 w 8115305"/>
              <a:gd name="connsiteY2364" fmla="*/ 406457 h 3192694"/>
              <a:gd name="connsiteX2365" fmla="*/ 4121031 w 8115305"/>
              <a:gd name="connsiteY2365" fmla="*/ 400119 h 3192694"/>
              <a:gd name="connsiteX2366" fmla="*/ 5272323 w 8115305"/>
              <a:gd name="connsiteY2366" fmla="*/ 391789 h 3192694"/>
              <a:gd name="connsiteX2367" fmla="*/ 5353809 w 8115305"/>
              <a:gd name="connsiteY2367" fmla="*/ 408087 h 3192694"/>
              <a:gd name="connsiteX2368" fmla="*/ 5311436 w 8115305"/>
              <a:gd name="connsiteY2368" fmla="*/ 424022 h 3192694"/>
              <a:gd name="connsiteX2369" fmla="*/ 5228320 w 8115305"/>
              <a:gd name="connsiteY2369" fmla="*/ 407724 h 3192694"/>
              <a:gd name="connsiteX2370" fmla="*/ 5272323 w 8115305"/>
              <a:gd name="connsiteY2370" fmla="*/ 391789 h 3192694"/>
              <a:gd name="connsiteX2371" fmla="*/ 3939412 w 8115305"/>
              <a:gd name="connsiteY2371" fmla="*/ 389254 h 3192694"/>
              <a:gd name="connsiteX2372" fmla="*/ 3904101 w 8115305"/>
              <a:gd name="connsiteY2372" fmla="*/ 395412 h 3192694"/>
              <a:gd name="connsiteX2373" fmla="*/ 3930357 w 8115305"/>
              <a:gd name="connsiteY2373" fmla="*/ 404284 h 3192694"/>
              <a:gd name="connsiteX2374" fmla="*/ 3962046 w 8115305"/>
              <a:gd name="connsiteY2374" fmla="*/ 397041 h 3192694"/>
              <a:gd name="connsiteX2375" fmla="*/ 6521758 w 8115305"/>
              <a:gd name="connsiteY2375" fmla="*/ 387987 h 3192694"/>
              <a:gd name="connsiteX2376" fmla="*/ 6566485 w 8115305"/>
              <a:gd name="connsiteY2376" fmla="*/ 394686 h 3192694"/>
              <a:gd name="connsiteX2377" fmla="*/ 6558698 w 8115305"/>
              <a:gd name="connsiteY2377" fmla="*/ 401749 h 3192694"/>
              <a:gd name="connsiteX2378" fmla="*/ 6513791 w 8115305"/>
              <a:gd name="connsiteY2378" fmla="*/ 394869 h 3192694"/>
              <a:gd name="connsiteX2379" fmla="*/ 6521758 w 8115305"/>
              <a:gd name="connsiteY2379" fmla="*/ 387987 h 3192694"/>
              <a:gd name="connsiteX2380" fmla="*/ 3393282 w 8115305"/>
              <a:gd name="connsiteY2380" fmla="*/ 386357 h 3192694"/>
              <a:gd name="connsiteX2381" fmla="*/ 3453399 w 8115305"/>
              <a:gd name="connsiteY2381" fmla="*/ 405008 h 3192694"/>
              <a:gd name="connsiteX2382" fmla="*/ 3365213 w 8115305"/>
              <a:gd name="connsiteY2382" fmla="*/ 424202 h 3192694"/>
              <a:gd name="connsiteX2383" fmla="*/ 3305639 w 8115305"/>
              <a:gd name="connsiteY2383" fmla="*/ 404465 h 3192694"/>
              <a:gd name="connsiteX2384" fmla="*/ 3393282 w 8115305"/>
              <a:gd name="connsiteY2384" fmla="*/ 386357 h 3192694"/>
              <a:gd name="connsiteX2385" fmla="*/ 5108992 w 8115305"/>
              <a:gd name="connsiteY2385" fmla="*/ 386177 h 3192694"/>
              <a:gd name="connsiteX2386" fmla="*/ 5195365 w 8115305"/>
              <a:gd name="connsiteY2386" fmla="*/ 403197 h 3192694"/>
              <a:gd name="connsiteX2387" fmla="*/ 5148466 w 8115305"/>
              <a:gd name="connsiteY2387" fmla="*/ 420763 h 3192694"/>
              <a:gd name="connsiteX2388" fmla="*/ 5061368 w 8115305"/>
              <a:gd name="connsiteY2388" fmla="*/ 402655 h 3192694"/>
              <a:gd name="connsiteX2389" fmla="*/ 5108992 w 8115305"/>
              <a:gd name="connsiteY2389" fmla="*/ 386177 h 3192694"/>
              <a:gd name="connsiteX2390" fmla="*/ 3234113 w 8115305"/>
              <a:gd name="connsiteY2390" fmla="*/ 384365 h 3192694"/>
              <a:gd name="connsiteX2391" fmla="*/ 3290790 w 8115305"/>
              <a:gd name="connsiteY2391" fmla="*/ 402472 h 3192694"/>
              <a:gd name="connsiteX2392" fmla="*/ 3203873 w 8115305"/>
              <a:gd name="connsiteY2392" fmla="*/ 420580 h 3192694"/>
              <a:gd name="connsiteX2393" fmla="*/ 3147740 w 8115305"/>
              <a:gd name="connsiteY2393" fmla="*/ 402472 h 3192694"/>
              <a:gd name="connsiteX2394" fmla="*/ 3234113 w 8115305"/>
              <a:gd name="connsiteY2394" fmla="*/ 384365 h 3192694"/>
              <a:gd name="connsiteX2395" fmla="*/ 6357884 w 8115305"/>
              <a:gd name="connsiteY2395" fmla="*/ 383821 h 3192694"/>
              <a:gd name="connsiteX2396" fmla="*/ 6409311 w 8115305"/>
              <a:gd name="connsiteY2396" fmla="*/ 391788 h 3192694"/>
              <a:gd name="connsiteX2397" fmla="*/ 6396454 w 8115305"/>
              <a:gd name="connsiteY2397" fmla="*/ 400119 h 3192694"/>
              <a:gd name="connsiteX2398" fmla="*/ 6345208 w 8115305"/>
              <a:gd name="connsiteY2398" fmla="*/ 391788 h 3192694"/>
              <a:gd name="connsiteX2399" fmla="*/ 6357884 w 8115305"/>
              <a:gd name="connsiteY2399" fmla="*/ 383821 h 3192694"/>
              <a:gd name="connsiteX2400" fmla="*/ 4952903 w 8115305"/>
              <a:gd name="connsiteY2400" fmla="*/ 382373 h 3192694"/>
              <a:gd name="connsiteX2401" fmla="*/ 5038915 w 8115305"/>
              <a:gd name="connsiteY2401" fmla="*/ 400480 h 3192694"/>
              <a:gd name="connsiteX2402" fmla="*/ 4984592 w 8115305"/>
              <a:gd name="connsiteY2402" fmla="*/ 418588 h 3192694"/>
              <a:gd name="connsiteX2403" fmla="*/ 4898579 w 8115305"/>
              <a:gd name="connsiteY2403" fmla="*/ 400480 h 3192694"/>
              <a:gd name="connsiteX2404" fmla="*/ 4952903 w 8115305"/>
              <a:gd name="connsiteY2404" fmla="*/ 382373 h 3192694"/>
              <a:gd name="connsiteX2405" fmla="*/ 3786763 w 8115305"/>
              <a:gd name="connsiteY2405" fmla="*/ 382011 h 3192694"/>
              <a:gd name="connsiteX2406" fmla="*/ 3735517 w 8115305"/>
              <a:gd name="connsiteY2406" fmla="*/ 392514 h 3192694"/>
              <a:gd name="connsiteX2407" fmla="*/ 3773181 w 8115305"/>
              <a:gd name="connsiteY2407" fmla="*/ 403740 h 3192694"/>
              <a:gd name="connsiteX2408" fmla="*/ 3820805 w 8115305"/>
              <a:gd name="connsiteY2408" fmla="*/ 394324 h 3192694"/>
              <a:gd name="connsiteX2409" fmla="*/ 3084906 w 8115305"/>
              <a:gd name="connsiteY2409" fmla="*/ 380563 h 3192694"/>
              <a:gd name="connsiteX2410" fmla="*/ 3133798 w 8115305"/>
              <a:gd name="connsiteY2410" fmla="*/ 398670 h 3192694"/>
              <a:gd name="connsiteX2411" fmla="*/ 3048329 w 8115305"/>
              <a:gd name="connsiteY2411" fmla="*/ 415691 h 3192694"/>
              <a:gd name="connsiteX2412" fmla="*/ 3000344 w 8115305"/>
              <a:gd name="connsiteY2412" fmla="*/ 397583 h 3192694"/>
              <a:gd name="connsiteX2413" fmla="*/ 3084906 w 8115305"/>
              <a:gd name="connsiteY2413" fmla="*/ 380563 h 3192694"/>
              <a:gd name="connsiteX2414" fmla="*/ 2932438 w 8115305"/>
              <a:gd name="connsiteY2414" fmla="*/ 379114 h 3192694"/>
              <a:gd name="connsiteX2415" fmla="*/ 2976803 w 8115305"/>
              <a:gd name="connsiteY2415" fmla="*/ 394866 h 3192694"/>
              <a:gd name="connsiteX2416" fmla="*/ 2894412 w 8115305"/>
              <a:gd name="connsiteY2416" fmla="*/ 410984 h 3192694"/>
              <a:gd name="connsiteX2417" fmla="*/ 2852422 w 8115305"/>
              <a:gd name="connsiteY2417" fmla="*/ 394325 h 3192694"/>
              <a:gd name="connsiteX2418" fmla="*/ 2932438 w 8115305"/>
              <a:gd name="connsiteY2418" fmla="*/ 379114 h 3192694"/>
              <a:gd name="connsiteX2419" fmla="*/ 6191293 w 8115305"/>
              <a:gd name="connsiteY2419" fmla="*/ 378571 h 3192694"/>
              <a:gd name="connsiteX2420" fmla="*/ 6249238 w 8115305"/>
              <a:gd name="connsiteY2420" fmla="*/ 387625 h 3192694"/>
              <a:gd name="connsiteX2421" fmla="*/ 6235295 w 8115305"/>
              <a:gd name="connsiteY2421" fmla="*/ 397222 h 3192694"/>
              <a:gd name="connsiteX2422" fmla="*/ 6176807 w 8115305"/>
              <a:gd name="connsiteY2422" fmla="*/ 387986 h 3192694"/>
              <a:gd name="connsiteX2423" fmla="*/ 6191293 w 8115305"/>
              <a:gd name="connsiteY2423" fmla="*/ 378571 h 3192694"/>
              <a:gd name="connsiteX2424" fmla="*/ 4794822 w 8115305"/>
              <a:gd name="connsiteY2424" fmla="*/ 378027 h 3192694"/>
              <a:gd name="connsiteX2425" fmla="*/ 4881015 w 8115305"/>
              <a:gd name="connsiteY2425" fmla="*/ 396135 h 3192694"/>
              <a:gd name="connsiteX2426" fmla="*/ 4822346 w 8115305"/>
              <a:gd name="connsiteY2426" fmla="*/ 414243 h 3192694"/>
              <a:gd name="connsiteX2427" fmla="*/ 4735792 w 8115305"/>
              <a:gd name="connsiteY2427" fmla="*/ 396135 h 3192694"/>
              <a:gd name="connsiteX2428" fmla="*/ 4794822 w 8115305"/>
              <a:gd name="connsiteY2428" fmla="*/ 378027 h 3192694"/>
              <a:gd name="connsiteX2429" fmla="*/ 2783796 w 8115305"/>
              <a:gd name="connsiteY2429" fmla="*/ 375673 h 3192694"/>
              <a:gd name="connsiteX2430" fmla="*/ 2824356 w 8115305"/>
              <a:gd name="connsiteY2430" fmla="*/ 390522 h 3192694"/>
              <a:gd name="connsiteX2431" fmla="*/ 2743234 w 8115305"/>
              <a:gd name="connsiteY2431" fmla="*/ 405913 h 3192694"/>
              <a:gd name="connsiteX2432" fmla="*/ 2705390 w 8115305"/>
              <a:gd name="connsiteY2432" fmla="*/ 390159 h 3192694"/>
              <a:gd name="connsiteX2433" fmla="*/ 2783796 w 8115305"/>
              <a:gd name="connsiteY2433" fmla="*/ 375673 h 3192694"/>
              <a:gd name="connsiteX2434" fmla="*/ 6031039 w 8115305"/>
              <a:gd name="connsiteY2434" fmla="*/ 374949 h 3192694"/>
              <a:gd name="connsiteX2435" fmla="*/ 6093511 w 8115305"/>
              <a:gd name="connsiteY2435" fmla="*/ 385270 h 3192694"/>
              <a:gd name="connsiteX2436" fmla="*/ 6075403 w 8115305"/>
              <a:gd name="connsiteY2436" fmla="*/ 395230 h 3192694"/>
              <a:gd name="connsiteX2437" fmla="*/ 6012388 w 8115305"/>
              <a:gd name="connsiteY2437" fmla="*/ 384726 h 3192694"/>
              <a:gd name="connsiteX2438" fmla="*/ 6031039 w 8115305"/>
              <a:gd name="connsiteY2438" fmla="*/ 374949 h 3192694"/>
              <a:gd name="connsiteX2439" fmla="*/ 2633677 w 8115305"/>
              <a:gd name="connsiteY2439" fmla="*/ 374044 h 3192694"/>
              <a:gd name="connsiteX2440" fmla="*/ 2669355 w 8115305"/>
              <a:gd name="connsiteY2440" fmla="*/ 387625 h 3192694"/>
              <a:gd name="connsiteX2441" fmla="*/ 2592394 w 8115305"/>
              <a:gd name="connsiteY2441" fmla="*/ 401929 h 3192694"/>
              <a:gd name="connsiteX2442" fmla="*/ 2559261 w 8115305"/>
              <a:gd name="connsiteY2442" fmla="*/ 387442 h 3192694"/>
              <a:gd name="connsiteX2443" fmla="*/ 2633677 w 8115305"/>
              <a:gd name="connsiteY2443" fmla="*/ 374044 h 3192694"/>
              <a:gd name="connsiteX2444" fmla="*/ 2489001 w 8115305"/>
              <a:gd name="connsiteY2444" fmla="*/ 371145 h 3192694"/>
              <a:gd name="connsiteX2445" fmla="*/ 2516523 w 8115305"/>
              <a:gd name="connsiteY2445" fmla="*/ 383821 h 3192694"/>
              <a:gd name="connsiteX2446" fmla="*/ 2444093 w 8115305"/>
              <a:gd name="connsiteY2446" fmla="*/ 396496 h 3192694"/>
              <a:gd name="connsiteX2447" fmla="*/ 2416568 w 8115305"/>
              <a:gd name="connsiteY2447" fmla="*/ 382916 h 3192694"/>
              <a:gd name="connsiteX2448" fmla="*/ 2489001 w 8115305"/>
              <a:gd name="connsiteY2448" fmla="*/ 371145 h 3192694"/>
              <a:gd name="connsiteX2449" fmla="*/ 5862094 w 8115305"/>
              <a:gd name="connsiteY2449" fmla="*/ 369698 h 3192694"/>
              <a:gd name="connsiteX2450" fmla="*/ 5929273 w 8115305"/>
              <a:gd name="connsiteY2450" fmla="*/ 380562 h 3192694"/>
              <a:gd name="connsiteX2451" fmla="*/ 5907726 w 8115305"/>
              <a:gd name="connsiteY2451" fmla="*/ 392151 h 3192694"/>
              <a:gd name="connsiteX2452" fmla="*/ 5840726 w 8115305"/>
              <a:gd name="connsiteY2452" fmla="*/ 380562 h 3192694"/>
              <a:gd name="connsiteX2453" fmla="*/ 5862094 w 8115305"/>
              <a:gd name="connsiteY2453" fmla="*/ 369698 h 3192694"/>
              <a:gd name="connsiteX2454" fmla="*/ 2333090 w 8115305"/>
              <a:gd name="connsiteY2454" fmla="*/ 368974 h 3192694"/>
              <a:gd name="connsiteX2455" fmla="*/ 2359710 w 8115305"/>
              <a:gd name="connsiteY2455" fmla="*/ 380563 h 3192694"/>
              <a:gd name="connsiteX2456" fmla="*/ 2291444 w 8115305"/>
              <a:gd name="connsiteY2456" fmla="*/ 392513 h 3192694"/>
              <a:gd name="connsiteX2457" fmla="*/ 2265369 w 8115305"/>
              <a:gd name="connsiteY2457" fmla="*/ 380924 h 3192694"/>
              <a:gd name="connsiteX2458" fmla="*/ 2333090 w 8115305"/>
              <a:gd name="connsiteY2458" fmla="*/ 368974 h 3192694"/>
              <a:gd name="connsiteX2459" fmla="*/ 2188591 w 8115305"/>
              <a:gd name="connsiteY2459" fmla="*/ 366257 h 3192694"/>
              <a:gd name="connsiteX2460" fmla="*/ 2209238 w 8115305"/>
              <a:gd name="connsiteY2460" fmla="*/ 377122 h 3192694"/>
              <a:gd name="connsiteX2461" fmla="*/ 2145859 w 8115305"/>
              <a:gd name="connsiteY2461" fmla="*/ 387443 h 3192694"/>
              <a:gd name="connsiteX2462" fmla="*/ 2125756 w 8115305"/>
              <a:gd name="connsiteY2462" fmla="*/ 376397 h 3192694"/>
              <a:gd name="connsiteX2463" fmla="*/ 2188591 w 8115305"/>
              <a:gd name="connsiteY2463" fmla="*/ 366257 h 3192694"/>
              <a:gd name="connsiteX2464" fmla="*/ 5704736 w 8115305"/>
              <a:gd name="connsiteY2464" fmla="*/ 366076 h 3192694"/>
              <a:gd name="connsiteX2465" fmla="*/ 5777167 w 8115305"/>
              <a:gd name="connsiteY2465" fmla="*/ 378389 h 3192694"/>
              <a:gd name="connsiteX2466" fmla="*/ 5748919 w 8115305"/>
              <a:gd name="connsiteY2466" fmla="*/ 390520 h 3192694"/>
              <a:gd name="connsiteX2467" fmla="*/ 5678300 w 8115305"/>
              <a:gd name="connsiteY2467" fmla="*/ 378026 h 3192694"/>
              <a:gd name="connsiteX2468" fmla="*/ 5704736 w 8115305"/>
              <a:gd name="connsiteY2468" fmla="*/ 366076 h 3192694"/>
              <a:gd name="connsiteX2469" fmla="*/ 2038475 w 8115305"/>
              <a:gd name="connsiteY2469" fmla="*/ 364809 h 3192694"/>
              <a:gd name="connsiteX2470" fmla="*/ 2058935 w 8115305"/>
              <a:gd name="connsiteY2470" fmla="*/ 373681 h 3192694"/>
              <a:gd name="connsiteX2471" fmla="*/ 2000811 w 8115305"/>
              <a:gd name="connsiteY2471" fmla="*/ 383460 h 3192694"/>
              <a:gd name="connsiteX2472" fmla="*/ 1982705 w 8115305"/>
              <a:gd name="connsiteY2472" fmla="*/ 373863 h 3192694"/>
              <a:gd name="connsiteX2473" fmla="*/ 2038475 w 8115305"/>
              <a:gd name="connsiteY2473" fmla="*/ 364809 h 3192694"/>
              <a:gd name="connsiteX2474" fmla="*/ 1897962 w 8115305"/>
              <a:gd name="connsiteY2474" fmla="*/ 361911 h 3192694"/>
              <a:gd name="connsiteX2475" fmla="*/ 1911360 w 8115305"/>
              <a:gd name="connsiteY2475" fmla="*/ 369878 h 3192694"/>
              <a:gd name="connsiteX2476" fmla="*/ 1860660 w 8115305"/>
              <a:gd name="connsiteY2476" fmla="*/ 378209 h 3192694"/>
              <a:gd name="connsiteX2477" fmla="*/ 1847077 w 8115305"/>
              <a:gd name="connsiteY2477" fmla="*/ 369698 h 3192694"/>
              <a:gd name="connsiteX2478" fmla="*/ 1897962 w 8115305"/>
              <a:gd name="connsiteY2478" fmla="*/ 361911 h 3192694"/>
              <a:gd name="connsiteX2479" fmla="*/ 5545027 w 8115305"/>
              <a:gd name="connsiteY2479" fmla="*/ 361006 h 3192694"/>
              <a:gd name="connsiteX2480" fmla="*/ 5620716 w 8115305"/>
              <a:gd name="connsiteY2480" fmla="*/ 373683 h 3192694"/>
              <a:gd name="connsiteX2481" fmla="*/ 5590295 w 8115305"/>
              <a:gd name="connsiteY2481" fmla="*/ 387444 h 3192694"/>
              <a:gd name="connsiteX2482" fmla="*/ 5514787 w 8115305"/>
              <a:gd name="connsiteY2482" fmla="*/ 373863 h 3192694"/>
              <a:gd name="connsiteX2483" fmla="*/ 5545027 w 8115305"/>
              <a:gd name="connsiteY2483" fmla="*/ 361006 h 3192694"/>
              <a:gd name="connsiteX2484" fmla="*/ 1752733 w 8115305"/>
              <a:gd name="connsiteY2484" fmla="*/ 360643 h 3192694"/>
              <a:gd name="connsiteX2485" fmla="*/ 1759438 w 8115305"/>
              <a:gd name="connsiteY2485" fmla="*/ 367886 h 3192694"/>
              <a:gd name="connsiteX2486" fmla="*/ 1714889 w 8115305"/>
              <a:gd name="connsiteY2486" fmla="*/ 374044 h 3192694"/>
              <a:gd name="connsiteX2487" fmla="*/ 1708373 w 8115305"/>
              <a:gd name="connsiteY2487" fmla="*/ 366438 h 3192694"/>
              <a:gd name="connsiteX2488" fmla="*/ 1752733 w 8115305"/>
              <a:gd name="connsiteY2488" fmla="*/ 360643 h 3192694"/>
              <a:gd name="connsiteX2489" fmla="*/ 1601529 w 8115305"/>
              <a:gd name="connsiteY2489" fmla="*/ 358109 h 3192694"/>
              <a:gd name="connsiteX2490" fmla="*/ 1608954 w 8115305"/>
              <a:gd name="connsiteY2490" fmla="*/ 363360 h 3192694"/>
              <a:gd name="connsiteX2491" fmla="*/ 1572739 w 8115305"/>
              <a:gd name="connsiteY2491" fmla="*/ 368613 h 3192694"/>
              <a:gd name="connsiteX2492" fmla="*/ 1565313 w 8115305"/>
              <a:gd name="connsiteY2492" fmla="*/ 363543 h 3192694"/>
              <a:gd name="connsiteX2493" fmla="*/ 1601529 w 8115305"/>
              <a:gd name="connsiteY2493" fmla="*/ 358109 h 3192694"/>
              <a:gd name="connsiteX2494" fmla="*/ 5390929 w 8115305"/>
              <a:gd name="connsiteY2494" fmla="*/ 357746 h 3192694"/>
              <a:gd name="connsiteX2495" fmla="*/ 5467345 w 8115305"/>
              <a:gd name="connsiteY2495" fmla="*/ 371327 h 3192694"/>
              <a:gd name="connsiteX2496" fmla="*/ 5431130 w 8115305"/>
              <a:gd name="connsiteY2496" fmla="*/ 385450 h 3192694"/>
              <a:gd name="connsiteX2497" fmla="*/ 5355801 w 8115305"/>
              <a:gd name="connsiteY2497" fmla="*/ 371688 h 3192694"/>
              <a:gd name="connsiteX2498" fmla="*/ 5390929 w 8115305"/>
              <a:gd name="connsiteY2498" fmla="*/ 357746 h 3192694"/>
              <a:gd name="connsiteX2499" fmla="*/ 4562319 w 8115305"/>
              <a:gd name="connsiteY2499" fmla="*/ 356841 h 3192694"/>
              <a:gd name="connsiteX2500" fmla="*/ 4509805 w 8115305"/>
              <a:gd name="connsiteY2500" fmla="*/ 370241 h 3192694"/>
              <a:gd name="connsiteX2501" fmla="*/ 4546021 w 8115305"/>
              <a:gd name="connsiteY2501" fmla="*/ 377304 h 3192694"/>
              <a:gd name="connsiteX2502" fmla="*/ 4569742 w 8115305"/>
              <a:gd name="connsiteY2502" fmla="*/ 387081 h 3192694"/>
              <a:gd name="connsiteX2503" fmla="*/ 4635111 w 8115305"/>
              <a:gd name="connsiteY2503" fmla="*/ 374044 h 3192694"/>
              <a:gd name="connsiteX2504" fmla="*/ 4591472 w 8115305"/>
              <a:gd name="connsiteY2504" fmla="*/ 367164 h 3192694"/>
              <a:gd name="connsiteX2505" fmla="*/ 4562319 w 8115305"/>
              <a:gd name="connsiteY2505" fmla="*/ 356841 h 3192694"/>
              <a:gd name="connsiteX2506" fmla="*/ 4413835 w 8115305"/>
              <a:gd name="connsiteY2506" fmla="*/ 356841 h 3192694"/>
              <a:gd name="connsiteX2507" fmla="*/ 4371281 w 8115305"/>
              <a:gd name="connsiteY2507" fmla="*/ 367344 h 3192694"/>
              <a:gd name="connsiteX2508" fmla="*/ 4413835 w 8115305"/>
              <a:gd name="connsiteY2508" fmla="*/ 378570 h 3192694"/>
              <a:gd name="connsiteX2509" fmla="*/ 4464537 w 8115305"/>
              <a:gd name="connsiteY2509" fmla="*/ 369698 h 3192694"/>
              <a:gd name="connsiteX2510" fmla="*/ 1456657 w 8115305"/>
              <a:gd name="connsiteY2510" fmla="*/ 356841 h 3192694"/>
              <a:gd name="connsiteX2511" fmla="*/ 1459735 w 8115305"/>
              <a:gd name="connsiteY2511" fmla="*/ 360825 h 3192694"/>
              <a:gd name="connsiteX2512" fmla="*/ 1433659 w 8115305"/>
              <a:gd name="connsiteY2512" fmla="*/ 364628 h 3192694"/>
              <a:gd name="connsiteX2513" fmla="*/ 1428409 w 8115305"/>
              <a:gd name="connsiteY2513" fmla="*/ 360825 h 3192694"/>
              <a:gd name="connsiteX2514" fmla="*/ 1456657 w 8115305"/>
              <a:gd name="connsiteY2514" fmla="*/ 356841 h 3192694"/>
              <a:gd name="connsiteX2515" fmla="*/ 6603426 w 8115305"/>
              <a:gd name="connsiteY2515" fmla="*/ 355936 h 3192694"/>
              <a:gd name="connsiteX2516" fmla="*/ 6635295 w 8115305"/>
              <a:gd name="connsiteY2516" fmla="*/ 360462 h 3192694"/>
              <a:gd name="connsiteX2517" fmla="*/ 6631854 w 8115305"/>
              <a:gd name="connsiteY2517" fmla="*/ 365352 h 3192694"/>
              <a:gd name="connsiteX2518" fmla="*/ 6597450 w 8115305"/>
              <a:gd name="connsiteY2518" fmla="*/ 360645 h 3192694"/>
              <a:gd name="connsiteX2519" fmla="*/ 6603426 w 8115305"/>
              <a:gd name="connsiteY2519" fmla="*/ 355936 h 3192694"/>
              <a:gd name="connsiteX2520" fmla="*/ 4260823 w 8115305"/>
              <a:gd name="connsiteY2520" fmla="*/ 354307 h 3192694"/>
              <a:gd name="connsiteX2521" fmla="*/ 4226780 w 8115305"/>
              <a:gd name="connsiteY2521" fmla="*/ 363723 h 3192694"/>
              <a:gd name="connsiteX2522" fmla="*/ 4262091 w 8115305"/>
              <a:gd name="connsiteY2522" fmla="*/ 373682 h 3192694"/>
              <a:gd name="connsiteX2523" fmla="*/ 4299211 w 8115305"/>
              <a:gd name="connsiteY2523" fmla="*/ 366439 h 3192694"/>
              <a:gd name="connsiteX2524" fmla="*/ 4108537 w 8115305"/>
              <a:gd name="connsiteY2524" fmla="*/ 352858 h 3192694"/>
              <a:gd name="connsiteX2525" fmla="*/ 4080470 w 8115305"/>
              <a:gd name="connsiteY2525" fmla="*/ 361369 h 3192694"/>
              <a:gd name="connsiteX2526" fmla="*/ 4106364 w 8115305"/>
              <a:gd name="connsiteY2526" fmla="*/ 368068 h 3192694"/>
              <a:gd name="connsiteX2527" fmla="*/ 4138053 w 8115305"/>
              <a:gd name="connsiteY2527" fmla="*/ 361730 h 3192694"/>
              <a:gd name="connsiteX2528" fmla="*/ 5235744 w 8115305"/>
              <a:gd name="connsiteY2528" fmla="*/ 352857 h 3192694"/>
              <a:gd name="connsiteX2529" fmla="*/ 5314333 w 8115305"/>
              <a:gd name="connsiteY2529" fmla="*/ 367343 h 3192694"/>
              <a:gd name="connsiteX2530" fmla="*/ 5274676 w 8115305"/>
              <a:gd name="connsiteY2530" fmla="*/ 382192 h 3192694"/>
              <a:gd name="connsiteX2531" fmla="*/ 5195366 w 8115305"/>
              <a:gd name="connsiteY2531" fmla="*/ 367343 h 3192694"/>
              <a:gd name="connsiteX2532" fmla="*/ 5235744 w 8115305"/>
              <a:gd name="connsiteY2532" fmla="*/ 352857 h 3192694"/>
              <a:gd name="connsiteX2533" fmla="*/ 6441360 w 8115305"/>
              <a:gd name="connsiteY2533" fmla="*/ 350683 h 3192694"/>
              <a:gd name="connsiteX2534" fmla="*/ 6482465 w 8115305"/>
              <a:gd name="connsiteY2534" fmla="*/ 357021 h 3192694"/>
              <a:gd name="connsiteX2535" fmla="*/ 6470876 w 8115305"/>
              <a:gd name="connsiteY2535" fmla="*/ 362996 h 3192694"/>
              <a:gd name="connsiteX2536" fmla="*/ 6431581 w 8115305"/>
              <a:gd name="connsiteY2536" fmla="*/ 356658 h 3192694"/>
              <a:gd name="connsiteX2537" fmla="*/ 6441360 w 8115305"/>
              <a:gd name="connsiteY2537" fmla="*/ 350683 h 3192694"/>
              <a:gd name="connsiteX2538" fmla="*/ 5078571 w 8115305"/>
              <a:gd name="connsiteY2538" fmla="*/ 349236 h 3192694"/>
              <a:gd name="connsiteX2539" fmla="*/ 5159150 w 8115305"/>
              <a:gd name="connsiteY2539" fmla="*/ 364628 h 3192694"/>
              <a:gd name="connsiteX2540" fmla="*/ 5111526 w 8115305"/>
              <a:gd name="connsiteY2540" fmla="*/ 380562 h 3192694"/>
              <a:gd name="connsiteX2541" fmla="*/ 5031310 w 8115305"/>
              <a:gd name="connsiteY2541" fmla="*/ 364266 h 3192694"/>
              <a:gd name="connsiteX2542" fmla="*/ 5078571 w 8115305"/>
              <a:gd name="connsiteY2542" fmla="*/ 349236 h 3192694"/>
              <a:gd name="connsiteX2543" fmla="*/ 3957519 w 8115305"/>
              <a:gd name="connsiteY2543" fmla="*/ 349236 h 3192694"/>
              <a:gd name="connsiteX2544" fmla="*/ 3921304 w 8115305"/>
              <a:gd name="connsiteY2544" fmla="*/ 356660 h 3192694"/>
              <a:gd name="connsiteX2545" fmla="*/ 3955164 w 8115305"/>
              <a:gd name="connsiteY2545" fmla="*/ 365352 h 3192694"/>
              <a:gd name="connsiteX2546" fmla="*/ 3986672 w 8115305"/>
              <a:gd name="connsiteY2546" fmla="*/ 358833 h 3192694"/>
              <a:gd name="connsiteX2547" fmla="*/ 3427504 w 8115305"/>
              <a:gd name="connsiteY2547" fmla="*/ 348873 h 3192694"/>
              <a:gd name="connsiteX2548" fmla="*/ 3487622 w 8115305"/>
              <a:gd name="connsiteY2548" fmla="*/ 365894 h 3192694"/>
              <a:gd name="connsiteX2549" fmla="*/ 3404326 w 8115305"/>
              <a:gd name="connsiteY2549" fmla="*/ 384002 h 3192694"/>
              <a:gd name="connsiteX2550" fmla="*/ 3346020 w 8115305"/>
              <a:gd name="connsiteY2550" fmla="*/ 365894 h 3192694"/>
              <a:gd name="connsiteX2551" fmla="*/ 3427504 w 8115305"/>
              <a:gd name="connsiteY2551" fmla="*/ 348873 h 3192694"/>
              <a:gd name="connsiteX2552" fmla="*/ 6277122 w 8115305"/>
              <a:gd name="connsiteY2552" fmla="*/ 346882 h 3192694"/>
              <a:gd name="connsiteX2553" fmla="*/ 6324022 w 8115305"/>
              <a:gd name="connsiteY2553" fmla="*/ 353581 h 3192694"/>
              <a:gd name="connsiteX2554" fmla="*/ 6315872 w 8115305"/>
              <a:gd name="connsiteY2554" fmla="*/ 361549 h 3192694"/>
              <a:gd name="connsiteX2555" fmla="*/ 6266257 w 8115305"/>
              <a:gd name="connsiteY2555" fmla="*/ 354488 h 3192694"/>
              <a:gd name="connsiteX2556" fmla="*/ 6277122 w 8115305"/>
              <a:gd name="connsiteY2556" fmla="*/ 346882 h 3192694"/>
              <a:gd name="connsiteX2557" fmla="*/ 3283186 w 8115305"/>
              <a:gd name="connsiteY2557" fmla="*/ 346881 h 3192694"/>
              <a:gd name="connsiteX2558" fmla="*/ 3337870 w 8115305"/>
              <a:gd name="connsiteY2558" fmla="*/ 362455 h 3192694"/>
              <a:gd name="connsiteX2559" fmla="*/ 3255660 w 8115305"/>
              <a:gd name="connsiteY2559" fmla="*/ 380563 h 3192694"/>
              <a:gd name="connsiteX2560" fmla="*/ 3201337 w 8115305"/>
              <a:gd name="connsiteY2560" fmla="*/ 363541 h 3192694"/>
              <a:gd name="connsiteX2561" fmla="*/ 3283186 w 8115305"/>
              <a:gd name="connsiteY2561" fmla="*/ 346881 h 3192694"/>
              <a:gd name="connsiteX2562" fmla="*/ 3812657 w 8115305"/>
              <a:gd name="connsiteY2562" fmla="*/ 344347 h 3192694"/>
              <a:gd name="connsiteX2563" fmla="*/ 3758334 w 8115305"/>
              <a:gd name="connsiteY2563" fmla="*/ 354850 h 3192694"/>
              <a:gd name="connsiteX2564" fmla="*/ 3796359 w 8115305"/>
              <a:gd name="connsiteY2564" fmla="*/ 366439 h 3192694"/>
              <a:gd name="connsiteX2565" fmla="*/ 3816640 w 8115305"/>
              <a:gd name="connsiteY2565" fmla="*/ 360462 h 3192694"/>
              <a:gd name="connsiteX2566" fmla="*/ 3842535 w 8115305"/>
              <a:gd name="connsiteY2566" fmla="*/ 355755 h 3192694"/>
              <a:gd name="connsiteX2567" fmla="*/ 4927913 w 8115305"/>
              <a:gd name="connsiteY2567" fmla="*/ 344347 h 3192694"/>
              <a:gd name="connsiteX2568" fmla="*/ 5007767 w 8115305"/>
              <a:gd name="connsiteY2568" fmla="*/ 361367 h 3192694"/>
              <a:gd name="connsiteX2569" fmla="*/ 4955075 w 8115305"/>
              <a:gd name="connsiteY2569" fmla="*/ 377121 h 3192694"/>
              <a:gd name="connsiteX2570" fmla="*/ 4875401 w 8115305"/>
              <a:gd name="connsiteY2570" fmla="*/ 360101 h 3192694"/>
              <a:gd name="connsiteX2571" fmla="*/ 4927913 w 8115305"/>
              <a:gd name="connsiteY2571" fmla="*/ 344347 h 3192694"/>
              <a:gd name="connsiteX2572" fmla="*/ 3138324 w 8115305"/>
              <a:gd name="connsiteY2572" fmla="*/ 343804 h 3192694"/>
              <a:gd name="connsiteX2573" fmla="*/ 3186852 w 8115305"/>
              <a:gd name="connsiteY2573" fmla="*/ 359377 h 3192694"/>
              <a:gd name="connsiteX2574" fmla="*/ 3106454 w 8115305"/>
              <a:gd name="connsiteY2574" fmla="*/ 375310 h 3192694"/>
              <a:gd name="connsiteX2575" fmla="*/ 3058650 w 8115305"/>
              <a:gd name="connsiteY2575" fmla="*/ 359377 h 3192694"/>
              <a:gd name="connsiteX2576" fmla="*/ 3138324 w 8115305"/>
              <a:gd name="connsiteY2576" fmla="*/ 343804 h 3192694"/>
              <a:gd name="connsiteX2577" fmla="*/ 2993101 w 8115305"/>
              <a:gd name="connsiteY2577" fmla="*/ 342354 h 3192694"/>
              <a:gd name="connsiteX2578" fmla="*/ 3035292 w 8115305"/>
              <a:gd name="connsiteY2578" fmla="*/ 356479 h 3192694"/>
              <a:gd name="connsiteX2579" fmla="*/ 2957971 w 8115305"/>
              <a:gd name="connsiteY2579" fmla="*/ 371690 h 3192694"/>
              <a:gd name="connsiteX2580" fmla="*/ 2915236 w 8115305"/>
              <a:gd name="connsiteY2580" fmla="*/ 356660 h 3192694"/>
              <a:gd name="connsiteX2581" fmla="*/ 2993101 w 8115305"/>
              <a:gd name="connsiteY2581" fmla="*/ 342354 h 3192694"/>
              <a:gd name="connsiteX2582" fmla="*/ 6117231 w 8115305"/>
              <a:gd name="connsiteY2582" fmla="*/ 342174 h 3192694"/>
              <a:gd name="connsiteX2583" fmla="*/ 6171554 w 8115305"/>
              <a:gd name="connsiteY2583" fmla="*/ 350142 h 3192694"/>
              <a:gd name="connsiteX2584" fmla="*/ 6157611 w 8115305"/>
              <a:gd name="connsiteY2584" fmla="*/ 358470 h 3192694"/>
              <a:gd name="connsiteX2585" fmla="*/ 6105280 w 8115305"/>
              <a:gd name="connsiteY2585" fmla="*/ 350683 h 3192694"/>
              <a:gd name="connsiteX2586" fmla="*/ 6117231 w 8115305"/>
              <a:gd name="connsiteY2586" fmla="*/ 342174 h 3192694"/>
              <a:gd name="connsiteX2587" fmla="*/ 4775446 w 8115305"/>
              <a:gd name="connsiteY2587" fmla="*/ 341450 h 3192694"/>
              <a:gd name="connsiteX2588" fmla="*/ 4858200 w 8115305"/>
              <a:gd name="connsiteY2588" fmla="*/ 358109 h 3192694"/>
              <a:gd name="connsiteX2589" fmla="*/ 4802970 w 8115305"/>
              <a:gd name="connsiteY2589" fmla="*/ 376217 h 3192694"/>
              <a:gd name="connsiteX2590" fmla="*/ 4719494 w 8115305"/>
              <a:gd name="connsiteY2590" fmla="*/ 358109 h 3192694"/>
              <a:gd name="connsiteX2591" fmla="*/ 4775446 w 8115305"/>
              <a:gd name="connsiteY2591" fmla="*/ 341450 h 3192694"/>
              <a:gd name="connsiteX2592" fmla="*/ 2844091 w 8115305"/>
              <a:gd name="connsiteY2592" fmla="*/ 339097 h 3192694"/>
              <a:gd name="connsiteX2593" fmla="*/ 2882642 w 8115305"/>
              <a:gd name="connsiteY2593" fmla="*/ 353039 h 3192694"/>
              <a:gd name="connsiteX2594" fmla="*/ 2805160 w 8115305"/>
              <a:gd name="connsiteY2594" fmla="*/ 366982 h 3192694"/>
              <a:gd name="connsiteX2595" fmla="*/ 2768944 w 8115305"/>
              <a:gd name="connsiteY2595" fmla="*/ 352315 h 3192694"/>
              <a:gd name="connsiteX2596" fmla="*/ 2844091 w 8115305"/>
              <a:gd name="connsiteY2596" fmla="*/ 339097 h 3192694"/>
              <a:gd name="connsiteX2597" fmla="*/ 5965850 w 8115305"/>
              <a:gd name="connsiteY2597" fmla="*/ 338553 h 3192694"/>
              <a:gd name="connsiteX2598" fmla="*/ 6022709 w 8115305"/>
              <a:gd name="connsiteY2598" fmla="*/ 347969 h 3192694"/>
              <a:gd name="connsiteX2599" fmla="*/ 6002790 w 8115305"/>
              <a:gd name="connsiteY2599" fmla="*/ 357022 h 3192694"/>
              <a:gd name="connsiteX2600" fmla="*/ 5945569 w 8115305"/>
              <a:gd name="connsiteY2600" fmla="*/ 347426 h 3192694"/>
              <a:gd name="connsiteX2601" fmla="*/ 5965850 w 8115305"/>
              <a:gd name="connsiteY2601" fmla="*/ 338553 h 3192694"/>
              <a:gd name="connsiteX2602" fmla="*/ 3667795 w 8115305"/>
              <a:gd name="connsiteY2602" fmla="*/ 338191 h 3192694"/>
              <a:gd name="connsiteX2603" fmla="*/ 3637735 w 8115305"/>
              <a:gd name="connsiteY2603" fmla="*/ 345976 h 3192694"/>
              <a:gd name="connsiteX2604" fmla="*/ 3594640 w 8115305"/>
              <a:gd name="connsiteY2604" fmla="*/ 351046 h 3192694"/>
              <a:gd name="connsiteX2605" fmla="*/ 3644435 w 8115305"/>
              <a:gd name="connsiteY2605" fmla="*/ 366076 h 3192694"/>
              <a:gd name="connsiteX2606" fmla="*/ 3707450 w 8115305"/>
              <a:gd name="connsiteY2606" fmla="*/ 353763 h 3192694"/>
              <a:gd name="connsiteX2607" fmla="*/ 3680109 w 8115305"/>
              <a:gd name="connsiteY2607" fmla="*/ 346700 h 3192694"/>
              <a:gd name="connsiteX2608" fmla="*/ 3667795 w 8115305"/>
              <a:gd name="connsiteY2608" fmla="*/ 338191 h 3192694"/>
              <a:gd name="connsiteX2609" fmla="*/ 2700497 w 8115305"/>
              <a:gd name="connsiteY2609" fmla="*/ 337645 h 3192694"/>
              <a:gd name="connsiteX2610" fmla="*/ 2734179 w 8115305"/>
              <a:gd name="connsiteY2610" fmla="*/ 349959 h 3192694"/>
              <a:gd name="connsiteX2611" fmla="*/ 2661749 w 8115305"/>
              <a:gd name="connsiteY2611" fmla="*/ 363360 h 3192694"/>
              <a:gd name="connsiteX2612" fmla="*/ 2628065 w 8115305"/>
              <a:gd name="connsiteY2612" fmla="*/ 350502 h 3192694"/>
              <a:gd name="connsiteX2613" fmla="*/ 2700497 w 8115305"/>
              <a:gd name="connsiteY2613" fmla="*/ 337645 h 3192694"/>
              <a:gd name="connsiteX2614" fmla="*/ 2557446 w 8115305"/>
              <a:gd name="connsiteY2614" fmla="*/ 334930 h 3192694"/>
              <a:gd name="connsiteX2615" fmla="*/ 2587325 w 8115305"/>
              <a:gd name="connsiteY2615" fmla="*/ 346338 h 3192694"/>
              <a:gd name="connsiteX2616" fmla="*/ 2520146 w 8115305"/>
              <a:gd name="connsiteY2616" fmla="*/ 358291 h 3192694"/>
              <a:gd name="connsiteX2617" fmla="*/ 2490629 w 8115305"/>
              <a:gd name="connsiteY2617" fmla="*/ 346519 h 3192694"/>
              <a:gd name="connsiteX2618" fmla="*/ 2557446 w 8115305"/>
              <a:gd name="connsiteY2618" fmla="*/ 334930 h 3192694"/>
              <a:gd name="connsiteX2619" fmla="*/ 5811934 w 8115305"/>
              <a:gd name="connsiteY2619" fmla="*/ 334567 h 3192694"/>
              <a:gd name="connsiteX2620" fmla="*/ 5871689 w 8115305"/>
              <a:gd name="connsiteY2620" fmla="*/ 344346 h 3192694"/>
              <a:gd name="connsiteX2621" fmla="*/ 5849236 w 8115305"/>
              <a:gd name="connsiteY2621" fmla="*/ 354306 h 3192694"/>
              <a:gd name="connsiteX2622" fmla="*/ 5786401 w 8115305"/>
              <a:gd name="connsiteY2622" fmla="*/ 344346 h 3192694"/>
              <a:gd name="connsiteX2623" fmla="*/ 5811934 w 8115305"/>
              <a:gd name="connsiteY2623" fmla="*/ 334567 h 3192694"/>
              <a:gd name="connsiteX2624" fmla="*/ 2416027 w 8115305"/>
              <a:gd name="connsiteY2624" fmla="*/ 333120 h 3192694"/>
              <a:gd name="connsiteX2625" fmla="*/ 2440650 w 8115305"/>
              <a:gd name="connsiteY2625" fmla="*/ 343984 h 3192694"/>
              <a:gd name="connsiteX2626" fmla="*/ 2375465 w 8115305"/>
              <a:gd name="connsiteY2626" fmla="*/ 354849 h 3192694"/>
              <a:gd name="connsiteX2627" fmla="*/ 2351380 w 8115305"/>
              <a:gd name="connsiteY2627" fmla="*/ 343803 h 3192694"/>
              <a:gd name="connsiteX2628" fmla="*/ 2416027 w 8115305"/>
              <a:gd name="connsiteY2628" fmla="*/ 333120 h 3192694"/>
              <a:gd name="connsiteX2629" fmla="*/ 2275512 w 8115305"/>
              <a:gd name="connsiteY2629" fmla="*/ 330403 h 3192694"/>
              <a:gd name="connsiteX2630" fmla="*/ 2296516 w 8115305"/>
              <a:gd name="connsiteY2630" fmla="*/ 340362 h 3192694"/>
              <a:gd name="connsiteX2631" fmla="*/ 2236760 w 8115305"/>
              <a:gd name="connsiteY2631" fmla="*/ 349959 h 3192694"/>
              <a:gd name="connsiteX2632" fmla="*/ 2216118 w 8115305"/>
              <a:gd name="connsiteY2632" fmla="*/ 339819 h 3192694"/>
              <a:gd name="connsiteX2633" fmla="*/ 2275512 w 8115305"/>
              <a:gd name="connsiteY2633" fmla="*/ 330403 h 3192694"/>
              <a:gd name="connsiteX2634" fmla="*/ 5656027 w 8115305"/>
              <a:gd name="connsiteY2634" fmla="*/ 330224 h 3192694"/>
              <a:gd name="connsiteX2635" fmla="*/ 5723388 w 8115305"/>
              <a:gd name="connsiteY2635" fmla="*/ 341270 h 3192694"/>
              <a:gd name="connsiteX2636" fmla="*/ 5697130 w 8115305"/>
              <a:gd name="connsiteY2636" fmla="*/ 352678 h 3192694"/>
              <a:gd name="connsiteX2637" fmla="*/ 5631218 w 8115305"/>
              <a:gd name="connsiteY2637" fmla="*/ 341813 h 3192694"/>
              <a:gd name="connsiteX2638" fmla="*/ 5656027 w 8115305"/>
              <a:gd name="connsiteY2638" fmla="*/ 330224 h 3192694"/>
              <a:gd name="connsiteX2639" fmla="*/ 2127022 w 8115305"/>
              <a:gd name="connsiteY2639" fmla="*/ 328954 h 3192694"/>
              <a:gd name="connsiteX2640" fmla="*/ 2146764 w 8115305"/>
              <a:gd name="connsiteY2640" fmla="*/ 337285 h 3192694"/>
              <a:gd name="connsiteX2641" fmla="*/ 2092439 w 8115305"/>
              <a:gd name="connsiteY2641" fmla="*/ 346338 h 3192694"/>
              <a:gd name="connsiteX2642" fmla="*/ 2074329 w 8115305"/>
              <a:gd name="connsiteY2642" fmla="*/ 337466 h 3192694"/>
              <a:gd name="connsiteX2643" fmla="*/ 2127022 w 8115305"/>
              <a:gd name="connsiteY2643" fmla="*/ 328954 h 3192694"/>
              <a:gd name="connsiteX2644" fmla="*/ 1988498 w 8115305"/>
              <a:gd name="connsiteY2644" fmla="*/ 326240 h 3192694"/>
              <a:gd name="connsiteX2645" fmla="*/ 2004252 w 8115305"/>
              <a:gd name="connsiteY2645" fmla="*/ 333302 h 3192694"/>
              <a:gd name="connsiteX2646" fmla="*/ 1954457 w 8115305"/>
              <a:gd name="connsiteY2646" fmla="*/ 341269 h 3192694"/>
              <a:gd name="connsiteX2647" fmla="*/ 1940877 w 8115305"/>
              <a:gd name="connsiteY2647" fmla="*/ 333663 h 3192694"/>
              <a:gd name="connsiteX2648" fmla="*/ 1988498 w 8115305"/>
              <a:gd name="connsiteY2648" fmla="*/ 326240 h 3192694"/>
              <a:gd name="connsiteX2649" fmla="*/ 1848525 w 8115305"/>
              <a:gd name="connsiteY2649" fmla="*/ 326239 h 3192694"/>
              <a:gd name="connsiteX2650" fmla="*/ 1858484 w 8115305"/>
              <a:gd name="connsiteY2650" fmla="*/ 332395 h 3192694"/>
              <a:gd name="connsiteX2651" fmla="*/ 1816840 w 8115305"/>
              <a:gd name="connsiteY2651" fmla="*/ 338553 h 3192694"/>
              <a:gd name="connsiteX2652" fmla="*/ 1807241 w 8115305"/>
              <a:gd name="connsiteY2652" fmla="*/ 332214 h 3192694"/>
              <a:gd name="connsiteX2653" fmla="*/ 1848525 w 8115305"/>
              <a:gd name="connsiteY2653" fmla="*/ 326239 h 3192694"/>
              <a:gd name="connsiteX2654" fmla="*/ 5499756 w 8115305"/>
              <a:gd name="connsiteY2654" fmla="*/ 325696 h 3192694"/>
              <a:gd name="connsiteX2655" fmla="*/ 5569107 w 8115305"/>
              <a:gd name="connsiteY2655" fmla="*/ 337466 h 3192694"/>
              <a:gd name="connsiteX2656" fmla="*/ 5540318 w 8115305"/>
              <a:gd name="connsiteY2656" fmla="*/ 349779 h 3192694"/>
              <a:gd name="connsiteX2657" fmla="*/ 5469516 w 8115305"/>
              <a:gd name="connsiteY2657" fmla="*/ 338009 h 3192694"/>
              <a:gd name="connsiteX2658" fmla="*/ 5499756 w 8115305"/>
              <a:gd name="connsiteY2658" fmla="*/ 325696 h 3192694"/>
              <a:gd name="connsiteX2659" fmla="*/ 1709632 w 8115305"/>
              <a:gd name="connsiteY2659" fmla="*/ 322799 h 3192694"/>
              <a:gd name="connsiteX2660" fmla="*/ 1718143 w 8115305"/>
              <a:gd name="connsiteY2660" fmla="*/ 327688 h 3192694"/>
              <a:gd name="connsiteX2661" fmla="*/ 1683738 w 8115305"/>
              <a:gd name="connsiteY2661" fmla="*/ 332575 h 3192694"/>
              <a:gd name="connsiteX2662" fmla="*/ 1677402 w 8115305"/>
              <a:gd name="connsiteY2662" fmla="*/ 327325 h 3192694"/>
              <a:gd name="connsiteX2663" fmla="*/ 1709632 w 8115305"/>
              <a:gd name="connsiteY2663" fmla="*/ 322799 h 3192694"/>
              <a:gd name="connsiteX2664" fmla="*/ 1570198 w 8115305"/>
              <a:gd name="connsiteY2664" fmla="*/ 322618 h 3192694"/>
              <a:gd name="connsiteX2665" fmla="*/ 1574544 w 8115305"/>
              <a:gd name="connsiteY2665" fmla="*/ 326239 h 3192694"/>
              <a:gd name="connsiteX2666" fmla="*/ 1550098 w 8115305"/>
              <a:gd name="connsiteY2666" fmla="*/ 329679 h 3192694"/>
              <a:gd name="connsiteX2667" fmla="*/ 1545389 w 8115305"/>
              <a:gd name="connsiteY2667" fmla="*/ 325876 h 3192694"/>
              <a:gd name="connsiteX2668" fmla="*/ 1570198 w 8115305"/>
              <a:gd name="connsiteY2668" fmla="*/ 322618 h 3192694"/>
              <a:gd name="connsiteX2669" fmla="*/ 5351817 w 8115305"/>
              <a:gd name="connsiteY2669" fmla="*/ 322617 h 3192694"/>
              <a:gd name="connsiteX2670" fmla="*/ 5421531 w 8115305"/>
              <a:gd name="connsiteY2670" fmla="*/ 335474 h 3192694"/>
              <a:gd name="connsiteX2671" fmla="*/ 5386945 w 8115305"/>
              <a:gd name="connsiteY2671" fmla="*/ 347968 h 3192694"/>
              <a:gd name="connsiteX2672" fmla="*/ 5315601 w 8115305"/>
              <a:gd name="connsiteY2672" fmla="*/ 335111 h 3192694"/>
              <a:gd name="connsiteX2673" fmla="*/ 5351817 w 8115305"/>
              <a:gd name="connsiteY2673" fmla="*/ 322617 h 3192694"/>
              <a:gd name="connsiteX2674" fmla="*/ 6512886 w 8115305"/>
              <a:gd name="connsiteY2674" fmla="*/ 320082 h 3192694"/>
              <a:gd name="connsiteX2675" fmla="*/ 6541676 w 8115305"/>
              <a:gd name="connsiteY2675" fmla="*/ 324066 h 3192694"/>
              <a:gd name="connsiteX2676" fmla="*/ 6536788 w 8115305"/>
              <a:gd name="connsiteY2676" fmla="*/ 328049 h 3192694"/>
              <a:gd name="connsiteX2677" fmla="*/ 6507996 w 8115305"/>
              <a:gd name="connsiteY2677" fmla="*/ 323884 h 3192694"/>
              <a:gd name="connsiteX2678" fmla="*/ 6512886 w 8115305"/>
              <a:gd name="connsiteY2678" fmla="*/ 320082 h 3192694"/>
              <a:gd name="connsiteX2679" fmla="*/ 4406953 w 8115305"/>
              <a:gd name="connsiteY2679" fmla="*/ 318635 h 3192694"/>
              <a:gd name="connsiteX2680" fmla="*/ 4348465 w 8115305"/>
              <a:gd name="connsiteY2680" fmla="*/ 330765 h 3192694"/>
              <a:gd name="connsiteX2681" fmla="*/ 4412386 w 8115305"/>
              <a:gd name="connsiteY2681" fmla="*/ 345071 h 3192694"/>
              <a:gd name="connsiteX2682" fmla="*/ 4468883 w 8115305"/>
              <a:gd name="connsiteY2682" fmla="*/ 333663 h 3192694"/>
              <a:gd name="connsiteX2683" fmla="*/ 4432667 w 8115305"/>
              <a:gd name="connsiteY2683" fmla="*/ 327507 h 3192694"/>
              <a:gd name="connsiteX2684" fmla="*/ 4406953 w 8115305"/>
              <a:gd name="connsiteY2684" fmla="*/ 318635 h 3192694"/>
              <a:gd name="connsiteX2685" fmla="*/ 5202790 w 8115305"/>
              <a:gd name="connsiteY2685" fmla="*/ 318092 h 3192694"/>
              <a:gd name="connsiteX2686" fmla="*/ 5275221 w 8115305"/>
              <a:gd name="connsiteY2686" fmla="*/ 331671 h 3192694"/>
              <a:gd name="connsiteX2687" fmla="*/ 5236652 w 8115305"/>
              <a:gd name="connsiteY2687" fmla="*/ 345072 h 3192694"/>
              <a:gd name="connsiteX2688" fmla="*/ 5161324 w 8115305"/>
              <a:gd name="connsiteY2688" fmla="*/ 331129 h 3192694"/>
              <a:gd name="connsiteX2689" fmla="*/ 5202790 w 8115305"/>
              <a:gd name="connsiteY2689" fmla="*/ 318092 h 3192694"/>
              <a:gd name="connsiteX2690" fmla="*/ 6359513 w 8115305"/>
              <a:gd name="connsiteY2690" fmla="*/ 316462 h 3192694"/>
              <a:gd name="connsiteX2691" fmla="*/ 6396090 w 8115305"/>
              <a:gd name="connsiteY2691" fmla="*/ 321532 h 3192694"/>
              <a:gd name="connsiteX2692" fmla="*/ 6387942 w 8115305"/>
              <a:gd name="connsiteY2692" fmla="*/ 326783 h 3192694"/>
              <a:gd name="connsiteX2693" fmla="*/ 6351726 w 8115305"/>
              <a:gd name="connsiteY2693" fmla="*/ 321350 h 3192694"/>
              <a:gd name="connsiteX2694" fmla="*/ 6359513 w 8115305"/>
              <a:gd name="connsiteY2694" fmla="*/ 316462 h 3192694"/>
              <a:gd name="connsiteX2695" fmla="*/ 4263359 w 8115305"/>
              <a:gd name="connsiteY2695" fmla="*/ 315737 h 3192694"/>
              <a:gd name="connsiteX2696" fmla="*/ 4216261 w 8115305"/>
              <a:gd name="connsiteY2696" fmla="*/ 327732 h 3192694"/>
              <a:gd name="connsiteX2697" fmla="*/ 4214830 w 8115305"/>
              <a:gd name="connsiteY2697" fmla="*/ 327326 h 3192694"/>
              <a:gd name="connsiteX2698" fmla="*/ 4215011 w 8115305"/>
              <a:gd name="connsiteY2698" fmla="*/ 328051 h 3192694"/>
              <a:gd name="connsiteX2699" fmla="*/ 4216261 w 8115305"/>
              <a:gd name="connsiteY2699" fmla="*/ 327732 h 3192694"/>
              <a:gd name="connsiteX2700" fmla="*/ 4263359 w 8115305"/>
              <a:gd name="connsiteY2700" fmla="*/ 341088 h 3192694"/>
              <a:gd name="connsiteX2701" fmla="*/ 4323296 w 8115305"/>
              <a:gd name="connsiteY2701" fmla="*/ 329136 h 3192694"/>
              <a:gd name="connsiteX2702" fmla="*/ 4263359 w 8115305"/>
              <a:gd name="connsiteY2702" fmla="*/ 315737 h 3192694"/>
              <a:gd name="connsiteX2703" fmla="*/ 5055030 w 8115305"/>
              <a:gd name="connsiteY2703" fmla="*/ 315736 h 3192694"/>
              <a:gd name="connsiteX2704" fmla="*/ 5130722 w 8115305"/>
              <a:gd name="connsiteY2704" fmla="*/ 330402 h 3192694"/>
              <a:gd name="connsiteX2705" fmla="*/ 5085815 w 8115305"/>
              <a:gd name="connsiteY2705" fmla="*/ 344347 h 3192694"/>
              <a:gd name="connsiteX2706" fmla="*/ 5009762 w 8115305"/>
              <a:gd name="connsiteY2706" fmla="*/ 329317 h 3192694"/>
              <a:gd name="connsiteX2707" fmla="*/ 5055030 w 8115305"/>
              <a:gd name="connsiteY2707" fmla="*/ 315736 h 3192694"/>
              <a:gd name="connsiteX2708" fmla="*/ 3467524 w 8115305"/>
              <a:gd name="connsiteY2708" fmla="*/ 314288 h 3192694"/>
              <a:gd name="connsiteX2709" fmla="*/ 3524020 w 8115305"/>
              <a:gd name="connsiteY2709" fmla="*/ 330042 h 3192694"/>
              <a:gd name="connsiteX2710" fmla="*/ 3447424 w 8115305"/>
              <a:gd name="connsiteY2710" fmla="*/ 346519 h 3192694"/>
              <a:gd name="connsiteX2711" fmla="*/ 3388574 w 8115305"/>
              <a:gd name="connsiteY2711" fmla="*/ 330223 h 3192694"/>
              <a:gd name="connsiteX2712" fmla="*/ 3467524 w 8115305"/>
              <a:gd name="connsiteY2712" fmla="*/ 314288 h 3192694"/>
              <a:gd name="connsiteX2713" fmla="*/ 4120489 w 8115305"/>
              <a:gd name="connsiteY2713" fmla="*/ 313382 h 3192694"/>
              <a:gd name="connsiteX2714" fmla="*/ 4068156 w 8115305"/>
              <a:gd name="connsiteY2714" fmla="*/ 324247 h 3192694"/>
              <a:gd name="connsiteX2715" fmla="*/ 4067432 w 8115305"/>
              <a:gd name="connsiteY2715" fmla="*/ 324247 h 3192694"/>
              <a:gd name="connsiteX2716" fmla="*/ 4111615 w 8115305"/>
              <a:gd name="connsiteY2716" fmla="*/ 334387 h 3192694"/>
              <a:gd name="connsiteX2717" fmla="*/ 4158153 w 8115305"/>
              <a:gd name="connsiteY2717" fmla="*/ 325878 h 3192694"/>
              <a:gd name="connsiteX2718" fmla="*/ 4120489 w 8115305"/>
              <a:gd name="connsiteY2718" fmla="*/ 313382 h 3192694"/>
              <a:gd name="connsiteX2719" fmla="*/ 6207044 w 8115305"/>
              <a:gd name="connsiteY2719" fmla="*/ 311753 h 3192694"/>
              <a:gd name="connsiteX2720" fmla="*/ 6249054 w 8115305"/>
              <a:gd name="connsiteY2720" fmla="*/ 318272 h 3192694"/>
              <a:gd name="connsiteX2721" fmla="*/ 6235836 w 8115305"/>
              <a:gd name="connsiteY2721" fmla="*/ 324246 h 3192694"/>
              <a:gd name="connsiteX2722" fmla="*/ 6194007 w 8115305"/>
              <a:gd name="connsiteY2722" fmla="*/ 317547 h 3192694"/>
              <a:gd name="connsiteX2723" fmla="*/ 6207044 w 8115305"/>
              <a:gd name="connsiteY2723" fmla="*/ 311753 h 3192694"/>
              <a:gd name="connsiteX2724" fmla="*/ 4909263 w 8115305"/>
              <a:gd name="connsiteY2724" fmla="*/ 311570 h 3192694"/>
              <a:gd name="connsiteX2725" fmla="*/ 4984228 w 8115305"/>
              <a:gd name="connsiteY2725" fmla="*/ 326239 h 3192694"/>
              <a:gd name="connsiteX2726" fmla="*/ 4936063 w 8115305"/>
              <a:gd name="connsiteY2726" fmla="*/ 340906 h 3192694"/>
              <a:gd name="connsiteX2727" fmla="*/ 4859105 w 8115305"/>
              <a:gd name="connsiteY2727" fmla="*/ 325332 h 3192694"/>
              <a:gd name="connsiteX2728" fmla="*/ 4909263 w 8115305"/>
              <a:gd name="connsiteY2728" fmla="*/ 311570 h 3192694"/>
              <a:gd name="connsiteX2729" fmla="*/ 3321754 w 8115305"/>
              <a:gd name="connsiteY2729" fmla="*/ 311390 h 3192694"/>
              <a:gd name="connsiteX2730" fmla="*/ 3373541 w 8115305"/>
              <a:gd name="connsiteY2730" fmla="*/ 326781 h 3192694"/>
              <a:gd name="connsiteX2731" fmla="*/ 3296221 w 8115305"/>
              <a:gd name="connsiteY2731" fmla="*/ 341992 h 3192694"/>
              <a:gd name="connsiteX2732" fmla="*/ 3244795 w 8115305"/>
              <a:gd name="connsiteY2732" fmla="*/ 326057 h 3192694"/>
              <a:gd name="connsiteX2733" fmla="*/ 3321754 w 8115305"/>
              <a:gd name="connsiteY2733" fmla="*/ 311390 h 3192694"/>
              <a:gd name="connsiteX2734" fmla="*/ 3979249 w 8115305"/>
              <a:gd name="connsiteY2734" fmla="*/ 310485 h 3192694"/>
              <a:gd name="connsiteX2735" fmla="*/ 3954440 w 8115305"/>
              <a:gd name="connsiteY2735" fmla="*/ 317186 h 3192694"/>
              <a:gd name="connsiteX2736" fmla="*/ 3928184 w 8115305"/>
              <a:gd name="connsiteY2736" fmla="*/ 320988 h 3192694"/>
              <a:gd name="connsiteX2737" fmla="*/ 3967660 w 8115305"/>
              <a:gd name="connsiteY2737" fmla="*/ 331672 h 3192694"/>
              <a:gd name="connsiteX2738" fmla="*/ 4025061 w 8115305"/>
              <a:gd name="connsiteY2738" fmla="*/ 322798 h 3192694"/>
              <a:gd name="connsiteX2739" fmla="*/ 3979429 w 8115305"/>
              <a:gd name="connsiteY2739" fmla="*/ 311209 h 3192694"/>
              <a:gd name="connsiteX2740" fmla="*/ 3181599 w 8115305"/>
              <a:gd name="connsiteY2740" fmla="*/ 309761 h 3192694"/>
              <a:gd name="connsiteX2741" fmla="*/ 3228862 w 8115305"/>
              <a:gd name="connsiteY2741" fmla="*/ 323884 h 3192694"/>
              <a:gd name="connsiteX2742" fmla="*/ 3152447 w 8115305"/>
              <a:gd name="connsiteY2742" fmla="*/ 338733 h 3192694"/>
              <a:gd name="connsiteX2743" fmla="*/ 3105547 w 8115305"/>
              <a:gd name="connsiteY2743" fmla="*/ 324247 h 3192694"/>
              <a:gd name="connsiteX2744" fmla="*/ 3181599 w 8115305"/>
              <a:gd name="connsiteY2744" fmla="*/ 309761 h 3192694"/>
              <a:gd name="connsiteX2745" fmla="*/ 6057112 w 8115305"/>
              <a:gd name="connsiteY2745" fmla="*/ 308313 h 3192694"/>
              <a:gd name="connsiteX2746" fmla="*/ 6104012 w 8115305"/>
              <a:gd name="connsiteY2746" fmla="*/ 315375 h 3192694"/>
              <a:gd name="connsiteX2747" fmla="*/ 6091338 w 8115305"/>
              <a:gd name="connsiteY2747" fmla="*/ 322980 h 3192694"/>
              <a:gd name="connsiteX2748" fmla="*/ 6042084 w 8115305"/>
              <a:gd name="connsiteY2748" fmla="*/ 315737 h 3192694"/>
              <a:gd name="connsiteX2749" fmla="*/ 6057112 w 8115305"/>
              <a:gd name="connsiteY2749" fmla="*/ 308313 h 3192694"/>
              <a:gd name="connsiteX2750" fmla="*/ 4763133 w 8115305"/>
              <a:gd name="connsiteY2750" fmla="*/ 307588 h 3192694"/>
              <a:gd name="connsiteX2751" fmla="*/ 4841539 w 8115305"/>
              <a:gd name="connsiteY2751" fmla="*/ 322979 h 3192694"/>
              <a:gd name="connsiteX2752" fmla="*/ 4787216 w 8115305"/>
              <a:gd name="connsiteY2752" fmla="*/ 338553 h 3192694"/>
              <a:gd name="connsiteX2753" fmla="*/ 4708810 w 8115305"/>
              <a:gd name="connsiteY2753" fmla="*/ 322618 h 3192694"/>
              <a:gd name="connsiteX2754" fmla="*/ 4763133 w 8115305"/>
              <a:gd name="connsiteY2754" fmla="*/ 307588 h 3192694"/>
              <a:gd name="connsiteX2755" fmla="*/ 3043257 w 8115305"/>
              <a:gd name="connsiteY2755" fmla="*/ 307227 h 3192694"/>
              <a:gd name="connsiteX2756" fmla="*/ 3084725 w 8115305"/>
              <a:gd name="connsiteY2756" fmla="*/ 320264 h 3192694"/>
              <a:gd name="connsiteX2757" fmla="*/ 3012294 w 8115305"/>
              <a:gd name="connsiteY2757" fmla="*/ 334027 h 3192694"/>
              <a:gd name="connsiteX2758" fmla="*/ 2970826 w 8115305"/>
              <a:gd name="connsiteY2758" fmla="*/ 320626 h 3192694"/>
              <a:gd name="connsiteX2759" fmla="*/ 3043257 w 8115305"/>
              <a:gd name="connsiteY2759" fmla="*/ 307227 h 3192694"/>
              <a:gd name="connsiteX2760" fmla="*/ 2904372 w 8115305"/>
              <a:gd name="connsiteY2760" fmla="*/ 305415 h 3192694"/>
              <a:gd name="connsiteX2761" fmla="*/ 2942216 w 8115305"/>
              <a:gd name="connsiteY2761" fmla="*/ 317728 h 3192694"/>
              <a:gd name="connsiteX2762" fmla="*/ 2869804 w 8115305"/>
              <a:gd name="connsiteY2762" fmla="*/ 330946 h 3192694"/>
              <a:gd name="connsiteX2763" fmla="*/ 2831961 w 8115305"/>
              <a:gd name="connsiteY2763" fmla="*/ 318270 h 3192694"/>
              <a:gd name="connsiteX2764" fmla="*/ 2904372 w 8115305"/>
              <a:gd name="connsiteY2764" fmla="*/ 305415 h 3192694"/>
              <a:gd name="connsiteX2765" fmla="*/ 5900301 w 8115305"/>
              <a:gd name="connsiteY2765" fmla="*/ 303786 h 3192694"/>
              <a:gd name="connsiteX2766" fmla="*/ 5954624 w 8115305"/>
              <a:gd name="connsiteY2766" fmla="*/ 312297 h 3192694"/>
              <a:gd name="connsiteX2767" fmla="*/ 5936516 w 8115305"/>
              <a:gd name="connsiteY2767" fmla="*/ 320445 h 3192694"/>
              <a:gd name="connsiteX2768" fmla="*/ 5882193 w 8115305"/>
              <a:gd name="connsiteY2768" fmla="*/ 311753 h 3192694"/>
              <a:gd name="connsiteX2769" fmla="*/ 5900301 w 8115305"/>
              <a:gd name="connsiteY2769" fmla="*/ 303786 h 3192694"/>
              <a:gd name="connsiteX2770" fmla="*/ 4615735 w 8115305"/>
              <a:gd name="connsiteY2770" fmla="*/ 303785 h 3192694"/>
              <a:gd name="connsiteX2771" fmla="*/ 4691970 w 8115305"/>
              <a:gd name="connsiteY2771" fmla="*/ 319720 h 3192694"/>
              <a:gd name="connsiteX2772" fmla="*/ 4631852 w 8115305"/>
              <a:gd name="connsiteY2772" fmla="*/ 335292 h 3192694"/>
              <a:gd name="connsiteX2773" fmla="*/ 4556885 w 8115305"/>
              <a:gd name="connsiteY2773" fmla="*/ 318996 h 3192694"/>
              <a:gd name="connsiteX2774" fmla="*/ 4615735 w 8115305"/>
              <a:gd name="connsiteY2774" fmla="*/ 303785 h 3192694"/>
              <a:gd name="connsiteX2775" fmla="*/ 2768220 w 8115305"/>
              <a:gd name="connsiteY2775" fmla="*/ 302518 h 3192694"/>
              <a:gd name="connsiteX2776" fmla="*/ 2799729 w 8115305"/>
              <a:gd name="connsiteY2776" fmla="*/ 314468 h 3192694"/>
              <a:gd name="connsiteX2777" fmla="*/ 2731646 w 8115305"/>
              <a:gd name="connsiteY2777" fmla="*/ 326240 h 3192694"/>
              <a:gd name="connsiteX2778" fmla="*/ 2698687 w 8115305"/>
              <a:gd name="connsiteY2778" fmla="*/ 314288 h 3192694"/>
              <a:gd name="connsiteX2779" fmla="*/ 2768220 w 8115305"/>
              <a:gd name="connsiteY2779" fmla="*/ 302518 h 3192694"/>
              <a:gd name="connsiteX2780" fmla="*/ 2621909 w 8115305"/>
              <a:gd name="connsiteY2780" fmla="*/ 301430 h 3192694"/>
              <a:gd name="connsiteX2781" fmla="*/ 2652150 w 8115305"/>
              <a:gd name="connsiteY2781" fmla="*/ 311934 h 3192694"/>
              <a:gd name="connsiteX2782" fmla="*/ 2588227 w 8115305"/>
              <a:gd name="connsiteY2782" fmla="*/ 322980 h 3192694"/>
              <a:gd name="connsiteX2783" fmla="*/ 2560163 w 8115305"/>
              <a:gd name="connsiteY2783" fmla="*/ 311934 h 3192694"/>
              <a:gd name="connsiteX2784" fmla="*/ 2621909 w 8115305"/>
              <a:gd name="connsiteY2784" fmla="*/ 301430 h 3192694"/>
              <a:gd name="connsiteX2785" fmla="*/ 5752904 w 8115305"/>
              <a:gd name="connsiteY2785" fmla="*/ 300527 h 3192694"/>
              <a:gd name="connsiteX2786" fmla="*/ 5811210 w 8115305"/>
              <a:gd name="connsiteY2786" fmla="*/ 309580 h 3192694"/>
              <a:gd name="connsiteX2787" fmla="*/ 5790748 w 8115305"/>
              <a:gd name="connsiteY2787" fmla="*/ 319177 h 3192694"/>
              <a:gd name="connsiteX2788" fmla="*/ 5732080 w 8115305"/>
              <a:gd name="connsiteY2788" fmla="*/ 309943 h 3192694"/>
              <a:gd name="connsiteX2789" fmla="*/ 5752904 w 8115305"/>
              <a:gd name="connsiteY2789" fmla="*/ 300527 h 3192694"/>
              <a:gd name="connsiteX2790" fmla="*/ 2488999 w 8115305"/>
              <a:gd name="connsiteY2790" fmla="*/ 298897 h 3192694"/>
              <a:gd name="connsiteX2791" fmla="*/ 2511453 w 8115305"/>
              <a:gd name="connsiteY2791" fmla="*/ 308676 h 3192694"/>
              <a:gd name="connsiteX2792" fmla="*/ 2452242 w 8115305"/>
              <a:gd name="connsiteY2792" fmla="*/ 318273 h 3192694"/>
              <a:gd name="connsiteX2793" fmla="*/ 2428339 w 8115305"/>
              <a:gd name="connsiteY2793" fmla="*/ 308676 h 3192694"/>
              <a:gd name="connsiteX2794" fmla="*/ 2488999 w 8115305"/>
              <a:gd name="connsiteY2794" fmla="*/ 298897 h 3192694"/>
              <a:gd name="connsiteX2795" fmla="*/ 2353373 w 8115305"/>
              <a:gd name="connsiteY2795" fmla="*/ 297265 h 3192694"/>
              <a:gd name="connsiteX2796" fmla="*/ 2371483 w 8115305"/>
              <a:gd name="connsiteY2796" fmla="*/ 306681 h 3192694"/>
              <a:gd name="connsiteX2797" fmla="*/ 2314079 w 8115305"/>
              <a:gd name="connsiteY2797" fmla="*/ 315372 h 3192694"/>
              <a:gd name="connsiteX2798" fmla="*/ 2295971 w 8115305"/>
              <a:gd name="connsiteY2798" fmla="*/ 305415 h 3192694"/>
              <a:gd name="connsiteX2799" fmla="*/ 2353373 w 8115305"/>
              <a:gd name="connsiteY2799" fmla="*/ 297265 h 3192694"/>
              <a:gd name="connsiteX2800" fmla="*/ 5605142 w 8115305"/>
              <a:gd name="connsiteY2800" fmla="*/ 296180 h 3192694"/>
              <a:gd name="connsiteX2801" fmla="*/ 5667072 w 8115305"/>
              <a:gd name="connsiteY2801" fmla="*/ 306140 h 3192694"/>
              <a:gd name="connsiteX2802" fmla="*/ 5643170 w 8115305"/>
              <a:gd name="connsiteY2802" fmla="*/ 316461 h 3192694"/>
              <a:gd name="connsiteX2803" fmla="*/ 5579067 w 8115305"/>
              <a:gd name="connsiteY2803" fmla="*/ 305959 h 3192694"/>
              <a:gd name="connsiteX2804" fmla="*/ 5605142 w 8115305"/>
              <a:gd name="connsiteY2804" fmla="*/ 296180 h 3192694"/>
              <a:gd name="connsiteX2805" fmla="*/ 2215753 w 8115305"/>
              <a:gd name="connsiteY2805" fmla="*/ 295999 h 3192694"/>
              <a:gd name="connsiteX2806" fmla="*/ 2231147 w 8115305"/>
              <a:gd name="connsiteY2806" fmla="*/ 304147 h 3192694"/>
              <a:gd name="connsiteX2807" fmla="*/ 2176822 w 8115305"/>
              <a:gd name="connsiteY2807" fmla="*/ 311934 h 3192694"/>
              <a:gd name="connsiteX2808" fmla="*/ 2162519 w 8115305"/>
              <a:gd name="connsiteY2808" fmla="*/ 303603 h 3192694"/>
              <a:gd name="connsiteX2809" fmla="*/ 2215753 w 8115305"/>
              <a:gd name="connsiteY2809" fmla="*/ 295999 h 3192694"/>
              <a:gd name="connsiteX2810" fmla="*/ 2080307 w 8115305"/>
              <a:gd name="connsiteY2810" fmla="*/ 294370 h 3192694"/>
              <a:gd name="connsiteX2811" fmla="*/ 2095158 w 8115305"/>
              <a:gd name="connsiteY2811" fmla="*/ 300708 h 3192694"/>
              <a:gd name="connsiteX2812" fmla="*/ 2049524 w 8115305"/>
              <a:gd name="connsiteY2812" fmla="*/ 308132 h 3192694"/>
              <a:gd name="connsiteX2813" fmla="*/ 2034495 w 8115305"/>
              <a:gd name="connsiteY2813" fmla="*/ 301252 h 3192694"/>
              <a:gd name="connsiteX2814" fmla="*/ 2080307 w 8115305"/>
              <a:gd name="connsiteY2814" fmla="*/ 294370 h 3192694"/>
              <a:gd name="connsiteX2815" fmla="*/ 5460463 w 8115305"/>
              <a:gd name="connsiteY2815" fmla="*/ 293463 h 3192694"/>
              <a:gd name="connsiteX2816" fmla="*/ 5524020 w 8115305"/>
              <a:gd name="connsiteY2816" fmla="*/ 303603 h 3192694"/>
              <a:gd name="connsiteX2817" fmla="*/ 5495048 w 8115305"/>
              <a:gd name="connsiteY2817" fmla="*/ 314649 h 3192694"/>
              <a:gd name="connsiteX2818" fmla="*/ 5431852 w 8115305"/>
              <a:gd name="connsiteY2818" fmla="*/ 303784 h 3192694"/>
              <a:gd name="connsiteX2819" fmla="*/ 5460463 w 8115305"/>
              <a:gd name="connsiteY2819" fmla="*/ 293463 h 3192694"/>
              <a:gd name="connsiteX2820" fmla="*/ 1943951 w 8115305"/>
              <a:gd name="connsiteY2820" fmla="*/ 292377 h 3192694"/>
              <a:gd name="connsiteX2821" fmla="*/ 1954999 w 8115305"/>
              <a:gd name="connsiteY2821" fmla="*/ 298172 h 3192694"/>
              <a:gd name="connsiteX2822" fmla="*/ 1915704 w 8115305"/>
              <a:gd name="connsiteY2822" fmla="*/ 303966 h 3192694"/>
              <a:gd name="connsiteX2823" fmla="*/ 1905022 w 8115305"/>
              <a:gd name="connsiteY2823" fmla="*/ 298172 h 3192694"/>
              <a:gd name="connsiteX2824" fmla="*/ 1943951 w 8115305"/>
              <a:gd name="connsiteY2824" fmla="*/ 292377 h 3192694"/>
              <a:gd name="connsiteX2825" fmla="*/ 5315962 w 8115305"/>
              <a:gd name="connsiteY2825" fmla="*/ 290205 h 3192694"/>
              <a:gd name="connsiteX2826" fmla="*/ 5384230 w 8115305"/>
              <a:gd name="connsiteY2826" fmla="*/ 301432 h 3192694"/>
              <a:gd name="connsiteX2827" fmla="*/ 5351636 w 8115305"/>
              <a:gd name="connsiteY2827" fmla="*/ 313202 h 3192694"/>
              <a:gd name="connsiteX2828" fmla="*/ 5283912 w 8115305"/>
              <a:gd name="connsiteY2828" fmla="*/ 301432 h 3192694"/>
              <a:gd name="connsiteX2829" fmla="*/ 5315962 w 8115305"/>
              <a:gd name="connsiteY2829" fmla="*/ 290205 h 3192694"/>
              <a:gd name="connsiteX2830" fmla="*/ 1806874 w 8115305"/>
              <a:gd name="connsiteY2830" fmla="*/ 290204 h 3192694"/>
              <a:gd name="connsiteX2831" fmla="*/ 1813756 w 8115305"/>
              <a:gd name="connsiteY2831" fmla="*/ 294731 h 3192694"/>
              <a:gd name="connsiteX2832" fmla="*/ 1781161 w 8115305"/>
              <a:gd name="connsiteY2832" fmla="*/ 299259 h 3192694"/>
              <a:gd name="connsiteX2833" fmla="*/ 1774463 w 8115305"/>
              <a:gd name="connsiteY2833" fmla="*/ 294731 h 3192694"/>
              <a:gd name="connsiteX2834" fmla="*/ 1806874 w 8115305"/>
              <a:gd name="connsiteY2834" fmla="*/ 290204 h 3192694"/>
              <a:gd name="connsiteX2835" fmla="*/ 1669608 w 8115305"/>
              <a:gd name="connsiteY2835" fmla="*/ 289119 h 3192694"/>
              <a:gd name="connsiteX2836" fmla="*/ 1675946 w 8115305"/>
              <a:gd name="connsiteY2836" fmla="*/ 292196 h 3192694"/>
              <a:gd name="connsiteX2837" fmla="*/ 1653131 w 8115305"/>
              <a:gd name="connsiteY2837" fmla="*/ 295818 h 3192694"/>
              <a:gd name="connsiteX2838" fmla="*/ 1646613 w 8115305"/>
              <a:gd name="connsiteY2838" fmla="*/ 292379 h 3192694"/>
              <a:gd name="connsiteX2839" fmla="*/ 1669608 w 8115305"/>
              <a:gd name="connsiteY2839" fmla="*/ 289119 h 3192694"/>
              <a:gd name="connsiteX2840" fmla="*/ 6437921 w 8115305"/>
              <a:gd name="connsiteY2840" fmla="*/ 288032 h 3192694"/>
              <a:gd name="connsiteX2841" fmla="*/ 6462909 w 8115305"/>
              <a:gd name="connsiteY2841" fmla="*/ 291292 h 3192694"/>
              <a:gd name="connsiteX2842" fmla="*/ 6456751 w 8115305"/>
              <a:gd name="connsiteY2842" fmla="*/ 294733 h 3192694"/>
              <a:gd name="connsiteX2843" fmla="*/ 6433573 w 8115305"/>
              <a:gd name="connsiteY2843" fmla="*/ 291653 h 3192694"/>
              <a:gd name="connsiteX2844" fmla="*/ 6437921 w 8115305"/>
              <a:gd name="connsiteY2844" fmla="*/ 288032 h 3192694"/>
              <a:gd name="connsiteX2845" fmla="*/ 5172549 w 8115305"/>
              <a:gd name="connsiteY2845" fmla="*/ 286039 h 3192694"/>
              <a:gd name="connsiteX2846" fmla="*/ 5243168 w 8115305"/>
              <a:gd name="connsiteY2846" fmla="*/ 298172 h 3192694"/>
              <a:gd name="connsiteX2847" fmla="*/ 5204780 w 8115305"/>
              <a:gd name="connsiteY2847" fmla="*/ 310666 h 3192694"/>
              <a:gd name="connsiteX2848" fmla="*/ 5134522 w 8115305"/>
              <a:gd name="connsiteY2848" fmla="*/ 297811 h 3192694"/>
              <a:gd name="connsiteX2849" fmla="*/ 5172549 w 8115305"/>
              <a:gd name="connsiteY2849" fmla="*/ 286039 h 3192694"/>
              <a:gd name="connsiteX2850" fmla="*/ 6286721 w 8115305"/>
              <a:gd name="connsiteY2850" fmla="*/ 284591 h 3192694"/>
              <a:gd name="connsiteX2851" fmla="*/ 6318771 w 8115305"/>
              <a:gd name="connsiteY2851" fmla="*/ 290023 h 3192694"/>
              <a:gd name="connsiteX2852" fmla="*/ 6310079 w 8115305"/>
              <a:gd name="connsiteY2852" fmla="*/ 294551 h 3192694"/>
              <a:gd name="connsiteX2853" fmla="*/ 6277847 w 8115305"/>
              <a:gd name="connsiteY2853" fmla="*/ 289842 h 3192694"/>
              <a:gd name="connsiteX2854" fmla="*/ 6286721 w 8115305"/>
              <a:gd name="connsiteY2854" fmla="*/ 284591 h 3192694"/>
              <a:gd name="connsiteX2855" fmla="*/ 3634658 w 8115305"/>
              <a:gd name="connsiteY2855" fmla="*/ 284410 h 3192694"/>
              <a:gd name="connsiteX2856" fmla="*/ 3692421 w 8115305"/>
              <a:gd name="connsiteY2856" fmla="*/ 299440 h 3192694"/>
              <a:gd name="connsiteX2857" fmla="*/ 3617999 w 8115305"/>
              <a:gd name="connsiteY2857" fmla="*/ 314651 h 3192694"/>
              <a:gd name="connsiteX2858" fmla="*/ 3560415 w 8115305"/>
              <a:gd name="connsiteY2858" fmla="*/ 299077 h 3192694"/>
              <a:gd name="connsiteX2859" fmla="*/ 3634658 w 8115305"/>
              <a:gd name="connsiteY2859" fmla="*/ 284410 h 3192694"/>
              <a:gd name="connsiteX2860" fmla="*/ 5025333 w 8115305"/>
              <a:gd name="connsiteY2860" fmla="*/ 282781 h 3192694"/>
              <a:gd name="connsiteX2861" fmla="*/ 5096678 w 8115305"/>
              <a:gd name="connsiteY2861" fmla="*/ 295275 h 3192694"/>
              <a:gd name="connsiteX2862" fmla="*/ 5058109 w 8115305"/>
              <a:gd name="connsiteY2862" fmla="*/ 308132 h 3192694"/>
              <a:gd name="connsiteX2863" fmla="*/ 4985679 w 8115305"/>
              <a:gd name="connsiteY2863" fmla="*/ 295275 h 3192694"/>
              <a:gd name="connsiteX2864" fmla="*/ 5025333 w 8115305"/>
              <a:gd name="connsiteY2864" fmla="*/ 282781 h 3192694"/>
              <a:gd name="connsiteX2865" fmla="*/ 3499936 w 8115305"/>
              <a:gd name="connsiteY2865" fmla="*/ 282600 h 3192694"/>
              <a:gd name="connsiteX2866" fmla="*/ 3552267 w 8115305"/>
              <a:gd name="connsiteY2866" fmla="*/ 297267 h 3192694"/>
              <a:gd name="connsiteX2867" fmla="*/ 3478750 w 8115305"/>
              <a:gd name="connsiteY2867" fmla="*/ 311934 h 3192694"/>
              <a:gd name="connsiteX2868" fmla="*/ 3424425 w 8115305"/>
              <a:gd name="connsiteY2868" fmla="*/ 296723 h 3192694"/>
              <a:gd name="connsiteX2869" fmla="*/ 3499936 w 8115305"/>
              <a:gd name="connsiteY2869" fmla="*/ 282600 h 3192694"/>
              <a:gd name="connsiteX2870" fmla="*/ 6138418 w 8115305"/>
              <a:gd name="connsiteY2870" fmla="*/ 280064 h 3192694"/>
              <a:gd name="connsiteX2871" fmla="*/ 6176624 w 8115305"/>
              <a:gd name="connsiteY2871" fmla="*/ 285678 h 3192694"/>
              <a:gd name="connsiteX2872" fmla="*/ 6166303 w 8115305"/>
              <a:gd name="connsiteY2872" fmla="*/ 291473 h 3192694"/>
              <a:gd name="connsiteX2873" fmla="*/ 6126105 w 8115305"/>
              <a:gd name="connsiteY2873" fmla="*/ 285498 h 3192694"/>
              <a:gd name="connsiteX2874" fmla="*/ 6138418 w 8115305"/>
              <a:gd name="connsiteY2874" fmla="*/ 280064 h 3192694"/>
              <a:gd name="connsiteX2875" fmla="*/ 3361049 w 8115305"/>
              <a:gd name="connsiteY2875" fmla="*/ 280064 h 3192694"/>
              <a:gd name="connsiteX2876" fmla="*/ 3411751 w 8115305"/>
              <a:gd name="connsiteY2876" fmla="*/ 293463 h 3192694"/>
              <a:gd name="connsiteX2877" fmla="*/ 3339319 w 8115305"/>
              <a:gd name="connsiteY2877" fmla="*/ 307588 h 3192694"/>
              <a:gd name="connsiteX2878" fmla="*/ 3289885 w 8115305"/>
              <a:gd name="connsiteY2878" fmla="*/ 294006 h 3192694"/>
              <a:gd name="connsiteX2879" fmla="*/ 3361049 w 8115305"/>
              <a:gd name="connsiteY2879" fmla="*/ 280064 h 3192694"/>
              <a:gd name="connsiteX2880" fmla="*/ 4887715 w 8115305"/>
              <a:gd name="connsiteY2880" fmla="*/ 279340 h 3192694"/>
              <a:gd name="connsiteX2881" fmla="*/ 4958154 w 8115305"/>
              <a:gd name="connsiteY2881" fmla="*/ 292741 h 3192694"/>
              <a:gd name="connsiteX2882" fmla="*/ 4912522 w 8115305"/>
              <a:gd name="connsiteY2882" fmla="*/ 306140 h 3192694"/>
              <a:gd name="connsiteX2883" fmla="*/ 4840091 w 8115305"/>
              <a:gd name="connsiteY2883" fmla="*/ 292016 h 3192694"/>
              <a:gd name="connsiteX2884" fmla="*/ 4887715 w 8115305"/>
              <a:gd name="connsiteY2884" fmla="*/ 279340 h 3192694"/>
              <a:gd name="connsiteX2885" fmla="*/ 4128457 w 8115305"/>
              <a:gd name="connsiteY2885" fmla="*/ 278798 h 3192694"/>
              <a:gd name="connsiteX2886" fmla="*/ 4071597 w 8115305"/>
              <a:gd name="connsiteY2886" fmla="*/ 291472 h 3192694"/>
              <a:gd name="connsiteX2887" fmla="*/ 4123928 w 8115305"/>
              <a:gd name="connsiteY2887" fmla="*/ 304873 h 3192694"/>
              <a:gd name="connsiteX2888" fmla="*/ 4182780 w 8115305"/>
              <a:gd name="connsiteY2888" fmla="*/ 294189 h 3192694"/>
              <a:gd name="connsiteX2889" fmla="*/ 4128457 w 8115305"/>
              <a:gd name="connsiteY2889" fmla="*/ 278798 h 3192694"/>
              <a:gd name="connsiteX2890" fmla="*/ 3227956 w 8115305"/>
              <a:gd name="connsiteY2890" fmla="*/ 278252 h 3192694"/>
              <a:gd name="connsiteX2891" fmla="*/ 3272502 w 8115305"/>
              <a:gd name="connsiteY2891" fmla="*/ 291470 h 3192694"/>
              <a:gd name="connsiteX2892" fmla="*/ 3200071 w 8115305"/>
              <a:gd name="connsiteY2892" fmla="*/ 304871 h 3192694"/>
              <a:gd name="connsiteX2893" fmla="*/ 3155888 w 8115305"/>
              <a:gd name="connsiteY2893" fmla="*/ 291109 h 3192694"/>
              <a:gd name="connsiteX2894" fmla="*/ 3227956 w 8115305"/>
              <a:gd name="connsiteY2894" fmla="*/ 278252 h 3192694"/>
              <a:gd name="connsiteX2895" fmla="*/ 5992831 w 8115305"/>
              <a:gd name="connsiteY2895" fmla="*/ 276806 h 3192694"/>
              <a:gd name="connsiteX2896" fmla="*/ 6039004 w 8115305"/>
              <a:gd name="connsiteY2896" fmla="*/ 283686 h 3192694"/>
              <a:gd name="connsiteX2897" fmla="*/ 6023613 w 8115305"/>
              <a:gd name="connsiteY2897" fmla="*/ 290024 h 3192694"/>
              <a:gd name="connsiteX2898" fmla="*/ 5979250 w 8115305"/>
              <a:gd name="connsiteY2898" fmla="*/ 283325 h 3192694"/>
              <a:gd name="connsiteX2899" fmla="*/ 5992831 w 8115305"/>
              <a:gd name="connsiteY2899" fmla="*/ 276806 h 3192694"/>
              <a:gd name="connsiteX2900" fmla="*/ 4746655 w 8115305"/>
              <a:gd name="connsiteY2900" fmla="*/ 276623 h 3192694"/>
              <a:gd name="connsiteX2901" fmla="*/ 4819086 w 8115305"/>
              <a:gd name="connsiteY2901" fmla="*/ 290024 h 3192694"/>
              <a:gd name="connsiteX2902" fmla="*/ 4771101 w 8115305"/>
              <a:gd name="connsiteY2902" fmla="*/ 304148 h 3192694"/>
              <a:gd name="connsiteX2903" fmla="*/ 4698670 w 8115305"/>
              <a:gd name="connsiteY2903" fmla="*/ 290386 h 3192694"/>
              <a:gd name="connsiteX2904" fmla="*/ 4746655 w 8115305"/>
              <a:gd name="connsiteY2904" fmla="*/ 276623 h 3192694"/>
              <a:gd name="connsiteX2905" fmla="*/ 3990838 w 8115305"/>
              <a:gd name="connsiteY2905" fmla="*/ 275900 h 3192694"/>
              <a:gd name="connsiteX2906" fmla="*/ 3930720 w 8115305"/>
              <a:gd name="connsiteY2906" fmla="*/ 288755 h 3192694"/>
              <a:gd name="connsiteX2907" fmla="*/ 3983412 w 8115305"/>
              <a:gd name="connsiteY2907" fmla="*/ 301069 h 3192694"/>
              <a:gd name="connsiteX2908" fmla="*/ 4042625 w 8115305"/>
              <a:gd name="connsiteY2908" fmla="*/ 290023 h 3192694"/>
              <a:gd name="connsiteX2909" fmla="*/ 3990838 w 8115305"/>
              <a:gd name="connsiteY2909" fmla="*/ 275900 h 3192694"/>
              <a:gd name="connsiteX2910" fmla="*/ 3087261 w 8115305"/>
              <a:gd name="connsiteY2910" fmla="*/ 275899 h 3192694"/>
              <a:gd name="connsiteX2911" fmla="*/ 3129088 w 8115305"/>
              <a:gd name="connsiteY2911" fmla="*/ 287669 h 3192694"/>
              <a:gd name="connsiteX2912" fmla="*/ 3061186 w 8115305"/>
              <a:gd name="connsiteY2912" fmla="*/ 300526 h 3192694"/>
              <a:gd name="connsiteX2913" fmla="*/ 3019900 w 8115305"/>
              <a:gd name="connsiteY2913" fmla="*/ 288212 h 3192694"/>
              <a:gd name="connsiteX2914" fmla="*/ 3087261 w 8115305"/>
              <a:gd name="connsiteY2914" fmla="*/ 275899 h 3192694"/>
              <a:gd name="connsiteX2915" fmla="*/ 2955979 w 8115305"/>
              <a:gd name="connsiteY2915" fmla="*/ 274453 h 3192694"/>
              <a:gd name="connsiteX2916" fmla="*/ 2989658 w 8115305"/>
              <a:gd name="connsiteY2916" fmla="*/ 285859 h 3192694"/>
              <a:gd name="connsiteX2917" fmla="*/ 2923385 w 8115305"/>
              <a:gd name="connsiteY2917" fmla="*/ 297268 h 3192694"/>
              <a:gd name="connsiteX2918" fmla="*/ 2889162 w 8115305"/>
              <a:gd name="connsiteY2918" fmla="*/ 285317 h 3192694"/>
              <a:gd name="connsiteX2919" fmla="*/ 2955979 w 8115305"/>
              <a:gd name="connsiteY2919" fmla="*/ 274453 h 3192694"/>
              <a:gd name="connsiteX2920" fmla="*/ 5849055 w 8115305"/>
              <a:gd name="connsiteY2920" fmla="*/ 272821 h 3192694"/>
              <a:gd name="connsiteX2921" fmla="*/ 5897947 w 8115305"/>
              <a:gd name="connsiteY2921" fmla="*/ 280245 h 3192694"/>
              <a:gd name="connsiteX2922" fmla="*/ 5879839 w 8115305"/>
              <a:gd name="connsiteY2922" fmla="*/ 287851 h 3192694"/>
              <a:gd name="connsiteX2923" fmla="*/ 5830947 w 8115305"/>
              <a:gd name="connsiteY2923" fmla="*/ 280245 h 3192694"/>
              <a:gd name="connsiteX2924" fmla="*/ 5849055 w 8115305"/>
              <a:gd name="connsiteY2924" fmla="*/ 272821 h 3192694"/>
              <a:gd name="connsiteX2925" fmla="*/ 4609398 w 8115305"/>
              <a:gd name="connsiteY2925" fmla="*/ 272821 h 3192694"/>
              <a:gd name="connsiteX2926" fmla="*/ 4681829 w 8115305"/>
              <a:gd name="connsiteY2926" fmla="*/ 286583 h 3192694"/>
              <a:gd name="connsiteX2927" fmla="*/ 4627506 w 8115305"/>
              <a:gd name="connsiteY2927" fmla="*/ 301431 h 3192694"/>
              <a:gd name="connsiteX2928" fmla="*/ 4555075 w 8115305"/>
              <a:gd name="connsiteY2928" fmla="*/ 287127 h 3192694"/>
              <a:gd name="connsiteX2929" fmla="*/ 4609398 w 8115305"/>
              <a:gd name="connsiteY2929" fmla="*/ 272821 h 3192694"/>
              <a:gd name="connsiteX2930" fmla="*/ 2820373 w 8115305"/>
              <a:gd name="connsiteY2930" fmla="*/ 271915 h 3192694"/>
              <a:gd name="connsiteX2931" fmla="*/ 2854775 w 8115305"/>
              <a:gd name="connsiteY2931" fmla="*/ 282237 h 3192694"/>
              <a:gd name="connsiteX2932" fmla="*/ 2790676 w 8115305"/>
              <a:gd name="connsiteY2932" fmla="*/ 293283 h 3192694"/>
              <a:gd name="connsiteX2933" fmla="*/ 2758443 w 8115305"/>
              <a:gd name="connsiteY2933" fmla="*/ 282418 h 3192694"/>
              <a:gd name="connsiteX2934" fmla="*/ 2820373 w 8115305"/>
              <a:gd name="connsiteY2934" fmla="*/ 271915 h 3192694"/>
              <a:gd name="connsiteX2935" fmla="*/ 2690539 w 8115305"/>
              <a:gd name="connsiteY2935" fmla="*/ 270467 h 3192694"/>
              <a:gd name="connsiteX2936" fmla="*/ 2716432 w 8115305"/>
              <a:gd name="connsiteY2936" fmla="*/ 280425 h 3192694"/>
              <a:gd name="connsiteX2937" fmla="*/ 2657039 w 8115305"/>
              <a:gd name="connsiteY2937" fmla="*/ 290204 h 3192694"/>
              <a:gd name="connsiteX2938" fmla="*/ 2628971 w 8115305"/>
              <a:gd name="connsiteY2938" fmla="*/ 280064 h 3192694"/>
              <a:gd name="connsiteX2939" fmla="*/ 2690539 w 8115305"/>
              <a:gd name="connsiteY2939" fmla="*/ 270467 h 3192694"/>
              <a:gd name="connsiteX2940" fmla="*/ 4472143 w 8115305"/>
              <a:gd name="connsiteY2940" fmla="*/ 270285 h 3192694"/>
              <a:gd name="connsiteX2941" fmla="*/ 4543306 w 8115305"/>
              <a:gd name="connsiteY2941" fmla="*/ 284952 h 3192694"/>
              <a:gd name="connsiteX2942" fmla="*/ 4483732 w 8115305"/>
              <a:gd name="connsiteY2942" fmla="*/ 299438 h 3192694"/>
              <a:gd name="connsiteX2943" fmla="*/ 4413654 w 8115305"/>
              <a:gd name="connsiteY2943" fmla="*/ 284047 h 3192694"/>
              <a:gd name="connsiteX2944" fmla="*/ 4472143 w 8115305"/>
              <a:gd name="connsiteY2944" fmla="*/ 270285 h 3192694"/>
              <a:gd name="connsiteX2945" fmla="*/ 5706368 w 8115305"/>
              <a:gd name="connsiteY2945" fmla="*/ 269743 h 3192694"/>
              <a:gd name="connsiteX2946" fmla="*/ 5760691 w 8115305"/>
              <a:gd name="connsiteY2946" fmla="*/ 278252 h 3192694"/>
              <a:gd name="connsiteX2947" fmla="*/ 5739142 w 8115305"/>
              <a:gd name="connsiteY2947" fmla="*/ 286402 h 3192694"/>
              <a:gd name="connsiteX2948" fmla="*/ 5684819 w 8115305"/>
              <a:gd name="connsiteY2948" fmla="*/ 277891 h 3192694"/>
              <a:gd name="connsiteX2949" fmla="*/ 5706368 w 8115305"/>
              <a:gd name="connsiteY2949" fmla="*/ 269743 h 3192694"/>
              <a:gd name="connsiteX2950" fmla="*/ 2558173 w 8115305"/>
              <a:gd name="connsiteY2950" fmla="*/ 268112 h 3192694"/>
              <a:gd name="connsiteX2951" fmla="*/ 2581351 w 8115305"/>
              <a:gd name="connsiteY2951" fmla="*/ 277167 h 3192694"/>
              <a:gd name="connsiteX2952" fmla="*/ 2525395 w 8115305"/>
              <a:gd name="connsiteY2952" fmla="*/ 285859 h 3192694"/>
              <a:gd name="connsiteX2953" fmla="*/ 2502401 w 8115305"/>
              <a:gd name="connsiteY2953" fmla="*/ 276804 h 3192694"/>
              <a:gd name="connsiteX2954" fmla="*/ 2558173 w 8115305"/>
              <a:gd name="connsiteY2954" fmla="*/ 268112 h 3192694"/>
              <a:gd name="connsiteX2955" fmla="*/ 2425262 w 8115305"/>
              <a:gd name="connsiteY2955" fmla="*/ 266663 h 3192694"/>
              <a:gd name="connsiteX2956" fmla="*/ 2445903 w 8115305"/>
              <a:gd name="connsiteY2956" fmla="*/ 274994 h 3192694"/>
              <a:gd name="connsiteX2957" fmla="*/ 2391579 w 8115305"/>
              <a:gd name="connsiteY2957" fmla="*/ 282961 h 3192694"/>
              <a:gd name="connsiteX2958" fmla="*/ 2373472 w 8115305"/>
              <a:gd name="connsiteY2958" fmla="*/ 274269 h 3192694"/>
              <a:gd name="connsiteX2959" fmla="*/ 2425262 w 8115305"/>
              <a:gd name="connsiteY2959" fmla="*/ 266663 h 3192694"/>
              <a:gd name="connsiteX2960" fmla="*/ 5566393 w 8115305"/>
              <a:gd name="connsiteY2960" fmla="*/ 265939 h 3192694"/>
              <a:gd name="connsiteX2961" fmla="*/ 5620716 w 8115305"/>
              <a:gd name="connsiteY2961" fmla="*/ 275174 h 3192694"/>
              <a:gd name="connsiteX2962" fmla="*/ 5593192 w 8115305"/>
              <a:gd name="connsiteY2962" fmla="*/ 283686 h 3192694"/>
              <a:gd name="connsiteX2963" fmla="*/ 5538869 w 8115305"/>
              <a:gd name="connsiteY2963" fmla="*/ 274087 h 3192694"/>
              <a:gd name="connsiteX2964" fmla="*/ 5566393 w 8115305"/>
              <a:gd name="connsiteY2964" fmla="*/ 265939 h 3192694"/>
              <a:gd name="connsiteX2965" fmla="*/ 2291625 w 8115305"/>
              <a:gd name="connsiteY2965" fmla="*/ 264310 h 3192694"/>
              <a:gd name="connsiteX2966" fmla="*/ 2308103 w 8115305"/>
              <a:gd name="connsiteY2966" fmla="*/ 271553 h 3192694"/>
              <a:gd name="connsiteX2967" fmla="*/ 2257943 w 8115305"/>
              <a:gd name="connsiteY2967" fmla="*/ 278797 h 3192694"/>
              <a:gd name="connsiteX2968" fmla="*/ 2243458 w 8115305"/>
              <a:gd name="connsiteY2968" fmla="*/ 271190 h 3192694"/>
              <a:gd name="connsiteX2969" fmla="*/ 2291625 w 8115305"/>
              <a:gd name="connsiteY2969" fmla="*/ 264310 h 3192694"/>
              <a:gd name="connsiteX2970" fmla="*/ 2160343 w 8115305"/>
              <a:gd name="connsiteY2970" fmla="*/ 263225 h 3192694"/>
              <a:gd name="connsiteX2971" fmla="*/ 2172294 w 8115305"/>
              <a:gd name="connsiteY2971" fmla="*/ 269924 h 3192694"/>
              <a:gd name="connsiteX2972" fmla="*/ 2129738 w 8115305"/>
              <a:gd name="connsiteY2972" fmla="*/ 275719 h 3192694"/>
              <a:gd name="connsiteX2973" fmla="*/ 2118150 w 8115305"/>
              <a:gd name="connsiteY2973" fmla="*/ 268839 h 3192694"/>
              <a:gd name="connsiteX2974" fmla="*/ 2160343 w 8115305"/>
              <a:gd name="connsiteY2974" fmla="*/ 263225 h 3192694"/>
              <a:gd name="connsiteX2975" fmla="*/ 5422255 w 8115305"/>
              <a:gd name="connsiteY2975" fmla="*/ 262498 h 3192694"/>
              <a:gd name="connsiteX2976" fmla="*/ 5480200 w 8115305"/>
              <a:gd name="connsiteY2976" fmla="*/ 272821 h 3192694"/>
              <a:gd name="connsiteX2977" fmla="*/ 5450142 w 8115305"/>
              <a:gd name="connsiteY2977" fmla="*/ 282418 h 3192694"/>
              <a:gd name="connsiteX2978" fmla="*/ 5392017 w 8115305"/>
              <a:gd name="connsiteY2978" fmla="*/ 271914 h 3192694"/>
              <a:gd name="connsiteX2979" fmla="*/ 5422255 w 8115305"/>
              <a:gd name="connsiteY2979" fmla="*/ 262498 h 3192694"/>
              <a:gd name="connsiteX2980" fmla="*/ 2030870 w 8115305"/>
              <a:gd name="connsiteY2980" fmla="*/ 261052 h 3192694"/>
              <a:gd name="connsiteX2981" fmla="*/ 2041010 w 8115305"/>
              <a:gd name="connsiteY2981" fmla="*/ 266302 h 3192694"/>
              <a:gd name="connsiteX2982" fmla="*/ 2005700 w 8115305"/>
              <a:gd name="connsiteY2982" fmla="*/ 271373 h 3192694"/>
              <a:gd name="connsiteX2983" fmla="*/ 1994654 w 8115305"/>
              <a:gd name="connsiteY2983" fmla="*/ 266122 h 3192694"/>
              <a:gd name="connsiteX2984" fmla="*/ 2030870 w 8115305"/>
              <a:gd name="connsiteY2984" fmla="*/ 261052 h 3192694"/>
              <a:gd name="connsiteX2985" fmla="*/ 1900848 w 8115305"/>
              <a:gd name="connsiteY2985" fmla="*/ 259964 h 3192694"/>
              <a:gd name="connsiteX2986" fmla="*/ 1906823 w 8115305"/>
              <a:gd name="connsiteY2986" fmla="*/ 264310 h 3192694"/>
              <a:gd name="connsiteX2987" fmla="*/ 1877670 w 8115305"/>
              <a:gd name="connsiteY2987" fmla="*/ 268112 h 3192694"/>
              <a:gd name="connsiteX2988" fmla="*/ 1870065 w 8115305"/>
              <a:gd name="connsiteY2988" fmla="*/ 264129 h 3192694"/>
              <a:gd name="connsiteX2989" fmla="*/ 1900848 w 8115305"/>
              <a:gd name="connsiteY2989" fmla="*/ 259964 h 3192694"/>
              <a:gd name="connsiteX2990" fmla="*/ 3919492 w 8115305"/>
              <a:gd name="connsiteY2990" fmla="*/ 259783 h 3192694"/>
              <a:gd name="connsiteX2991" fmla="*/ 3967660 w 8115305"/>
              <a:gd name="connsiteY2991" fmla="*/ 262863 h 3192694"/>
              <a:gd name="connsiteX2992" fmla="*/ 3995545 w 8115305"/>
              <a:gd name="connsiteY2992" fmla="*/ 271916 h 3192694"/>
              <a:gd name="connsiteX2993" fmla="*/ 4064717 w 8115305"/>
              <a:gd name="connsiteY2993" fmla="*/ 261232 h 3192694"/>
              <a:gd name="connsiteX2994" fmla="*/ 4129542 w 8115305"/>
              <a:gd name="connsiteY2994" fmla="*/ 276081 h 3192694"/>
              <a:gd name="connsiteX2995" fmla="*/ 4201973 w 8115305"/>
              <a:gd name="connsiteY2995" fmla="*/ 264311 h 3192694"/>
              <a:gd name="connsiteX2996" fmla="*/ 4263540 w 8115305"/>
              <a:gd name="connsiteY2996" fmla="*/ 277530 h 3192694"/>
              <a:gd name="connsiteX2997" fmla="*/ 4214287 w 8115305"/>
              <a:gd name="connsiteY2997" fmla="*/ 294369 h 3192694"/>
              <a:gd name="connsiteX2998" fmla="*/ 4245251 w 8115305"/>
              <a:gd name="connsiteY2998" fmla="*/ 300164 h 3192694"/>
              <a:gd name="connsiteX2999" fmla="*/ 4265893 w 8115305"/>
              <a:gd name="connsiteY2999" fmla="*/ 307588 h 3192694"/>
              <a:gd name="connsiteX3000" fmla="*/ 4334522 w 8115305"/>
              <a:gd name="connsiteY3000" fmla="*/ 296723 h 3192694"/>
              <a:gd name="connsiteX3001" fmla="*/ 4302652 w 8115305"/>
              <a:gd name="connsiteY3001" fmla="*/ 293101 h 3192694"/>
              <a:gd name="connsiteX3002" fmla="*/ 4280379 w 8115305"/>
              <a:gd name="connsiteY3002" fmla="*/ 287126 h 3192694"/>
              <a:gd name="connsiteX3003" fmla="*/ 4274043 w 8115305"/>
              <a:gd name="connsiteY3003" fmla="*/ 278978 h 3192694"/>
              <a:gd name="connsiteX3004" fmla="*/ 4333254 w 8115305"/>
              <a:gd name="connsiteY3004" fmla="*/ 266665 h 3192694"/>
              <a:gd name="connsiteX3005" fmla="*/ 4403512 w 8115305"/>
              <a:gd name="connsiteY3005" fmla="*/ 279159 h 3192694"/>
              <a:gd name="connsiteX3006" fmla="*/ 4348103 w 8115305"/>
              <a:gd name="connsiteY3006" fmla="*/ 297267 h 3192694"/>
              <a:gd name="connsiteX3007" fmla="*/ 4407858 w 8115305"/>
              <a:gd name="connsiteY3007" fmla="*/ 313201 h 3192694"/>
              <a:gd name="connsiteX3008" fmla="*/ 4480289 w 8115305"/>
              <a:gd name="connsiteY3008" fmla="*/ 300888 h 3192694"/>
              <a:gd name="connsiteX3009" fmla="*/ 4548374 w 8115305"/>
              <a:gd name="connsiteY3009" fmla="*/ 315555 h 3192694"/>
              <a:gd name="connsiteX3010" fmla="*/ 4498036 w 8115305"/>
              <a:gd name="connsiteY3010" fmla="*/ 333663 h 3192694"/>
              <a:gd name="connsiteX3011" fmla="*/ 4561956 w 8115305"/>
              <a:gd name="connsiteY3011" fmla="*/ 351770 h 3192694"/>
              <a:gd name="connsiteX3012" fmla="*/ 4586038 w 8115305"/>
              <a:gd name="connsiteY3012" fmla="*/ 340364 h 3192694"/>
              <a:gd name="connsiteX3013" fmla="*/ 4633301 w 8115305"/>
              <a:gd name="connsiteY3013" fmla="*/ 337284 h 3192694"/>
              <a:gd name="connsiteX3014" fmla="*/ 4707542 w 8115305"/>
              <a:gd name="connsiteY3014" fmla="*/ 352858 h 3192694"/>
              <a:gd name="connsiteX3015" fmla="*/ 4698126 w 8115305"/>
              <a:gd name="connsiteY3015" fmla="*/ 366620 h 3192694"/>
              <a:gd name="connsiteX3016" fmla="*/ 4653038 w 8115305"/>
              <a:gd name="connsiteY3016" fmla="*/ 373863 h 3192694"/>
              <a:gd name="connsiteX3017" fmla="*/ 4721123 w 8115305"/>
              <a:gd name="connsiteY3017" fmla="*/ 391971 h 3192694"/>
              <a:gd name="connsiteX3018" fmla="*/ 4662273 w 8115305"/>
              <a:gd name="connsiteY3018" fmla="*/ 412251 h 3192694"/>
              <a:gd name="connsiteX3019" fmla="*/ 4740136 w 8115305"/>
              <a:gd name="connsiteY3019" fmla="*/ 434161 h 3192694"/>
              <a:gd name="connsiteX3020" fmla="*/ 4672414 w 8115305"/>
              <a:gd name="connsiteY3020" fmla="*/ 455529 h 3192694"/>
              <a:gd name="connsiteX3021" fmla="*/ 4740860 w 8115305"/>
              <a:gd name="connsiteY3021" fmla="*/ 467480 h 3192694"/>
              <a:gd name="connsiteX3022" fmla="*/ 4758968 w 8115305"/>
              <a:gd name="connsiteY3022" fmla="*/ 481966 h 3192694"/>
              <a:gd name="connsiteX3023" fmla="*/ 4689797 w 8115305"/>
              <a:gd name="connsiteY3023" fmla="*/ 501522 h 3192694"/>
              <a:gd name="connsiteX3024" fmla="*/ 4595637 w 8115305"/>
              <a:gd name="connsiteY3024" fmla="*/ 481241 h 3192694"/>
              <a:gd name="connsiteX3025" fmla="*/ 4652675 w 8115305"/>
              <a:gd name="connsiteY3025" fmla="*/ 454986 h 3192694"/>
              <a:gd name="connsiteX3026" fmla="*/ 4609941 w 8115305"/>
              <a:gd name="connsiteY3026" fmla="*/ 447743 h 3192694"/>
              <a:gd name="connsiteX3027" fmla="*/ 4578253 w 8115305"/>
              <a:gd name="connsiteY3027" fmla="*/ 436515 h 3192694"/>
              <a:gd name="connsiteX3028" fmla="*/ 4506908 w 8115305"/>
              <a:gd name="connsiteY3028" fmla="*/ 450820 h 3192694"/>
              <a:gd name="connsiteX3029" fmla="*/ 4420354 w 8115305"/>
              <a:gd name="connsiteY3029" fmla="*/ 436697 h 3192694"/>
              <a:gd name="connsiteX3030" fmla="*/ 4371825 w 8115305"/>
              <a:gd name="connsiteY3030" fmla="*/ 449011 h 3192694"/>
              <a:gd name="connsiteX3031" fmla="*/ 4395184 w 8115305"/>
              <a:gd name="connsiteY3031" fmla="*/ 455347 h 3192694"/>
              <a:gd name="connsiteX3032" fmla="*/ 4417274 w 8115305"/>
              <a:gd name="connsiteY3032" fmla="*/ 465487 h 3192694"/>
              <a:gd name="connsiteX3033" fmla="*/ 4516324 w 8115305"/>
              <a:gd name="connsiteY3033" fmla="*/ 454261 h 3192694"/>
              <a:gd name="connsiteX3034" fmla="*/ 4584772 w 8115305"/>
              <a:gd name="connsiteY3034" fmla="*/ 476534 h 3192694"/>
              <a:gd name="connsiteX3035" fmla="*/ 4521214 w 8115305"/>
              <a:gd name="connsiteY3035" fmla="*/ 500798 h 3192694"/>
              <a:gd name="connsiteX3036" fmla="*/ 4597990 w 8115305"/>
              <a:gd name="connsiteY3036" fmla="*/ 527597 h 3192694"/>
              <a:gd name="connsiteX3037" fmla="*/ 4529000 w 8115305"/>
              <a:gd name="connsiteY3037" fmla="*/ 550775 h 3192694"/>
              <a:gd name="connsiteX3038" fmla="*/ 4420354 w 8115305"/>
              <a:gd name="connsiteY3038" fmla="*/ 528502 h 3192694"/>
              <a:gd name="connsiteX3039" fmla="*/ 4345930 w 8115305"/>
              <a:gd name="connsiteY3039" fmla="*/ 546610 h 3192694"/>
              <a:gd name="connsiteX3040" fmla="*/ 4368384 w 8115305"/>
              <a:gd name="connsiteY3040" fmla="*/ 550595 h 3192694"/>
              <a:gd name="connsiteX3041" fmla="*/ 4417093 w 8115305"/>
              <a:gd name="connsiteY3041" fmla="*/ 578480 h 3192694"/>
              <a:gd name="connsiteX3042" fmla="*/ 4339773 w 8115305"/>
              <a:gd name="connsiteY3042" fmla="*/ 601296 h 3192694"/>
              <a:gd name="connsiteX3043" fmla="*/ 4244708 w 8115305"/>
              <a:gd name="connsiteY3043" fmla="*/ 584274 h 3192694"/>
              <a:gd name="connsiteX3044" fmla="*/ 4233119 w 8115305"/>
              <a:gd name="connsiteY3044" fmla="*/ 576126 h 3192694"/>
              <a:gd name="connsiteX3045" fmla="*/ 4138597 w 8115305"/>
              <a:gd name="connsiteY3045" fmla="*/ 597494 h 3192694"/>
              <a:gd name="connsiteX3046" fmla="*/ 4048058 w 8115305"/>
              <a:gd name="connsiteY3046" fmla="*/ 572505 h 3192694"/>
              <a:gd name="connsiteX3047" fmla="*/ 3943033 w 8115305"/>
              <a:gd name="connsiteY3047" fmla="*/ 593148 h 3192694"/>
              <a:gd name="connsiteX3048" fmla="*/ 3865169 w 8115305"/>
              <a:gd name="connsiteY3048" fmla="*/ 565805 h 3192694"/>
              <a:gd name="connsiteX3049" fmla="*/ 3761956 w 8115305"/>
              <a:gd name="connsiteY3049" fmla="*/ 586991 h 3192694"/>
              <a:gd name="connsiteX3050" fmla="*/ 3683911 w 8115305"/>
              <a:gd name="connsiteY3050" fmla="*/ 557838 h 3192694"/>
              <a:gd name="connsiteX3051" fmla="*/ 3573452 w 8115305"/>
              <a:gd name="connsiteY3051" fmla="*/ 581740 h 3192694"/>
              <a:gd name="connsiteX3052" fmla="*/ 3508264 w 8115305"/>
              <a:gd name="connsiteY3052" fmla="*/ 555302 h 3192694"/>
              <a:gd name="connsiteX3053" fmla="*/ 3595906 w 8115305"/>
              <a:gd name="connsiteY3053" fmla="*/ 530314 h 3192694"/>
              <a:gd name="connsiteX3054" fmla="*/ 3686445 w 8115305"/>
              <a:gd name="connsiteY3054" fmla="*/ 553673 h 3192694"/>
              <a:gd name="connsiteX3055" fmla="*/ 3717773 w 8115305"/>
              <a:gd name="connsiteY3055" fmla="*/ 541359 h 3192694"/>
              <a:gd name="connsiteX3056" fmla="*/ 3761956 w 8115305"/>
              <a:gd name="connsiteY3056" fmla="*/ 532848 h 3192694"/>
              <a:gd name="connsiteX3057" fmla="*/ 3727550 w 8115305"/>
              <a:gd name="connsiteY3057" fmla="*/ 523432 h 3192694"/>
              <a:gd name="connsiteX3058" fmla="*/ 3709442 w 8115305"/>
              <a:gd name="connsiteY3058" fmla="*/ 511119 h 3192694"/>
              <a:gd name="connsiteX3059" fmla="*/ 3606590 w 8115305"/>
              <a:gd name="connsiteY3059" fmla="*/ 527054 h 3192694"/>
              <a:gd name="connsiteX3060" fmla="*/ 3541402 w 8115305"/>
              <a:gd name="connsiteY3060" fmla="*/ 501161 h 3192694"/>
              <a:gd name="connsiteX3061" fmla="*/ 3502653 w 8115305"/>
              <a:gd name="connsiteY3061" fmla="*/ 517276 h 3192694"/>
              <a:gd name="connsiteX3062" fmla="*/ 3438550 w 8115305"/>
              <a:gd name="connsiteY3062" fmla="*/ 522527 h 3192694"/>
              <a:gd name="connsiteX3063" fmla="*/ 3375535 w 8115305"/>
              <a:gd name="connsiteY3063" fmla="*/ 500437 h 3192694"/>
              <a:gd name="connsiteX3064" fmla="*/ 3468610 w 8115305"/>
              <a:gd name="connsiteY3064" fmla="*/ 475086 h 3192694"/>
              <a:gd name="connsiteX3065" fmla="*/ 3417001 w 8115305"/>
              <a:gd name="connsiteY3065" fmla="*/ 450096 h 3192694"/>
              <a:gd name="connsiteX3066" fmla="*/ 3504462 w 8115305"/>
              <a:gd name="connsiteY3066" fmla="*/ 430179 h 3192694"/>
              <a:gd name="connsiteX3067" fmla="*/ 3461367 w 8115305"/>
              <a:gd name="connsiteY3067" fmla="*/ 405552 h 3192694"/>
              <a:gd name="connsiteX3068" fmla="*/ 3537961 w 8115305"/>
              <a:gd name="connsiteY3068" fmla="*/ 389798 h 3192694"/>
              <a:gd name="connsiteX3069" fmla="*/ 3616187 w 8115305"/>
              <a:gd name="connsiteY3069" fmla="*/ 404465 h 3192694"/>
              <a:gd name="connsiteX3070" fmla="*/ 3679926 w 8115305"/>
              <a:gd name="connsiteY3070" fmla="*/ 391971 h 3192694"/>
              <a:gd name="connsiteX3071" fmla="*/ 3638823 w 8115305"/>
              <a:gd name="connsiteY3071" fmla="*/ 376216 h 3192694"/>
              <a:gd name="connsiteX3072" fmla="*/ 3532891 w 8115305"/>
              <a:gd name="connsiteY3072" fmla="*/ 386900 h 3192694"/>
              <a:gd name="connsiteX3073" fmla="*/ 3492693 w 8115305"/>
              <a:gd name="connsiteY3073" fmla="*/ 368793 h 3192694"/>
              <a:gd name="connsiteX3074" fmla="*/ 3576532 w 8115305"/>
              <a:gd name="connsiteY3074" fmla="*/ 350685 h 3192694"/>
              <a:gd name="connsiteX3075" fmla="*/ 3535064 w 8115305"/>
              <a:gd name="connsiteY3075" fmla="*/ 341993 h 3192694"/>
              <a:gd name="connsiteX3076" fmla="*/ 3531806 w 8115305"/>
              <a:gd name="connsiteY3076" fmla="*/ 331853 h 3192694"/>
              <a:gd name="connsiteX3077" fmla="*/ 3599710 w 8115305"/>
              <a:gd name="connsiteY3077" fmla="*/ 317186 h 3192694"/>
              <a:gd name="connsiteX3078" fmla="*/ 3676668 w 8115305"/>
              <a:gd name="connsiteY3078" fmla="*/ 331853 h 3192694"/>
              <a:gd name="connsiteX3079" fmla="*/ 3740226 w 8115305"/>
              <a:gd name="connsiteY3079" fmla="*/ 318815 h 3192694"/>
              <a:gd name="connsiteX3080" fmla="*/ 3700931 w 8115305"/>
              <a:gd name="connsiteY3080" fmla="*/ 310304 h 3192694"/>
              <a:gd name="connsiteX3081" fmla="*/ 3700931 w 8115305"/>
              <a:gd name="connsiteY3081" fmla="*/ 298172 h 3192694"/>
              <a:gd name="connsiteX3082" fmla="*/ 3771913 w 8115305"/>
              <a:gd name="connsiteY3082" fmla="*/ 286946 h 3192694"/>
              <a:gd name="connsiteX3083" fmla="*/ 3834204 w 8115305"/>
              <a:gd name="connsiteY3083" fmla="*/ 299440 h 3192694"/>
              <a:gd name="connsiteX3084" fmla="*/ 3774269 w 8115305"/>
              <a:gd name="connsiteY3084" fmla="*/ 319540 h 3192694"/>
              <a:gd name="connsiteX3085" fmla="*/ 3819176 w 8115305"/>
              <a:gd name="connsiteY3085" fmla="*/ 331672 h 3192694"/>
              <a:gd name="connsiteX3086" fmla="*/ 3877845 w 8115305"/>
              <a:gd name="connsiteY3086" fmla="*/ 320808 h 3192694"/>
              <a:gd name="connsiteX3087" fmla="*/ 3841630 w 8115305"/>
              <a:gd name="connsiteY3087" fmla="*/ 302700 h 3192694"/>
              <a:gd name="connsiteX3088" fmla="*/ 3906998 w 8115305"/>
              <a:gd name="connsiteY3088" fmla="*/ 289119 h 3192694"/>
              <a:gd name="connsiteX3089" fmla="*/ 3860099 w 8115305"/>
              <a:gd name="connsiteY3089" fmla="*/ 272096 h 3192694"/>
              <a:gd name="connsiteX3090" fmla="*/ 3919492 w 8115305"/>
              <a:gd name="connsiteY3090" fmla="*/ 259783 h 3192694"/>
              <a:gd name="connsiteX3091" fmla="*/ 5281196 w 8115305"/>
              <a:gd name="connsiteY3091" fmla="*/ 259059 h 3192694"/>
              <a:gd name="connsiteX3092" fmla="*/ 5343487 w 8115305"/>
              <a:gd name="connsiteY3092" fmla="*/ 269924 h 3192694"/>
              <a:gd name="connsiteX3093" fmla="*/ 5310351 w 8115305"/>
              <a:gd name="connsiteY3093" fmla="*/ 279883 h 3192694"/>
              <a:gd name="connsiteX3094" fmla="*/ 5247697 w 8115305"/>
              <a:gd name="connsiteY3094" fmla="*/ 268836 h 3192694"/>
              <a:gd name="connsiteX3095" fmla="*/ 5281196 w 8115305"/>
              <a:gd name="connsiteY3095" fmla="*/ 259059 h 3192694"/>
              <a:gd name="connsiteX3096" fmla="*/ 5144482 w 8115305"/>
              <a:gd name="connsiteY3096" fmla="*/ 256525 h 3192694"/>
              <a:gd name="connsiteX3097" fmla="*/ 5206955 w 8115305"/>
              <a:gd name="connsiteY3097" fmla="*/ 267390 h 3192694"/>
              <a:gd name="connsiteX3098" fmla="*/ 5170739 w 8115305"/>
              <a:gd name="connsiteY3098" fmla="*/ 278255 h 3192694"/>
              <a:gd name="connsiteX3099" fmla="*/ 5108266 w 8115305"/>
              <a:gd name="connsiteY3099" fmla="*/ 267209 h 3192694"/>
              <a:gd name="connsiteX3100" fmla="*/ 5144482 w 8115305"/>
              <a:gd name="connsiteY3100" fmla="*/ 256525 h 3192694"/>
              <a:gd name="connsiteX3101" fmla="*/ 3794006 w 8115305"/>
              <a:gd name="connsiteY3101" fmla="*/ 256524 h 3192694"/>
              <a:gd name="connsiteX3102" fmla="*/ 3853763 w 8115305"/>
              <a:gd name="connsiteY3102" fmla="*/ 270467 h 3192694"/>
              <a:gd name="connsiteX3103" fmla="*/ 3785858 w 8115305"/>
              <a:gd name="connsiteY3103" fmla="*/ 284773 h 3192694"/>
              <a:gd name="connsiteX3104" fmla="*/ 3726284 w 8115305"/>
              <a:gd name="connsiteY3104" fmla="*/ 270467 h 3192694"/>
              <a:gd name="connsiteX3105" fmla="*/ 3794006 w 8115305"/>
              <a:gd name="connsiteY3105" fmla="*/ 256524 h 3192694"/>
              <a:gd name="connsiteX3106" fmla="*/ 6221712 w 8115305"/>
              <a:gd name="connsiteY3106" fmla="*/ 254893 h 3192694"/>
              <a:gd name="connsiteX3107" fmla="*/ 6250504 w 8115305"/>
              <a:gd name="connsiteY3107" fmla="*/ 258695 h 3192694"/>
              <a:gd name="connsiteX3108" fmla="*/ 6244348 w 8115305"/>
              <a:gd name="connsiteY3108" fmla="*/ 262861 h 3192694"/>
              <a:gd name="connsiteX3109" fmla="*/ 6215012 w 8115305"/>
              <a:gd name="connsiteY3109" fmla="*/ 259239 h 3192694"/>
              <a:gd name="connsiteX3110" fmla="*/ 6221712 w 8115305"/>
              <a:gd name="connsiteY3110" fmla="*/ 254893 h 3192694"/>
              <a:gd name="connsiteX3111" fmla="*/ 3660733 w 8115305"/>
              <a:gd name="connsiteY3111" fmla="*/ 254713 h 3192694"/>
              <a:gd name="connsiteX3112" fmla="*/ 3718317 w 8115305"/>
              <a:gd name="connsiteY3112" fmla="*/ 268114 h 3192694"/>
              <a:gd name="connsiteX3113" fmla="*/ 3649324 w 8115305"/>
              <a:gd name="connsiteY3113" fmla="*/ 282418 h 3192694"/>
              <a:gd name="connsiteX3114" fmla="*/ 3593372 w 8115305"/>
              <a:gd name="connsiteY3114" fmla="*/ 268295 h 3192694"/>
              <a:gd name="connsiteX3115" fmla="*/ 3660733 w 8115305"/>
              <a:gd name="connsiteY3115" fmla="*/ 254713 h 3192694"/>
              <a:gd name="connsiteX3116" fmla="*/ 5005595 w 8115305"/>
              <a:gd name="connsiteY3116" fmla="*/ 252723 h 3192694"/>
              <a:gd name="connsiteX3117" fmla="*/ 5071870 w 8115305"/>
              <a:gd name="connsiteY3117" fmla="*/ 264312 h 3192694"/>
              <a:gd name="connsiteX3118" fmla="*/ 5033118 w 8115305"/>
              <a:gd name="connsiteY3118" fmla="*/ 275719 h 3192694"/>
              <a:gd name="connsiteX3119" fmla="*/ 4966482 w 8115305"/>
              <a:gd name="connsiteY3119" fmla="*/ 263768 h 3192694"/>
              <a:gd name="connsiteX3120" fmla="*/ 5005595 w 8115305"/>
              <a:gd name="connsiteY3120" fmla="*/ 252723 h 3192694"/>
              <a:gd name="connsiteX3121" fmla="*/ 3526011 w 8115305"/>
              <a:gd name="connsiteY3121" fmla="*/ 252359 h 3192694"/>
              <a:gd name="connsiteX3122" fmla="*/ 3577255 w 8115305"/>
              <a:gd name="connsiteY3122" fmla="*/ 265036 h 3192694"/>
              <a:gd name="connsiteX3123" fmla="*/ 3508445 w 8115305"/>
              <a:gd name="connsiteY3123" fmla="*/ 278435 h 3192694"/>
              <a:gd name="connsiteX3124" fmla="*/ 3458831 w 8115305"/>
              <a:gd name="connsiteY3124" fmla="*/ 265036 h 3192694"/>
              <a:gd name="connsiteX3125" fmla="*/ 3526011 w 8115305"/>
              <a:gd name="connsiteY3125" fmla="*/ 252359 h 3192694"/>
              <a:gd name="connsiteX3126" fmla="*/ 6079205 w 8115305"/>
              <a:gd name="connsiteY3126" fmla="*/ 250730 h 3192694"/>
              <a:gd name="connsiteX3127" fmla="*/ 6114333 w 8115305"/>
              <a:gd name="connsiteY3127" fmla="*/ 255800 h 3192694"/>
              <a:gd name="connsiteX3128" fmla="*/ 6103107 w 8115305"/>
              <a:gd name="connsiteY3128" fmla="*/ 260690 h 3192694"/>
              <a:gd name="connsiteX3129" fmla="*/ 6067977 w 8115305"/>
              <a:gd name="connsiteY3129" fmla="*/ 255620 h 3192694"/>
              <a:gd name="connsiteX3130" fmla="*/ 6079205 w 8115305"/>
              <a:gd name="connsiteY3130" fmla="*/ 250730 h 3192694"/>
              <a:gd name="connsiteX3131" fmla="*/ 3396177 w 8115305"/>
              <a:gd name="connsiteY3131" fmla="*/ 250547 h 3192694"/>
              <a:gd name="connsiteX3132" fmla="*/ 3442353 w 8115305"/>
              <a:gd name="connsiteY3132" fmla="*/ 263405 h 3192694"/>
              <a:gd name="connsiteX3133" fmla="*/ 3372818 w 8115305"/>
              <a:gd name="connsiteY3133" fmla="*/ 275899 h 3192694"/>
              <a:gd name="connsiteX3134" fmla="*/ 3327911 w 8115305"/>
              <a:gd name="connsiteY3134" fmla="*/ 262861 h 3192694"/>
              <a:gd name="connsiteX3135" fmla="*/ 3396177 w 8115305"/>
              <a:gd name="connsiteY3135" fmla="*/ 250547 h 3192694"/>
              <a:gd name="connsiteX3136" fmla="*/ 4871419 w 8115305"/>
              <a:gd name="connsiteY3136" fmla="*/ 250367 h 3192694"/>
              <a:gd name="connsiteX3137" fmla="*/ 4936787 w 8115305"/>
              <a:gd name="connsiteY3137" fmla="*/ 262137 h 3192694"/>
              <a:gd name="connsiteX3138" fmla="*/ 4894416 w 8115305"/>
              <a:gd name="connsiteY3138" fmla="*/ 274087 h 3192694"/>
              <a:gd name="connsiteX3139" fmla="*/ 4828685 w 8115305"/>
              <a:gd name="connsiteY3139" fmla="*/ 261774 h 3192694"/>
              <a:gd name="connsiteX3140" fmla="*/ 4871419 w 8115305"/>
              <a:gd name="connsiteY3140" fmla="*/ 250367 h 3192694"/>
              <a:gd name="connsiteX3141" fmla="*/ 3264898 w 8115305"/>
              <a:gd name="connsiteY3141" fmla="*/ 248375 h 3192694"/>
              <a:gd name="connsiteX3142" fmla="*/ 3307812 w 8115305"/>
              <a:gd name="connsiteY3142" fmla="*/ 259964 h 3192694"/>
              <a:gd name="connsiteX3143" fmla="*/ 3242081 w 8115305"/>
              <a:gd name="connsiteY3143" fmla="*/ 271734 h 3192694"/>
              <a:gd name="connsiteX3144" fmla="*/ 3200795 w 8115305"/>
              <a:gd name="connsiteY3144" fmla="*/ 259601 h 3192694"/>
              <a:gd name="connsiteX3145" fmla="*/ 3264898 w 8115305"/>
              <a:gd name="connsiteY3145" fmla="*/ 248375 h 3192694"/>
              <a:gd name="connsiteX3146" fmla="*/ 5939413 w 8115305"/>
              <a:gd name="connsiteY3146" fmla="*/ 248013 h 3192694"/>
              <a:gd name="connsiteX3147" fmla="*/ 5980518 w 8115305"/>
              <a:gd name="connsiteY3147" fmla="*/ 253808 h 3192694"/>
              <a:gd name="connsiteX3148" fmla="*/ 5968748 w 8115305"/>
              <a:gd name="connsiteY3148" fmla="*/ 259785 h 3192694"/>
              <a:gd name="connsiteX3149" fmla="*/ 5925833 w 8115305"/>
              <a:gd name="connsiteY3149" fmla="*/ 253808 h 3192694"/>
              <a:gd name="connsiteX3150" fmla="*/ 5939413 w 8115305"/>
              <a:gd name="connsiteY3150" fmla="*/ 248013 h 3192694"/>
              <a:gd name="connsiteX3151" fmla="*/ 4736878 w 8115305"/>
              <a:gd name="connsiteY3151" fmla="*/ 246928 h 3192694"/>
              <a:gd name="connsiteX3152" fmla="*/ 4802790 w 8115305"/>
              <a:gd name="connsiteY3152" fmla="*/ 259966 h 3192694"/>
              <a:gd name="connsiteX3153" fmla="*/ 4754261 w 8115305"/>
              <a:gd name="connsiteY3153" fmla="*/ 271916 h 3192694"/>
              <a:gd name="connsiteX3154" fmla="*/ 4688166 w 8115305"/>
              <a:gd name="connsiteY3154" fmla="*/ 258517 h 3192694"/>
              <a:gd name="connsiteX3155" fmla="*/ 4736878 w 8115305"/>
              <a:gd name="connsiteY3155" fmla="*/ 246928 h 3192694"/>
              <a:gd name="connsiteX3156" fmla="*/ 3135244 w 8115305"/>
              <a:gd name="connsiteY3156" fmla="*/ 246746 h 3192694"/>
              <a:gd name="connsiteX3157" fmla="*/ 3174901 w 8115305"/>
              <a:gd name="connsiteY3157" fmla="*/ 257611 h 3192694"/>
              <a:gd name="connsiteX3158" fmla="*/ 3109350 w 8115305"/>
              <a:gd name="connsiteY3158" fmla="*/ 269200 h 3192694"/>
              <a:gd name="connsiteX3159" fmla="*/ 3071324 w 8115305"/>
              <a:gd name="connsiteY3159" fmla="*/ 257791 h 3192694"/>
              <a:gd name="connsiteX3160" fmla="*/ 3135244 w 8115305"/>
              <a:gd name="connsiteY3160" fmla="*/ 246746 h 3192694"/>
              <a:gd name="connsiteX3161" fmla="*/ 3006498 w 8115305"/>
              <a:gd name="connsiteY3161" fmla="*/ 245477 h 3192694"/>
              <a:gd name="connsiteX3162" fmla="*/ 3039999 w 8115305"/>
              <a:gd name="connsiteY3162" fmla="*/ 255981 h 3192694"/>
              <a:gd name="connsiteX3163" fmla="*/ 2978069 w 8115305"/>
              <a:gd name="connsiteY3163" fmla="*/ 266302 h 3192694"/>
              <a:gd name="connsiteX3164" fmla="*/ 2944751 w 8115305"/>
              <a:gd name="connsiteY3164" fmla="*/ 255618 h 3192694"/>
              <a:gd name="connsiteX3165" fmla="*/ 3006498 w 8115305"/>
              <a:gd name="connsiteY3165" fmla="*/ 245477 h 3192694"/>
              <a:gd name="connsiteX3166" fmla="*/ 4596722 w 8115305"/>
              <a:gd name="connsiteY3166" fmla="*/ 244392 h 3192694"/>
              <a:gd name="connsiteX3167" fmla="*/ 4663719 w 8115305"/>
              <a:gd name="connsiteY3167" fmla="*/ 256706 h 3192694"/>
              <a:gd name="connsiteX3168" fmla="*/ 4615373 w 8115305"/>
              <a:gd name="connsiteY3168" fmla="*/ 269563 h 3192694"/>
              <a:gd name="connsiteX3169" fmla="*/ 4547830 w 8115305"/>
              <a:gd name="connsiteY3169" fmla="*/ 256886 h 3192694"/>
              <a:gd name="connsiteX3170" fmla="*/ 4596722 w 8115305"/>
              <a:gd name="connsiteY3170" fmla="*/ 244392 h 3192694"/>
              <a:gd name="connsiteX3171" fmla="*/ 5794368 w 8115305"/>
              <a:gd name="connsiteY3171" fmla="*/ 244029 h 3192694"/>
              <a:gd name="connsiteX3172" fmla="*/ 5840724 w 8115305"/>
              <a:gd name="connsiteY3172" fmla="*/ 250367 h 3192694"/>
              <a:gd name="connsiteX3173" fmla="*/ 5825152 w 8115305"/>
              <a:gd name="connsiteY3173" fmla="*/ 257430 h 3192694"/>
              <a:gd name="connsiteX3174" fmla="*/ 5780245 w 8115305"/>
              <a:gd name="connsiteY3174" fmla="*/ 251091 h 3192694"/>
              <a:gd name="connsiteX3175" fmla="*/ 5794368 w 8115305"/>
              <a:gd name="connsiteY3175" fmla="*/ 244029 h 3192694"/>
              <a:gd name="connsiteX3176" fmla="*/ 2878658 w 8115305"/>
              <a:gd name="connsiteY3176" fmla="*/ 242943 h 3192694"/>
              <a:gd name="connsiteX3177" fmla="*/ 2908898 w 8115305"/>
              <a:gd name="connsiteY3177" fmla="*/ 252721 h 3192694"/>
              <a:gd name="connsiteX3178" fmla="*/ 2849160 w 8115305"/>
              <a:gd name="connsiteY3178" fmla="*/ 262500 h 3192694"/>
              <a:gd name="connsiteX3179" fmla="*/ 2819103 w 8115305"/>
              <a:gd name="connsiteY3179" fmla="*/ 252540 h 3192694"/>
              <a:gd name="connsiteX3180" fmla="*/ 2878658 w 8115305"/>
              <a:gd name="connsiteY3180" fmla="*/ 242943 h 3192694"/>
              <a:gd name="connsiteX3181" fmla="*/ 4466165 w 8115305"/>
              <a:gd name="connsiteY3181" fmla="*/ 241675 h 3192694"/>
              <a:gd name="connsiteX3182" fmla="*/ 4533163 w 8115305"/>
              <a:gd name="connsiteY3182" fmla="*/ 254894 h 3192694"/>
              <a:gd name="connsiteX3183" fmla="*/ 4478840 w 8115305"/>
              <a:gd name="connsiteY3183" fmla="*/ 268114 h 3192694"/>
              <a:gd name="connsiteX3184" fmla="*/ 4411660 w 8115305"/>
              <a:gd name="connsiteY3184" fmla="*/ 254532 h 3192694"/>
              <a:gd name="connsiteX3185" fmla="*/ 4466165 w 8115305"/>
              <a:gd name="connsiteY3185" fmla="*/ 241675 h 3192694"/>
              <a:gd name="connsiteX3186" fmla="*/ 2744319 w 8115305"/>
              <a:gd name="connsiteY3186" fmla="*/ 241675 h 3192694"/>
              <a:gd name="connsiteX3187" fmla="*/ 2772750 w 8115305"/>
              <a:gd name="connsiteY3187" fmla="*/ 250548 h 3192694"/>
              <a:gd name="connsiteX3188" fmla="*/ 2715705 w 8115305"/>
              <a:gd name="connsiteY3188" fmla="*/ 259783 h 3192694"/>
              <a:gd name="connsiteX3189" fmla="*/ 2688364 w 8115305"/>
              <a:gd name="connsiteY3189" fmla="*/ 250911 h 3192694"/>
              <a:gd name="connsiteX3190" fmla="*/ 2744319 w 8115305"/>
              <a:gd name="connsiteY3190" fmla="*/ 241675 h 3192694"/>
              <a:gd name="connsiteX3191" fmla="*/ 5657656 w 8115305"/>
              <a:gd name="connsiteY3191" fmla="*/ 241313 h 3192694"/>
              <a:gd name="connsiteX3192" fmla="*/ 5706185 w 8115305"/>
              <a:gd name="connsiteY3192" fmla="*/ 248556 h 3192694"/>
              <a:gd name="connsiteX3193" fmla="*/ 5688258 w 8115305"/>
              <a:gd name="connsiteY3193" fmla="*/ 255980 h 3192694"/>
              <a:gd name="connsiteX3194" fmla="*/ 5639548 w 8115305"/>
              <a:gd name="connsiteY3194" fmla="*/ 248556 h 3192694"/>
              <a:gd name="connsiteX3195" fmla="*/ 5657656 w 8115305"/>
              <a:gd name="connsiteY3195" fmla="*/ 241313 h 3192694"/>
              <a:gd name="connsiteX3196" fmla="*/ 2617928 w 8115305"/>
              <a:gd name="connsiteY3196" fmla="*/ 239502 h 3192694"/>
              <a:gd name="connsiteX3197" fmla="*/ 2640922 w 8115305"/>
              <a:gd name="connsiteY3197" fmla="*/ 247833 h 3192694"/>
              <a:gd name="connsiteX3198" fmla="*/ 2588952 w 8115305"/>
              <a:gd name="connsiteY3198" fmla="*/ 255800 h 3192694"/>
              <a:gd name="connsiteX3199" fmla="*/ 2566319 w 8115305"/>
              <a:gd name="connsiteY3199" fmla="*/ 247289 h 3192694"/>
              <a:gd name="connsiteX3200" fmla="*/ 2617928 w 8115305"/>
              <a:gd name="connsiteY3200" fmla="*/ 239502 h 3192694"/>
              <a:gd name="connsiteX3201" fmla="*/ 2490810 w 8115305"/>
              <a:gd name="connsiteY3201" fmla="*/ 239322 h 3192694"/>
              <a:gd name="connsiteX3202" fmla="*/ 2508918 w 8115305"/>
              <a:gd name="connsiteY3202" fmla="*/ 246565 h 3192694"/>
              <a:gd name="connsiteX3203" fmla="*/ 2461113 w 8115305"/>
              <a:gd name="connsiteY3203" fmla="*/ 253808 h 3192694"/>
              <a:gd name="connsiteX3204" fmla="*/ 2443005 w 8115305"/>
              <a:gd name="connsiteY3204" fmla="*/ 246384 h 3192694"/>
              <a:gd name="connsiteX3205" fmla="*/ 2490810 w 8115305"/>
              <a:gd name="connsiteY3205" fmla="*/ 239322 h 3192694"/>
              <a:gd name="connsiteX3206" fmla="*/ 4333256 w 8115305"/>
              <a:gd name="connsiteY3206" fmla="*/ 238597 h 3192694"/>
              <a:gd name="connsiteX3207" fmla="*/ 4399893 w 8115305"/>
              <a:gd name="connsiteY3207" fmla="*/ 251454 h 3192694"/>
              <a:gd name="connsiteX3208" fmla="*/ 4344120 w 8115305"/>
              <a:gd name="connsiteY3208" fmla="*/ 265217 h 3192694"/>
              <a:gd name="connsiteX3209" fmla="*/ 4277303 w 8115305"/>
              <a:gd name="connsiteY3209" fmla="*/ 251816 h 3192694"/>
              <a:gd name="connsiteX3210" fmla="*/ 4333256 w 8115305"/>
              <a:gd name="connsiteY3210" fmla="*/ 238597 h 3192694"/>
              <a:gd name="connsiteX3211" fmla="*/ 5522029 w 8115305"/>
              <a:gd name="connsiteY3211" fmla="*/ 237512 h 3192694"/>
              <a:gd name="connsiteX3212" fmla="*/ 5573455 w 8115305"/>
              <a:gd name="connsiteY3212" fmla="*/ 245660 h 3192694"/>
              <a:gd name="connsiteX3213" fmla="*/ 5551365 w 8115305"/>
              <a:gd name="connsiteY3213" fmla="*/ 253627 h 3192694"/>
              <a:gd name="connsiteX3214" fmla="*/ 5498127 w 8115305"/>
              <a:gd name="connsiteY3214" fmla="*/ 245297 h 3192694"/>
              <a:gd name="connsiteX3215" fmla="*/ 5522029 w 8115305"/>
              <a:gd name="connsiteY3215" fmla="*/ 237512 h 3192694"/>
              <a:gd name="connsiteX3216" fmla="*/ 4203604 w 8115305"/>
              <a:gd name="connsiteY3216" fmla="*/ 236424 h 3192694"/>
              <a:gd name="connsiteX3217" fmla="*/ 4267524 w 8115305"/>
              <a:gd name="connsiteY3217" fmla="*/ 249823 h 3192694"/>
              <a:gd name="connsiteX3218" fmla="*/ 4208494 w 8115305"/>
              <a:gd name="connsiteY3218" fmla="*/ 263044 h 3192694"/>
              <a:gd name="connsiteX3219" fmla="*/ 4144391 w 8115305"/>
              <a:gd name="connsiteY3219" fmla="*/ 249823 h 3192694"/>
              <a:gd name="connsiteX3220" fmla="*/ 4203604 w 8115305"/>
              <a:gd name="connsiteY3220" fmla="*/ 236424 h 3192694"/>
              <a:gd name="connsiteX3221" fmla="*/ 2364055 w 8115305"/>
              <a:gd name="connsiteY3221" fmla="*/ 235701 h 3192694"/>
              <a:gd name="connsiteX3222" fmla="*/ 2382166 w 8115305"/>
              <a:gd name="connsiteY3222" fmla="*/ 241676 h 3192694"/>
              <a:gd name="connsiteX3223" fmla="*/ 2338524 w 8115305"/>
              <a:gd name="connsiteY3223" fmla="*/ 248739 h 3192694"/>
              <a:gd name="connsiteX3224" fmla="*/ 2320056 w 8115305"/>
              <a:gd name="connsiteY3224" fmla="*/ 242764 h 3192694"/>
              <a:gd name="connsiteX3225" fmla="*/ 2364055 w 8115305"/>
              <a:gd name="connsiteY3225" fmla="*/ 235701 h 3192694"/>
              <a:gd name="connsiteX3226" fmla="*/ 2236035 w 8115305"/>
              <a:gd name="connsiteY3226" fmla="*/ 234976 h 3192694"/>
              <a:gd name="connsiteX3227" fmla="*/ 2251788 w 8115305"/>
              <a:gd name="connsiteY3227" fmla="*/ 240410 h 3192694"/>
              <a:gd name="connsiteX3228" fmla="*/ 2212313 w 8115305"/>
              <a:gd name="connsiteY3228" fmla="*/ 246205 h 3192694"/>
              <a:gd name="connsiteX3229" fmla="*/ 2198552 w 8115305"/>
              <a:gd name="connsiteY3229" fmla="*/ 240410 h 3192694"/>
              <a:gd name="connsiteX3230" fmla="*/ 2236035 w 8115305"/>
              <a:gd name="connsiteY3230" fmla="*/ 234976 h 3192694"/>
              <a:gd name="connsiteX3231" fmla="*/ 5386583 w 8115305"/>
              <a:gd name="connsiteY3231" fmla="*/ 234793 h 3192694"/>
              <a:gd name="connsiteX3232" fmla="*/ 5442899 w 8115305"/>
              <a:gd name="connsiteY3232" fmla="*/ 243848 h 3192694"/>
              <a:gd name="connsiteX3233" fmla="*/ 5416461 w 8115305"/>
              <a:gd name="connsiteY3233" fmla="*/ 252357 h 3192694"/>
              <a:gd name="connsiteX3234" fmla="*/ 5359965 w 8115305"/>
              <a:gd name="connsiteY3234" fmla="*/ 243304 h 3192694"/>
              <a:gd name="connsiteX3235" fmla="*/ 5386583 w 8115305"/>
              <a:gd name="connsiteY3235" fmla="*/ 234793 h 3192694"/>
              <a:gd name="connsiteX3236" fmla="*/ 4074495 w 8115305"/>
              <a:gd name="connsiteY3236" fmla="*/ 233527 h 3192694"/>
              <a:gd name="connsiteX3237" fmla="*/ 4135337 w 8115305"/>
              <a:gd name="connsiteY3237" fmla="*/ 246565 h 3192694"/>
              <a:gd name="connsiteX3238" fmla="*/ 4073409 w 8115305"/>
              <a:gd name="connsiteY3238" fmla="*/ 259966 h 3192694"/>
              <a:gd name="connsiteX3239" fmla="*/ 4012748 w 8115305"/>
              <a:gd name="connsiteY3239" fmla="*/ 246565 h 3192694"/>
              <a:gd name="connsiteX3240" fmla="*/ 4074495 w 8115305"/>
              <a:gd name="connsiteY3240" fmla="*/ 233527 h 3192694"/>
              <a:gd name="connsiteX3241" fmla="*/ 2113802 w 8115305"/>
              <a:gd name="connsiteY3241" fmla="*/ 232803 h 3192694"/>
              <a:gd name="connsiteX3242" fmla="*/ 2123763 w 8115305"/>
              <a:gd name="connsiteY3242" fmla="*/ 237693 h 3192694"/>
              <a:gd name="connsiteX3243" fmla="*/ 2089538 w 8115305"/>
              <a:gd name="connsiteY3243" fmla="*/ 242400 h 3192694"/>
              <a:gd name="connsiteX3244" fmla="*/ 2079579 w 8115305"/>
              <a:gd name="connsiteY3244" fmla="*/ 237513 h 3192694"/>
              <a:gd name="connsiteX3245" fmla="*/ 2113802 w 8115305"/>
              <a:gd name="connsiteY3245" fmla="*/ 232803 h 3192694"/>
              <a:gd name="connsiteX3246" fmla="*/ 1980158 w 8115305"/>
              <a:gd name="connsiteY3246" fmla="*/ 232259 h 3192694"/>
              <a:gd name="connsiteX3247" fmla="*/ 1989937 w 8115305"/>
              <a:gd name="connsiteY3247" fmla="*/ 235701 h 3192694"/>
              <a:gd name="connsiteX3248" fmla="*/ 1963138 w 8115305"/>
              <a:gd name="connsiteY3248" fmla="*/ 239683 h 3192694"/>
              <a:gd name="connsiteX3249" fmla="*/ 1953902 w 8115305"/>
              <a:gd name="connsiteY3249" fmla="*/ 236425 h 3192694"/>
              <a:gd name="connsiteX3250" fmla="*/ 1980158 w 8115305"/>
              <a:gd name="connsiteY3250" fmla="*/ 232259 h 3192694"/>
              <a:gd name="connsiteX3251" fmla="*/ 3939953 w 8115305"/>
              <a:gd name="connsiteY3251" fmla="*/ 231715 h 3192694"/>
              <a:gd name="connsiteX3252" fmla="*/ 3998985 w 8115305"/>
              <a:gd name="connsiteY3252" fmla="*/ 244572 h 3192694"/>
              <a:gd name="connsiteX3253" fmla="*/ 3936151 w 8115305"/>
              <a:gd name="connsiteY3253" fmla="*/ 257790 h 3192694"/>
              <a:gd name="connsiteX3254" fmla="*/ 3877301 w 8115305"/>
              <a:gd name="connsiteY3254" fmla="*/ 244392 h 3192694"/>
              <a:gd name="connsiteX3255" fmla="*/ 3939953 w 8115305"/>
              <a:gd name="connsiteY3255" fmla="*/ 231715 h 3192694"/>
              <a:gd name="connsiteX3256" fmla="*/ 5252947 w 8115305"/>
              <a:gd name="connsiteY3256" fmla="*/ 231535 h 3192694"/>
              <a:gd name="connsiteX3257" fmla="*/ 5308719 w 8115305"/>
              <a:gd name="connsiteY3257" fmla="*/ 240588 h 3192694"/>
              <a:gd name="connsiteX3258" fmla="*/ 5278118 w 8115305"/>
              <a:gd name="connsiteY3258" fmla="*/ 249824 h 3192694"/>
              <a:gd name="connsiteX3259" fmla="*/ 5222707 w 8115305"/>
              <a:gd name="connsiteY3259" fmla="*/ 240227 h 3192694"/>
              <a:gd name="connsiteX3260" fmla="*/ 5252947 w 8115305"/>
              <a:gd name="connsiteY3260" fmla="*/ 231535 h 3192694"/>
              <a:gd name="connsiteX3261" fmla="*/ 5118950 w 8115305"/>
              <a:gd name="connsiteY3261" fmla="*/ 228819 h 3192694"/>
              <a:gd name="connsiteX3262" fmla="*/ 5178706 w 8115305"/>
              <a:gd name="connsiteY3262" fmla="*/ 238235 h 3192694"/>
              <a:gd name="connsiteX3263" fmla="*/ 5148105 w 8115305"/>
              <a:gd name="connsiteY3263" fmla="*/ 248558 h 3192694"/>
              <a:gd name="connsiteX3264" fmla="*/ 5086538 w 8115305"/>
              <a:gd name="connsiteY3264" fmla="*/ 238598 h 3192694"/>
              <a:gd name="connsiteX3265" fmla="*/ 5118950 w 8115305"/>
              <a:gd name="connsiteY3265" fmla="*/ 228819 h 3192694"/>
              <a:gd name="connsiteX3266" fmla="*/ 3811570 w 8115305"/>
              <a:gd name="connsiteY3266" fmla="*/ 228818 h 3192694"/>
              <a:gd name="connsiteX3267" fmla="*/ 3867885 w 8115305"/>
              <a:gd name="connsiteY3267" fmla="*/ 241675 h 3192694"/>
              <a:gd name="connsiteX3268" fmla="*/ 3804327 w 8115305"/>
              <a:gd name="connsiteY3268" fmla="*/ 254532 h 3192694"/>
              <a:gd name="connsiteX3269" fmla="*/ 3748011 w 8115305"/>
              <a:gd name="connsiteY3269" fmla="*/ 241312 h 3192694"/>
              <a:gd name="connsiteX3270" fmla="*/ 3811570 w 8115305"/>
              <a:gd name="connsiteY3270" fmla="*/ 228818 h 3192694"/>
              <a:gd name="connsiteX3271" fmla="*/ 3684818 w 8115305"/>
              <a:gd name="connsiteY3271" fmla="*/ 227552 h 3192694"/>
              <a:gd name="connsiteX3272" fmla="*/ 3735700 w 8115305"/>
              <a:gd name="connsiteY3272" fmla="*/ 239683 h 3192694"/>
              <a:gd name="connsiteX3273" fmla="*/ 3670332 w 8115305"/>
              <a:gd name="connsiteY3273" fmla="*/ 251997 h 3192694"/>
              <a:gd name="connsiteX3274" fmla="*/ 3621078 w 8115305"/>
              <a:gd name="connsiteY3274" fmla="*/ 239141 h 3192694"/>
              <a:gd name="connsiteX3275" fmla="*/ 3684818 w 8115305"/>
              <a:gd name="connsiteY3275" fmla="*/ 227552 h 3192694"/>
              <a:gd name="connsiteX3276" fmla="*/ 6155802 w 8115305"/>
              <a:gd name="connsiteY3276" fmla="*/ 226645 h 3192694"/>
              <a:gd name="connsiteX3277" fmla="*/ 6178436 w 8115305"/>
              <a:gd name="connsiteY3277" fmla="*/ 229723 h 3192694"/>
              <a:gd name="connsiteX3278" fmla="*/ 6171193 w 8115305"/>
              <a:gd name="connsiteY3278" fmla="*/ 232803 h 3192694"/>
              <a:gd name="connsiteX3279" fmla="*/ 6148558 w 8115305"/>
              <a:gd name="connsiteY3279" fmla="*/ 229723 h 3192694"/>
              <a:gd name="connsiteX3280" fmla="*/ 6155802 w 8115305"/>
              <a:gd name="connsiteY3280" fmla="*/ 226645 h 3192694"/>
              <a:gd name="connsiteX3281" fmla="*/ 4980970 w 8115305"/>
              <a:gd name="connsiteY3281" fmla="*/ 225741 h 3192694"/>
              <a:gd name="connsiteX3282" fmla="*/ 5042175 w 8115305"/>
              <a:gd name="connsiteY3282" fmla="*/ 235700 h 3192694"/>
              <a:gd name="connsiteX3283" fmla="*/ 5007226 w 8115305"/>
              <a:gd name="connsiteY3283" fmla="*/ 246202 h 3192694"/>
              <a:gd name="connsiteX3284" fmla="*/ 4946747 w 8115305"/>
              <a:gd name="connsiteY3284" fmla="*/ 235700 h 3192694"/>
              <a:gd name="connsiteX3285" fmla="*/ 4980970 w 8115305"/>
              <a:gd name="connsiteY3285" fmla="*/ 225741 h 3192694"/>
              <a:gd name="connsiteX3286" fmla="*/ 3557881 w 8115305"/>
              <a:gd name="connsiteY3286" fmla="*/ 224835 h 3192694"/>
              <a:gd name="connsiteX3287" fmla="*/ 3605324 w 8115305"/>
              <a:gd name="connsiteY3287" fmla="*/ 236787 h 3192694"/>
              <a:gd name="connsiteX3288" fmla="*/ 3541585 w 8115305"/>
              <a:gd name="connsiteY3288" fmla="*/ 248557 h 3192694"/>
              <a:gd name="connsiteX3289" fmla="*/ 3494505 w 8115305"/>
              <a:gd name="connsiteY3289" fmla="*/ 236424 h 3192694"/>
              <a:gd name="connsiteX3290" fmla="*/ 3557881 w 8115305"/>
              <a:gd name="connsiteY3290" fmla="*/ 224835 h 3192694"/>
              <a:gd name="connsiteX3291" fmla="*/ 3432214 w 8115305"/>
              <a:gd name="connsiteY3291" fmla="*/ 224293 h 3192694"/>
              <a:gd name="connsiteX3292" fmla="*/ 3475129 w 8115305"/>
              <a:gd name="connsiteY3292" fmla="*/ 235701 h 3192694"/>
              <a:gd name="connsiteX3293" fmla="*/ 3410845 w 8115305"/>
              <a:gd name="connsiteY3293" fmla="*/ 247110 h 3192694"/>
              <a:gd name="connsiteX3294" fmla="*/ 3368111 w 8115305"/>
              <a:gd name="connsiteY3294" fmla="*/ 235340 h 3192694"/>
              <a:gd name="connsiteX3295" fmla="*/ 3432214 w 8115305"/>
              <a:gd name="connsiteY3295" fmla="*/ 224293 h 3192694"/>
              <a:gd name="connsiteX3296" fmla="*/ 6020355 w 8115305"/>
              <a:gd name="connsiteY3296" fmla="*/ 223748 h 3192694"/>
              <a:gd name="connsiteX3297" fmla="*/ 6049147 w 8115305"/>
              <a:gd name="connsiteY3297" fmla="*/ 227552 h 3192694"/>
              <a:gd name="connsiteX3298" fmla="*/ 6041179 w 8115305"/>
              <a:gd name="connsiteY3298" fmla="*/ 231898 h 3192694"/>
              <a:gd name="connsiteX3299" fmla="*/ 6010578 w 8115305"/>
              <a:gd name="connsiteY3299" fmla="*/ 227732 h 3192694"/>
              <a:gd name="connsiteX3300" fmla="*/ 6020355 w 8115305"/>
              <a:gd name="connsiteY3300" fmla="*/ 223748 h 3192694"/>
              <a:gd name="connsiteX3301" fmla="*/ 4850956 w 8115305"/>
              <a:gd name="connsiteY3301" fmla="*/ 223024 h 3192694"/>
              <a:gd name="connsiteX3302" fmla="*/ 4913608 w 8115305"/>
              <a:gd name="connsiteY3302" fmla="*/ 233525 h 3192694"/>
              <a:gd name="connsiteX3303" fmla="*/ 4874134 w 8115305"/>
              <a:gd name="connsiteY3303" fmla="*/ 244572 h 3192694"/>
              <a:gd name="connsiteX3304" fmla="*/ 4812567 w 8115305"/>
              <a:gd name="connsiteY3304" fmla="*/ 233889 h 3192694"/>
              <a:gd name="connsiteX3305" fmla="*/ 4850956 w 8115305"/>
              <a:gd name="connsiteY3305" fmla="*/ 223024 h 3192694"/>
              <a:gd name="connsiteX3306" fmla="*/ 3305640 w 8115305"/>
              <a:gd name="connsiteY3306" fmla="*/ 221034 h 3192694"/>
              <a:gd name="connsiteX3307" fmla="*/ 3346019 w 8115305"/>
              <a:gd name="connsiteY3307" fmla="*/ 231899 h 3192694"/>
              <a:gd name="connsiteX3308" fmla="*/ 3283910 w 8115305"/>
              <a:gd name="connsiteY3308" fmla="*/ 242583 h 3192694"/>
              <a:gd name="connsiteX3309" fmla="*/ 3244797 w 8115305"/>
              <a:gd name="connsiteY3309" fmla="*/ 231718 h 3192694"/>
              <a:gd name="connsiteX3310" fmla="*/ 3305640 w 8115305"/>
              <a:gd name="connsiteY3310" fmla="*/ 221034 h 3192694"/>
              <a:gd name="connsiteX3311" fmla="*/ 4722030 w 8115305"/>
              <a:gd name="connsiteY3311" fmla="*/ 219946 h 3192694"/>
              <a:gd name="connsiteX3312" fmla="*/ 4783052 w 8115305"/>
              <a:gd name="connsiteY3312" fmla="*/ 230811 h 3192694"/>
              <a:gd name="connsiteX3313" fmla="*/ 4740499 w 8115305"/>
              <a:gd name="connsiteY3313" fmla="*/ 241856 h 3192694"/>
              <a:gd name="connsiteX3314" fmla="*/ 4679113 w 8115305"/>
              <a:gd name="connsiteY3314" fmla="*/ 230631 h 3192694"/>
              <a:gd name="connsiteX3315" fmla="*/ 4722030 w 8115305"/>
              <a:gd name="connsiteY3315" fmla="*/ 219946 h 3192694"/>
              <a:gd name="connsiteX3316" fmla="*/ 5884003 w 8115305"/>
              <a:gd name="connsiteY3316" fmla="*/ 219946 h 3192694"/>
              <a:gd name="connsiteX3317" fmla="*/ 5918409 w 8115305"/>
              <a:gd name="connsiteY3317" fmla="*/ 224653 h 3192694"/>
              <a:gd name="connsiteX3318" fmla="*/ 5907363 w 8115305"/>
              <a:gd name="connsiteY3318" fmla="*/ 229904 h 3192694"/>
              <a:gd name="connsiteX3319" fmla="*/ 5871147 w 8115305"/>
              <a:gd name="connsiteY3319" fmla="*/ 224834 h 3192694"/>
              <a:gd name="connsiteX3320" fmla="*/ 5884003 w 8115305"/>
              <a:gd name="connsiteY3320" fmla="*/ 219946 h 3192694"/>
              <a:gd name="connsiteX3321" fmla="*/ 3175627 w 8115305"/>
              <a:gd name="connsiteY3321" fmla="*/ 219765 h 3192694"/>
              <a:gd name="connsiteX3322" fmla="*/ 3211842 w 8115305"/>
              <a:gd name="connsiteY3322" fmla="*/ 229544 h 3192694"/>
              <a:gd name="connsiteX3323" fmla="*/ 3152629 w 8115305"/>
              <a:gd name="connsiteY3323" fmla="*/ 239865 h 3192694"/>
              <a:gd name="connsiteX3324" fmla="*/ 3116414 w 8115305"/>
              <a:gd name="connsiteY3324" fmla="*/ 229725 h 3192694"/>
              <a:gd name="connsiteX3325" fmla="*/ 3175627 w 8115305"/>
              <a:gd name="connsiteY3325" fmla="*/ 219765 h 3192694"/>
              <a:gd name="connsiteX3326" fmla="*/ 4591291 w 8115305"/>
              <a:gd name="connsiteY3326" fmla="*/ 217592 h 3192694"/>
              <a:gd name="connsiteX3327" fmla="*/ 4654667 w 8115305"/>
              <a:gd name="connsiteY3327" fmla="*/ 228637 h 3192694"/>
              <a:gd name="connsiteX3328" fmla="*/ 4608674 w 8115305"/>
              <a:gd name="connsiteY3328" fmla="*/ 240589 h 3192694"/>
              <a:gd name="connsiteX3329" fmla="*/ 4545840 w 8115305"/>
              <a:gd name="connsiteY3329" fmla="*/ 229001 h 3192694"/>
              <a:gd name="connsiteX3330" fmla="*/ 4591291 w 8115305"/>
              <a:gd name="connsiteY3330" fmla="*/ 217592 h 3192694"/>
              <a:gd name="connsiteX3331" fmla="*/ 5752180 w 8115305"/>
              <a:gd name="connsiteY3331" fmla="*/ 217591 h 3192694"/>
              <a:gd name="connsiteX3332" fmla="*/ 5791112 w 8115305"/>
              <a:gd name="connsiteY3332" fmla="*/ 223568 h 3192694"/>
              <a:gd name="connsiteX3333" fmla="*/ 5773005 w 8115305"/>
              <a:gd name="connsiteY3333" fmla="*/ 229180 h 3192694"/>
              <a:gd name="connsiteX3334" fmla="*/ 5734796 w 8115305"/>
              <a:gd name="connsiteY3334" fmla="*/ 222844 h 3192694"/>
              <a:gd name="connsiteX3335" fmla="*/ 5752180 w 8115305"/>
              <a:gd name="connsiteY3335" fmla="*/ 217591 h 3192694"/>
              <a:gd name="connsiteX3336" fmla="*/ 3050863 w 8115305"/>
              <a:gd name="connsiteY3336" fmla="*/ 217591 h 3192694"/>
              <a:gd name="connsiteX3337" fmla="*/ 3083820 w 8115305"/>
              <a:gd name="connsiteY3337" fmla="*/ 227007 h 3192694"/>
              <a:gd name="connsiteX3338" fmla="*/ 3026056 w 8115305"/>
              <a:gd name="connsiteY3338" fmla="*/ 235699 h 3192694"/>
              <a:gd name="connsiteX3339" fmla="*/ 2993462 w 8115305"/>
              <a:gd name="connsiteY3339" fmla="*/ 226102 h 3192694"/>
              <a:gd name="connsiteX3340" fmla="*/ 3050863 w 8115305"/>
              <a:gd name="connsiteY3340" fmla="*/ 217591 h 3192694"/>
              <a:gd name="connsiteX3341" fmla="*/ 2927368 w 8115305"/>
              <a:gd name="connsiteY3341" fmla="*/ 216324 h 3192694"/>
              <a:gd name="connsiteX3342" fmla="*/ 2954168 w 8115305"/>
              <a:gd name="connsiteY3342" fmla="*/ 225197 h 3192694"/>
              <a:gd name="connsiteX3343" fmla="*/ 2899845 w 8115305"/>
              <a:gd name="connsiteY3343" fmla="*/ 233708 h 3192694"/>
              <a:gd name="connsiteX3344" fmla="*/ 2873045 w 8115305"/>
              <a:gd name="connsiteY3344" fmla="*/ 224653 h 3192694"/>
              <a:gd name="connsiteX3345" fmla="*/ 2927368 w 8115305"/>
              <a:gd name="connsiteY3345" fmla="*/ 216324 h 3192694"/>
              <a:gd name="connsiteX3346" fmla="*/ 4465441 w 8115305"/>
              <a:gd name="connsiteY3346" fmla="*/ 214515 h 3192694"/>
              <a:gd name="connsiteX3347" fmla="*/ 4525922 w 8115305"/>
              <a:gd name="connsiteY3347" fmla="*/ 225921 h 3192694"/>
              <a:gd name="connsiteX3348" fmla="*/ 4475221 w 8115305"/>
              <a:gd name="connsiteY3348" fmla="*/ 237510 h 3192694"/>
              <a:gd name="connsiteX3349" fmla="*/ 4415645 w 8115305"/>
              <a:gd name="connsiteY3349" fmla="*/ 225560 h 3192694"/>
              <a:gd name="connsiteX3350" fmla="*/ 4465441 w 8115305"/>
              <a:gd name="connsiteY3350" fmla="*/ 214515 h 3192694"/>
              <a:gd name="connsiteX3351" fmla="*/ 2803348 w 8115305"/>
              <a:gd name="connsiteY3351" fmla="*/ 213971 h 3192694"/>
              <a:gd name="connsiteX3352" fmla="*/ 2828699 w 8115305"/>
              <a:gd name="connsiteY3352" fmla="*/ 222119 h 3192694"/>
              <a:gd name="connsiteX3353" fmla="*/ 2776188 w 8115305"/>
              <a:gd name="connsiteY3353" fmla="*/ 230267 h 3192694"/>
              <a:gd name="connsiteX3354" fmla="*/ 2751199 w 8115305"/>
              <a:gd name="connsiteY3354" fmla="*/ 221938 h 3192694"/>
              <a:gd name="connsiteX3355" fmla="*/ 2803348 w 8115305"/>
              <a:gd name="connsiteY3355" fmla="*/ 213971 h 3192694"/>
              <a:gd name="connsiteX3356" fmla="*/ 5616371 w 8115305"/>
              <a:gd name="connsiteY3356" fmla="*/ 213608 h 3192694"/>
              <a:gd name="connsiteX3357" fmla="*/ 5661096 w 8115305"/>
              <a:gd name="connsiteY3357" fmla="*/ 220127 h 3192694"/>
              <a:gd name="connsiteX3358" fmla="*/ 5642988 w 8115305"/>
              <a:gd name="connsiteY3358" fmla="*/ 226828 h 3192694"/>
              <a:gd name="connsiteX3359" fmla="*/ 5598263 w 8115305"/>
              <a:gd name="connsiteY3359" fmla="*/ 219946 h 3192694"/>
              <a:gd name="connsiteX3360" fmla="*/ 5616371 w 8115305"/>
              <a:gd name="connsiteY3360" fmla="*/ 213608 h 3192694"/>
              <a:gd name="connsiteX3361" fmla="*/ 2680942 w 8115305"/>
              <a:gd name="connsiteY3361" fmla="*/ 212703 h 3192694"/>
              <a:gd name="connsiteX3362" fmla="*/ 2701404 w 8115305"/>
              <a:gd name="connsiteY3362" fmla="*/ 220309 h 3192694"/>
              <a:gd name="connsiteX3363" fmla="*/ 2651427 w 8115305"/>
              <a:gd name="connsiteY3363" fmla="*/ 227733 h 3192694"/>
              <a:gd name="connsiteX3364" fmla="*/ 2630600 w 8115305"/>
              <a:gd name="connsiteY3364" fmla="*/ 219765 h 3192694"/>
              <a:gd name="connsiteX3365" fmla="*/ 2680942 w 8115305"/>
              <a:gd name="connsiteY3365" fmla="*/ 212703 h 3192694"/>
              <a:gd name="connsiteX3366" fmla="*/ 4333617 w 8115305"/>
              <a:gd name="connsiteY3366" fmla="*/ 212522 h 3192694"/>
              <a:gd name="connsiteX3367" fmla="*/ 4393371 w 8115305"/>
              <a:gd name="connsiteY3367" fmla="*/ 224111 h 3192694"/>
              <a:gd name="connsiteX3368" fmla="*/ 4341584 w 8115305"/>
              <a:gd name="connsiteY3368" fmla="*/ 235880 h 3192694"/>
              <a:gd name="connsiteX3369" fmla="*/ 4281828 w 8115305"/>
              <a:gd name="connsiteY3369" fmla="*/ 223928 h 3192694"/>
              <a:gd name="connsiteX3370" fmla="*/ 4333617 w 8115305"/>
              <a:gd name="connsiteY3370" fmla="*/ 212522 h 3192694"/>
              <a:gd name="connsiteX3371" fmla="*/ 5485088 w 8115305"/>
              <a:gd name="connsiteY3371" fmla="*/ 211072 h 3192694"/>
              <a:gd name="connsiteX3372" fmla="*/ 5532893 w 8115305"/>
              <a:gd name="connsiteY3372" fmla="*/ 217591 h 3192694"/>
              <a:gd name="connsiteX3373" fmla="*/ 5512612 w 8115305"/>
              <a:gd name="connsiteY3373" fmla="*/ 225017 h 3192694"/>
              <a:gd name="connsiteX3374" fmla="*/ 5464083 w 8115305"/>
              <a:gd name="connsiteY3374" fmla="*/ 217773 h 3192694"/>
              <a:gd name="connsiteX3375" fmla="*/ 5485088 w 8115305"/>
              <a:gd name="connsiteY3375" fmla="*/ 211072 h 3192694"/>
              <a:gd name="connsiteX3376" fmla="*/ 2555997 w 8115305"/>
              <a:gd name="connsiteY3376" fmla="*/ 210893 h 3192694"/>
              <a:gd name="connsiteX3377" fmla="*/ 2576278 w 8115305"/>
              <a:gd name="connsiteY3377" fmla="*/ 217049 h 3192694"/>
              <a:gd name="connsiteX3378" fmla="*/ 2531010 w 8115305"/>
              <a:gd name="connsiteY3378" fmla="*/ 223930 h 3192694"/>
              <a:gd name="connsiteX3379" fmla="*/ 2512900 w 8115305"/>
              <a:gd name="connsiteY3379" fmla="*/ 217412 h 3192694"/>
              <a:gd name="connsiteX3380" fmla="*/ 2555997 w 8115305"/>
              <a:gd name="connsiteY3380" fmla="*/ 210893 h 3192694"/>
              <a:gd name="connsiteX3381" fmla="*/ 2427796 w 8115305"/>
              <a:gd name="connsiteY3381" fmla="*/ 209806 h 3192694"/>
              <a:gd name="connsiteX3382" fmla="*/ 2444275 w 8115305"/>
              <a:gd name="connsiteY3382" fmla="*/ 215600 h 3192694"/>
              <a:gd name="connsiteX3383" fmla="*/ 2405704 w 8115305"/>
              <a:gd name="connsiteY3383" fmla="*/ 221213 h 3192694"/>
              <a:gd name="connsiteX3384" fmla="*/ 2389409 w 8115305"/>
              <a:gd name="connsiteY3384" fmla="*/ 215418 h 3192694"/>
              <a:gd name="connsiteX3385" fmla="*/ 2427796 w 8115305"/>
              <a:gd name="connsiteY3385" fmla="*/ 209806 h 3192694"/>
              <a:gd name="connsiteX3386" fmla="*/ 4207587 w 8115305"/>
              <a:gd name="connsiteY3386" fmla="*/ 209625 h 3192694"/>
              <a:gd name="connsiteX3387" fmla="*/ 4265349 w 8115305"/>
              <a:gd name="connsiteY3387" fmla="*/ 221034 h 3192694"/>
              <a:gd name="connsiteX3388" fmla="*/ 4212475 w 8115305"/>
              <a:gd name="connsiteY3388" fmla="*/ 232984 h 3192694"/>
              <a:gd name="connsiteX3389" fmla="*/ 4153264 w 8115305"/>
              <a:gd name="connsiteY3389" fmla="*/ 220853 h 3192694"/>
              <a:gd name="connsiteX3390" fmla="*/ 4207587 w 8115305"/>
              <a:gd name="connsiteY3390" fmla="*/ 209625 h 3192694"/>
              <a:gd name="connsiteX3391" fmla="*/ 2306475 w 8115305"/>
              <a:gd name="connsiteY3391" fmla="*/ 208718 h 3192694"/>
              <a:gd name="connsiteX3392" fmla="*/ 2317517 w 8115305"/>
              <a:gd name="connsiteY3392" fmla="*/ 213971 h 3192694"/>
              <a:gd name="connsiteX3393" fmla="*/ 2281304 w 8115305"/>
              <a:gd name="connsiteY3393" fmla="*/ 218497 h 3192694"/>
              <a:gd name="connsiteX3394" fmla="*/ 2270982 w 8115305"/>
              <a:gd name="connsiteY3394" fmla="*/ 213607 h 3192694"/>
              <a:gd name="connsiteX3395" fmla="*/ 2306475 w 8115305"/>
              <a:gd name="connsiteY3395" fmla="*/ 208718 h 3192694"/>
              <a:gd name="connsiteX3396" fmla="*/ 5349283 w 8115305"/>
              <a:gd name="connsiteY3396" fmla="*/ 207997 h 3192694"/>
              <a:gd name="connsiteX3397" fmla="*/ 5399441 w 8115305"/>
              <a:gd name="connsiteY3397" fmla="*/ 215240 h 3192694"/>
              <a:gd name="connsiteX3398" fmla="*/ 5376988 w 8115305"/>
              <a:gd name="connsiteY3398" fmla="*/ 223207 h 3192694"/>
              <a:gd name="connsiteX3399" fmla="*/ 5326466 w 8115305"/>
              <a:gd name="connsiteY3399" fmla="*/ 215601 h 3192694"/>
              <a:gd name="connsiteX3400" fmla="*/ 5349283 w 8115305"/>
              <a:gd name="connsiteY3400" fmla="*/ 207997 h 3192694"/>
              <a:gd name="connsiteX3401" fmla="*/ 4081557 w 8115305"/>
              <a:gd name="connsiteY3401" fmla="*/ 207633 h 3192694"/>
              <a:gd name="connsiteX3402" fmla="*/ 4138778 w 8115305"/>
              <a:gd name="connsiteY3402" fmla="*/ 219583 h 3192694"/>
              <a:gd name="connsiteX3403" fmla="*/ 4082282 w 8115305"/>
              <a:gd name="connsiteY3403" fmla="*/ 231173 h 3192694"/>
              <a:gd name="connsiteX3404" fmla="*/ 4025061 w 8115305"/>
              <a:gd name="connsiteY3404" fmla="*/ 218859 h 3192694"/>
              <a:gd name="connsiteX3405" fmla="*/ 4081557 w 8115305"/>
              <a:gd name="connsiteY3405" fmla="*/ 207633 h 3192694"/>
              <a:gd name="connsiteX3406" fmla="*/ 2184784 w 8115305"/>
              <a:gd name="connsiteY3406" fmla="*/ 206908 h 3192694"/>
              <a:gd name="connsiteX3407" fmla="*/ 2194383 w 8115305"/>
              <a:gd name="connsiteY3407" fmla="*/ 210893 h 3192694"/>
              <a:gd name="connsiteX3408" fmla="*/ 2164868 w 8115305"/>
              <a:gd name="connsiteY3408" fmla="*/ 214695 h 3192694"/>
              <a:gd name="connsiteX3409" fmla="*/ 2155994 w 8115305"/>
              <a:gd name="connsiteY3409" fmla="*/ 210893 h 3192694"/>
              <a:gd name="connsiteX3410" fmla="*/ 2184784 w 8115305"/>
              <a:gd name="connsiteY3410" fmla="*/ 206908 h 3192694"/>
              <a:gd name="connsiteX3411" fmla="*/ 2063631 w 8115305"/>
              <a:gd name="connsiteY3411" fmla="*/ 206004 h 3192694"/>
              <a:gd name="connsiteX3412" fmla="*/ 2068881 w 8115305"/>
              <a:gd name="connsiteY3412" fmla="*/ 209082 h 3192694"/>
              <a:gd name="connsiteX3413" fmla="*/ 2045523 w 8115305"/>
              <a:gd name="connsiteY3413" fmla="*/ 211980 h 3192694"/>
              <a:gd name="connsiteX3414" fmla="*/ 2040270 w 8115305"/>
              <a:gd name="connsiteY3414" fmla="*/ 208902 h 3192694"/>
              <a:gd name="connsiteX3415" fmla="*/ 2063631 w 8115305"/>
              <a:gd name="connsiteY3415" fmla="*/ 206004 h 3192694"/>
              <a:gd name="connsiteX3416" fmla="*/ 5219810 w 8115305"/>
              <a:gd name="connsiteY3416" fmla="*/ 205460 h 3192694"/>
              <a:gd name="connsiteX3417" fmla="*/ 5272866 w 8115305"/>
              <a:gd name="connsiteY3417" fmla="*/ 213427 h 3192694"/>
              <a:gd name="connsiteX3418" fmla="*/ 5247334 w 8115305"/>
              <a:gd name="connsiteY3418" fmla="*/ 221938 h 3192694"/>
              <a:gd name="connsiteX3419" fmla="*/ 5193011 w 8115305"/>
              <a:gd name="connsiteY3419" fmla="*/ 213788 h 3192694"/>
              <a:gd name="connsiteX3420" fmla="*/ 5219810 w 8115305"/>
              <a:gd name="connsiteY3420" fmla="*/ 205460 h 3192694"/>
              <a:gd name="connsiteX3421" fmla="*/ 3957520 w 8115305"/>
              <a:gd name="connsiteY3421" fmla="*/ 205098 h 3192694"/>
              <a:gd name="connsiteX3422" fmla="*/ 4011843 w 8115305"/>
              <a:gd name="connsiteY3422" fmla="*/ 216507 h 3192694"/>
              <a:gd name="connsiteX3423" fmla="*/ 3954985 w 8115305"/>
              <a:gd name="connsiteY3423" fmla="*/ 228095 h 3192694"/>
              <a:gd name="connsiteX3424" fmla="*/ 3900662 w 8115305"/>
              <a:gd name="connsiteY3424" fmla="*/ 216326 h 3192694"/>
              <a:gd name="connsiteX3425" fmla="*/ 3957520 w 8115305"/>
              <a:gd name="connsiteY3425" fmla="*/ 205098 h 3192694"/>
              <a:gd name="connsiteX3426" fmla="*/ 3834024 w 8115305"/>
              <a:gd name="connsiteY3426" fmla="*/ 203469 h 3192694"/>
              <a:gd name="connsiteX3427" fmla="*/ 3883821 w 8115305"/>
              <a:gd name="connsiteY3427" fmla="*/ 214695 h 3192694"/>
              <a:gd name="connsiteX3428" fmla="*/ 3824247 w 8115305"/>
              <a:gd name="connsiteY3428" fmla="*/ 225923 h 3192694"/>
              <a:gd name="connsiteX3429" fmla="*/ 3774813 w 8115305"/>
              <a:gd name="connsiteY3429" fmla="*/ 214334 h 3192694"/>
              <a:gd name="connsiteX3430" fmla="*/ 3834024 w 8115305"/>
              <a:gd name="connsiteY3430" fmla="*/ 203469 h 3192694"/>
              <a:gd name="connsiteX3431" fmla="*/ 5092151 w 8115305"/>
              <a:gd name="connsiteY3431" fmla="*/ 203287 h 3192694"/>
              <a:gd name="connsiteX3432" fmla="*/ 5146837 w 8115305"/>
              <a:gd name="connsiteY3432" fmla="*/ 211615 h 3192694"/>
              <a:gd name="connsiteX3433" fmla="*/ 5117321 w 8115305"/>
              <a:gd name="connsiteY3433" fmla="*/ 220489 h 3192694"/>
              <a:gd name="connsiteX3434" fmla="*/ 5062998 w 8115305"/>
              <a:gd name="connsiteY3434" fmla="*/ 211615 h 3192694"/>
              <a:gd name="connsiteX3435" fmla="*/ 5092151 w 8115305"/>
              <a:gd name="connsiteY3435" fmla="*/ 203287 h 3192694"/>
              <a:gd name="connsiteX3436" fmla="*/ 3708176 w 8115305"/>
              <a:gd name="connsiteY3436" fmla="*/ 201657 h 3192694"/>
              <a:gd name="connsiteX3437" fmla="*/ 3758334 w 8115305"/>
              <a:gd name="connsiteY3437" fmla="*/ 212885 h 3192694"/>
              <a:gd name="connsiteX3438" fmla="*/ 3698397 w 8115305"/>
              <a:gd name="connsiteY3438" fmla="*/ 223931 h 3192694"/>
              <a:gd name="connsiteX3439" fmla="*/ 3649688 w 8115305"/>
              <a:gd name="connsiteY3439" fmla="*/ 212342 h 3192694"/>
              <a:gd name="connsiteX3440" fmla="*/ 3708176 w 8115305"/>
              <a:gd name="connsiteY3440" fmla="*/ 201657 h 3192694"/>
              <a:gd name="connsiteX3441" fmla="*/ 6100393 w 8115305"/>
              <a:gd name="connsiteY3441" fmla="*/ 200933 h 3192694"/>
              <a:gd name="connsiteX3442" fmla="*/ 6119406 w 8115305"/>
              <a:gd name="connsiteY3442" fmla="*/ 203470 h 3192694"/>
              <a:gd name="connsiteX3443" fmla="*/ 6114879 w 8115305"/>
              <a:gd name="connsiteY3443" fmla="*/ 206184 h 3192694"/>
              <a:gd name="connsiteX3444" fmla="*/ 6094235 w 8115305"/>
              <a:gd name="connsiteY3444" fmla="*/ 203470 h 3192694"/>
              <a:gd name="connsiteX3445" fmla="*/ 6100393 w 8115305"/>
              <a:gd name="connsiteY3445" fmla="*/ 200933 h 3192694"/>
              <a:gd name="connsiteX3446" fmla="*/ 4967388 w 8115305"/>
              <a:gd name="connsiteY3446" fmla="*/ 199846 h 3192694"/>
              <a:gd name="connsiteX3447" fmla="*/ 5020987 w 8115305"/>
              <a:gd name="connsiteY3447" fmla="*/ 209081 h 3192694"/>
              <a:gd name="connsiteX3448" fmla="*/ 4987850 w 8115305"/>
              <a:gd name="connsiteY3448" fmla="*/ 218317 h 3192694"/>
              <a:gd name="connsiteX3449" fmla="*/ 4931173 w 8115305"/>
              <a:gd name="connsiteY3449" fmla="*/ 208901 h 3192694"/>
              <a:gd name="connsiteX3450" fmla="*/ 4967388 w 8115305"/>
              <a:gd name="connsiteY3450" fmla="*/ 199846 h 3192694"/>
              <a:gd name="connsiteX3451" fmla="*/ 3581420 w 8115305"/>
              <a:gd name="connsiteY3451" fmla="*/ 199485 h 3192694"/>
              <a:gd name="connsiteX3452" fmla="*/ 3627051 w 8115305"/>
              <a:gd name="connsiteY3452" fmla="*/ 209806 h 3192694"/>
              <a:gd name="connsiteX3453" fmla="*/ 3569831 w 8115305"/>
              <a:gd name="connsiteY3453" fmla="*/ 220671 h 3192694"/>
              <a:gd name="connsiteX3454" fmla="*/ 3523295 w 8115305"/>
              <a:gd name="connsiteY3454" fmla="*/ 210169 h 3192694"/>
              <a:gd name="connsiteX3455" fmla="*/ 3581420 w 8115305"/>
              <a:gd name="connsiteY3455" fmla="*/ 199485 h 3192694"/>
              <a:gd name="connsiteX3456" fmla="*/ 5970741 w 8115305"/>
              <a:gd name="connsiteY3456" fmla="*/ 198217 h 3192694"/>
              <a:gd name="connsiteX3457" fmla="*/ 5995729 w 8115305"/>
              <a:gd name="connsiteY3457" fmla="*/ 201839 h 3192694"/>
              <a:gd name="connsiteX3458" fmla="*/ 5986856 w 8115305"/>
              <a:gd name="connsiteY3458" fmla="*/ 205278 h 3192694"/>
              <a:gd name="connsiteX3459" fmla="*/ 5959693 w 8115305"/>
              <a:gd name="connsiteY3459" fmla="*/ 201475 h 3192694"/>
              <a:gd name="connsiteX3460" fmla="*/ 5970741 w 8115305"/>
              <a:gd name="connsiteY3460" fmla="*/ 198217 h 3192694"/>
              <a:gd name="connsiteX3461" fmla="*/ 3460823 w 8115305"/>
              <a:gd name="connsiteY3461" fmla="*/ 198036 h 3192694"/>
              <a:gd name="connsiteX3462" fmla="*/ 3500297 w 8115305"/>
              <a:gd name="connsiteY3462" fmla="*/ 208538 h 3192694"/>
              <a:gd name="connsiteX3463" fmla="*/ 3441266 w 8115305"/>
              <a:gd name="connsiteY3463" fmla="*/ 218317 h 3192694"/>
              <a:gd name="connsiteX3464" fmla="*/ 3402154 w 8115305"/>
              <a:gd name="connsiteY3464" fmla="*/ 207633 h 3192694"/>
              <a:gd name="connsiteX3465" fmla="*/ 3460823 w 8115305"/>
              <a:gd name="connsiteY3465" fmla="*/ 198036 h 3192694"/>
              <a:gd name="connsiteX3466" fmla="*/ 4836830 w 8115305"/>
              <a:gd name="connsiteY3466" fmla="*/ 197854 h 3192694"/>
              <a:gd name="connsiteX3467" fmla="*/ 4894775 w 8115305"/>
              <a:gd name="connsiteY3467" fmla="*/ 206909 h 3192694"/>
              <a:gd name="connsiteX3468" fmla="*/ 4858559 w 8115305"/>
              <a:gd name="connsiteY3468" fmla="*/ 216686 h 3192694"/>
              <a:gd name="connsiteX3469" fmla="*/ 4802063 w 8115305"/>
              <a:gd name="connsiteY3469" fmla="*/ 207089 h 3192694"/>
              <a:gd name="connsiteX3470" fmla="*/ 4836830 w 8115305"/>
              <a:gd name="connsiteY3470" fmla="*/ 197854 h 3192694"/>
              <a:gd name="connsiteX3471" fmla="*/ 3337689 w 8115305"/>
              <a:gd name="connsiteY3471" fmla="*/ 195683 h 3192694"/>
              <a:gd name="connsiteX3472" fmla="*/ 3376441 w 8115305"/>
              <a:gd name="connsiteY3472" fmla="*/ 205099 h 3192694"/>
              <a:gd name="connsiteX3473" fmla="*/ 3319220 w 8115305"/>
              <a:gd name="connsiteY3473" fmla="*/ 215239 h 3192694"/>
              <a:gd name="connsiteX3474" fmla="*/ 3280832 w 8115305"/>
              <a:gd name="connsiteY3474" fmla="*/ 205462 h 3192694"/>
              <a:gd name="connsiteX3475" fmla="*/ 3337689 w 8115305"/>
              <a:gd name="connsiteY3475" fmla="*/ 195683 h 3192694"/>
              <a:gd name="connsiteX3476" fmla="*/ 5836923 w 8115305"/>
              <a:gd name="connsiteY3476" fmla="*/ 194958 h 3192694"/>
              <a:gd name="connsiteX3477" fmla="*/ 5868431 w 8115305"/>
              <a:gd name="connsiteY3477" fmla="*/ 199485 h 3192694"/>
              <a:gd name="connsiteX3478" fmla="*/ 5857384 w 8115305"/>
              <a:gd name="connsiteY3478" fmla="*/ 204194 h 3192694"/>
              <a:gd name="connsiteX3479" fmla="*/ 5826058 w 8115305"/>
              <a:gd name="connsiteY3479" fmla="*/ 199485 h 3192694"/>
              <a:gd name="connsiteX3480" fmla="*/ 5836923 w 8115305"/>
              <a:gd name="connsiteY3480" fmla="*/ 194958 h 3192694"/>
              <a:gd name="connsiteX3481" fmla="*/ 4709171 w 8115305"/>
              <a:gd name="connsiteY3481" fmla="*/ 194596 h 3192694"/>
              <a:gd name="connsiteX3482" fmla="*/ 4766031 w 8115305"/>
              <a:gd name="connsiteY3482" fmla="*/ 204736 h 3192694"/>
              <a:gd name="connsiteX3483" fmla="*/ 4725106 w 8115305"/>
              <a:gd name="connsiteY3483" fmla="*/ 214516 h 3192694"/>
              <a:gd name="connsiteX3484" fmla="*/ 4668429 w 8115305"/>
              <a:gd name="connsiteY3484" fmla="*/ 204556 h 3192694"/>
              <a:gd name="connsiteX3485" fmla="*/ 4709171 w 8115305"/>
              <a:gd name="connsiteY3485" fmla="*/ 194596 h 3192694"/>
              <a:gd name="connsiteX3486" fmla="*/ 3217635 w 8115305"/>
              <a:gd name="connsiteY3486" fmla="*/ 194595 h 3192694"/>
              <a:gd name="connsiteX3487" fmla="*/ 3250411 w 8115305"/>
              <a:gd name="connsiteY3487" fmla="*/ 203468 h 3192694"/>
              <a:gd name="connsiteX3488" fmla="*/ 3195000 w 8115305"/>
              <a:gd name="connsiteY3488" fmla="*/ 212703 h 3192694"/>
              <a:gd name="connsiteX3489" fmla="*/ 3161682 w 8115305"/>
              <a:gd name="connsiteY3489" fmla="*/ 203287 h 3192694"/>
              <a:gd name="connsiteX3490" fmla="*/ 3217635 w 8115305"/>
              <a:gd name="connsiteY3490" fmla="*/ 194595 h 3192694"/>
              <a:gd name="connsiteX3491" fmla="*/ 4586582 w 8115305"/>
              <a:gd name="connsiteY3491" fmla="*/ 192603 h 3192694"/>
              <a:gd name="connsiteX3492" fmla="*/ 4640725 w 8115305"/>
              <a:gd name="connsiteY3492" fmla="*/ 202744 h 3192694"/>
              <a:gd name="connsiteX3493" fmla="*/ 4596359 w 8115305"/>
              <a:gd name="connsiteY3493" fmla="*/ 212703 h 3192694"/>
              <a:gd name="connsiteX3494" fmla="*/ 4542036 w 8115305"/>
              <a:gd name="connsiteY3494" fmla="*/ 202382 h 3192694"/>
              <a:gd name="connsiteX3495" fmla="*/ 4586582 w 8115305"/>
              <a:gd name="connsiteY3495" fmla="*/ 192603 h 3192694"/>
              <a:gd name="connsiteX3496" fmla="*/ 3094140 w 8115305"/>
              <a:gd name="connsiteY3496" fmla="*/ 192423 h 3192694"/>
              <a:gd name="connsiteX3497" fmla="*/ 3126371 w 8115305"/>
              <a:gd name="connsiteY3497" fmla="*/ 200752 h 3192694"/>
              <a:gd name="connsiteX3498" fmla="*/ 3074402 w 8115305"/>
              <a:gd name="connsiteY3498" fmla="*/ 209263 h 3192694"/>
              <a:gd name="connsiteX3499" fmla="*/ 3043800 w 8115305"/>
              <a:gd name="connsiteY3499" fmla="*/ 200752 h 3192694"/>
              <a:gd name="connsiteX3500" fmla="*/ 3094140 w 8115305"/>
              <a:gd name="connsiteY3500" fmla="*/ 192423 h 3192694"/>
              <a:gd name="connsiteX3501" fmla="*/ 5704193 w 8115305"/>
              <a:gd name="connsiteY3501" fmla="*/ 192061 h 3192694"/>
              <a:gd name="connsiteX3502" fmla="*/ 5740589 w 8115305"/>
              <a:gd name="connsiteY3502" fmla="*/ 197131 h 3192694"/>
              <a:gd name="connsiteX3503" fmla="*/ 5727371 w 8115305"/>
              <a:gd name="connsiteY3503" fmla="*/ 202382 h 3192694"/>
              <a:gd name="connsiteX3504" fmla="*/ 5689343 w 8115305"/>
              <a:gd name="connsiteY3504" fmla="*/ 197131 h 3192694"/>
              <a:gd name="connsiteX3505" fmla="*/ 5704193 w 8115305"/>
              <a:gd name="connsiteY3505" fmla="*/ 192061 h 3192694"/>
              <a:gd name="connsiteX3506" fmla="*/ 2974991 w 8115305"/>
              <a:gd name="connsiteY3506" fmla="*/ 191517 h 3192694"/>
              <a:gd name="connsiteX3507" fmla="*/ 3002878 w 8115305"/>
              <a:gd name="connsiteY3507" fmla="*/ 199485 h 3192694"/>
              <a:gd name="connsiteX3508" fmla="*/ 2951813 w 8115305"/>
              <a:gd name="connsiteY3508" fmla="*/ 207452 h 3192694"/>
              <a:gd name="connsiteX3509" fmla="*/ 2924108 w 8115305"/>
              <a:gd name="connsiteY3509" fmla="*/ 199304 h 3192694"/>
              <a:gd name="connsiteX3510" fmla="*/ 2974991 w 8115305"/>
              <a:gd name="connsiteY3510" fmla="*/ 191517 h 3192694"/>
              <a:gd name="connsiteX3511" fmla="*/ 4460371 w 8115305"/>
              <a:gd name="connsiteY3511" fmla="*/ 189344 h 3192694"/>
              <a:gd name="connsiteX3512" fmla="*/ 4516506 w 8115305"/>
              <a:gd name="connsiteY3512" fmla="*/ 199485 h 3192694"/>
              <a:gd name="connsiteX3513" fmla="*/ 4471779 w 8115305"/>
              <a:gd name="connsiteY3513" fmla="*/ 209986 h 3192694"/>
              <a:gd name="connsiteX3514" fmla="*/ 4414198 w 8115305"/>
              <a:gd name="connsiteY3514" fmla="*/ 199304 h 3192694"/>
              <a:gd name="connsiteX3515" fmla="*/ 4460371 w 8115305"/>
              <a:gd name="connsiteY3515" fmla="*/ 189344 h 3192694"/>
              <a:gd name="connsiteX3516" fmla="*/ 2849885 w 8115305"/>
              <a:gd name="connsiteY3516" fmla="*/ 189164 h 3192694"/>
              <a:gd name="connsiteX3517" fmla="*/ 2875399 w 8115305"/>
              <a:gd name="connsiteY3517" fmla="*/ 196224 h 3192694"/>
              <a:gd name="connsiteX3518" fmla="*/ 2828157 w 8115305"/>
              <a:gd name="connsiteY3518" fmla="*/ 203650 h 3192694"/>
              <a:gd name="connsiteX3519" fmla="*/ 2804256 w 8115305"/>
              <a:gd name="connsiteY3519" fmla="*/ 196224 h 3192694"/>
              <a:gd name="connsiteX3520" fmla="*/ 2849885 w 8115305"/>
              <a:gd name="connsiteY3520" fmla="*/ 189164 h 3192694"/>
              <a:gd name="connsiteX3521" fmla="*/ 5575990 w 8115305"/>
              <a:gd name="connsiteY3521" fmla="*/ 188258 h 3192694"/>
              <a:gd name="connsiteX3522" fmla="*/ 5614198 w 8115305"/>
              <a:gd name="connsiteY3522" fmla="*/ 193871 h 3192694"/>
              <a:gd name="connsiteX3523" fmla="*/ 5597902 w 8115305"/>
              <a:gd name="connsiteY3523" fmla="*/ 199483 h 3192694"/>
              <a:gd name="connsiteX3524" fmla="*/ 5558970 w 8115305"/>
              <a:gd name="connsiteY3524" fmla="*/ 193871 h 3192694"/>
              <a:gd name="connsiteX3525" fmla="*/ 5575990 w 8115305"/>
              <a:gd name="connsiteY3525" fmla="*/ 188258 h 3192694"/>
              <a:gd name="connsiteX3526" fmla="*/ 2730737 w 8115305"/>
              <a:gd name="connsiteY3526" fmla="*/ 188076 h 3192694"/>
              <a:gd name="connsiteX3527" fmla="*/ 2751923 w 8115305"/>
              <a:gd name="connsiteY3527" fmla="*/ 194412 h 3192694"/>
              <a:gd name="connsiteX3528" fmla="*/ 2708104 w 8115305"/>
              <a:gd name="connsiteY3528" fmla="*/ 201114 h 3192694"/>
              <a:gd name="connsiteX3529" fmla="*/ 2687100 w 8115305"/>
              <a:gd name="connsiteY3529" fmla="*/ 194775 h 3192694"/>
              <a:gd name="connsiteX3530" fmla="*/ 2730737 w 8115305"/>
              <a:gd name="connsiteY3530" fmla="*/ 188076 h 3192694"/>
              <a:gd name="connsiteX3531" fmla="*/ 4336153 w 8115305"/>
              <a:gd name="connsiteY3531" fmla="*/ 187713 h 3192694"/>
              <a:gd name="connsiteX3532" fmla="*/ 4393011 w 8115305"/>
              <a:gd name="connsiteY3532" fmla="*/ 198034 h 3192694"/>
              <a:gd name="connsiteX3533" fmla="*/ 4345931 w 8115305"/>
              <a:gd name="connsiteY3533" fmla="*/ 208718 h 3192694"/>
              <a:gd name="connsiteX3534" fmla="*/ 4288891 w 8115305"/>
              <a:gd name="connsiteY3534" fmla="*/ 198217 h 3192694"/>
              <a:gd name="connsiteX3535" fmla="*/ 4336153 w 8115305"/>
              <a:gd name="connsiteY3535" fmla="*/ 187713 h 3192694"/>
              <a:gd name="connsiteX3536" fmla="*/ 5451411 w 8115305"/>
              <a:gd name="connsiteY3536" fmla="*/ 186628 h 3192694"/>
              <a:gd name="connsiteX3537" fmla="*/ 5491609 w 8115305"/>
              <a:gd name="connsiteY3537" fmla="*/ 193147 h 3192694"/>
              <a:gd name="connsiteX3538" fmla="*/ 5468975 w 8115305"/>
              <a:gd name="connsiteY3538" fmla="*/ 198941 h 3192694"/>
              <a:gd name="connsiteX3539" fmla="*/ 5428594 w 8115305"/>
              <a:gd name="connsiteY3539" fmla="*/ 192423 h 3192694"/>
              <a:gd name="connsiteX3540" fmla="*/ 5451411 w 8115305"/>
              <a:gd name="connsiteY3540" fmla="*/ 186628 h 3192694"/>
              <a:gd name="connsiteX3541" fmla="*/ 2614665 w 8115305"/>
              <a:gd name="connsiteY3541" fmla="*/ 185904 h 3192694"/>
              <a:gd name="connsiteX3542" fmla="*/ 2631328 w 8115305"/>
              <a:gd name="connsiteY3542" fmla="*/ 192061 h 3192694"/>
              <a:gd name="connsiteX3543" fmla="*/ 2588413 w 8115305"/>
              <a:gd name="connsiteY3543" fmla="*/ 198037 h 3192694"/>
              <a:gd name="connsiteX3544" fmla="*/ 2571936 w 8115305"/>
              <a:gd name="connsiteY3544" fmla="*/ 191879 h 3192694"/>
              <a:gd name="connsiteX3545" fmla="*/ 2614665 w 8115305"/>
              <a:gd name="connsiteY3545" fmla="*/ 185904 h 3192694"/>
              <a:gd name="connsiteX3546" fmla="*/ 2493348 w 8115305"/>
              <a:gd name="connsiteY3546" fmla="*/ 184999 h 3192694"/>
              <a:gd name="connsiteX3547" fmla="*/ 2508918 w 8115305"/>
              <a:gd name="connsiteY3547" fmla="*/ 190069 h 3192694"/>
              <a:gd name="connsiteX3548" fmla="*/ 2471619 w 8115305"/>
              <a:gd name="connsiteY3548" fmla="*/ 195320 h 3192694"/>
              <a:gd name="connsiteX3549" fmla="*/ 2457132 w 8115305"/>
              <a:gd name="connsiteY3549" fmla="*/ 190069 h 3192694"/>
              <a:gd name="connsiteX3550" fmla="*/ 2493348 w 8115305"/>
              <a:gd name="connsiteY3550" fmla="*/ 184999 h 3192694"/>
              <a:gd name="connsiteX3551" fmla="*/ 4215193 w 8115305"/>
              <a:gd name="connsiteY3551" fmla="*/ 184998 h 3192694"/>
              <a:gd name="connsiteX3552" fmla="*/ 4269516 w 8115305"/>
              <a:gd name="connsiteY3552" fmla="*/ 195500 h 3192694"/>
              <a:gd name="connsiteX3553" fmla="*/ 4217907 w 8115305"/>
              <a:gd name="connsiteY3553" fmla="*/ 206184 h 3192694"/>
              <a:gd name="connsiteX3554" fmla="*/ 4165033 w 8115305"/>
              <a:gd name="connsiteY3554" fmla="*/ 195139 h 3192694"/>
              <a:gd name="connsiteX3555" fmla="*/ 4215193 w 8115305"/>
              <a:gd name="connsiteY3555" fmla="*/ 184998 h 3192694"/>
              <a:gd name="connsiteX3556" fmla="*/ 5322301 w 8115305"/>
              <a:gd name="connsiteY3556" fmla="*/ 183369 h 3192694"/>
              <a:gd name="connsiteX3557" fmla="*/ 5367208 w 8115305"/>
              <a:gd name="connsiteY3557" fmla="*/ 190068 h 3192694"/>
              <a:gd name="connsiteX3558" fmla="*/ 5343848 w 8115305"/>
              <a:gd name="connsiteY3558" fmla="*/ 197131 h 3192694"/>
              <a:gd name="connsiteX3559" fmla="*/ 5298760 w 8115305"/>
              <a:gd name="connsiteY3559" fmla="*/ 190249 h 3192694"/>
              <a:gd name="connsiteX3560" fmla="*/ 5322301 w 8115305"/>
              <a:gd name="connsiteY3560" fmla="*/ 183369 h 3192694"/>
              <a:gd name="connsiteX3561" fmla="*/ 4094234 w 8115305"/>
              <a:gd name="connsiteY3561" fmla="*/ 183369 h 3192694"/>
              <a:gd name="connsiteX3562" fmla="*/ 4145840 w 8115305"/>
              <a:gd name="connsiteY3562" fmla="*/ 193690 h 3192694"/>
              <a:gd name="connsiteX3563" fmla="*/ 4093146 w 8115305"/>
              <a:gd name="connsiteY3563" fmla="*/ 204374 h 3192694"/>
              <a:gd name="connsiteX3564" fmla="*/ 4041359 w 8115305"/>
              <a:gd name="connsiteY3564" fmla="*/ 193690 h 3192694"/>
              <a:gd name="connsiteX3565" fmla="*/ 4094234 w 8115305"/>
              <a:gd name="connsiteY3565" fmla="*/ 183369 h 3192694"/>
              <a:gd name="connsiteX3566" fmla="*/ 2376548 w 8115305"/>
              <a:gd name="connsiteY3566" fmla="*/ 183187 h 3192694"/>
              <a:gd name="connsiteX3567" fmla="*/ 2387955 w 8115305"/>
              <a:gd name="connsiteY3567" fmla="*/ 187713 h 3192694"/>
              <a:gd name="connsiteX3568" fmla="*/ 2356269 w 8115305"/>
              <a:gd name="connsiteY3568" fmla="*/ 191879 h 3192694"/>
              <a:gd name="connsiteX3569" fmla="*/ 2344861 w 8115305"/>
              <a:gd name="connsiteY3569" fmla="*/ 187533 h 3192694"/>
              <a:gd name="connsiteX3570" fmla="*/ 2376548 w 8115305"/>
              <a:gd name="connsiteY3570" fmla="*/ 183187 h 3192694"/>
              <a:gd name="connsiteX3571" fmla="*/ 2252504 w 8115305"/>
              <a:gd name="connsiteY3571" fmla="*/ 182282 h 3192694"/>
              <a:gd name="connsiteX3572" fmla="*/ 2261739 w 8115305"/>
              <a:gd name="connsiteY3572" fmla="*/ 185903 h 3192694"/>
              <a:gd name="connsiteX3573" fmla="*/ 2235122 w 8115305"/>
              <a:gd name="connsiteY3573" fmla="*/ 189344 h 3192694"/>
              <a:gd name="connsiteX3574" fmla="*/ 2226610 w 8115305"/>
              <a:gd name="connsiteY3574" fmla="*/ 185903 h 3192694"/>
              <a:gd name="connsiteX3575" fmla="*/ 2252504 w 8115305"/>
              <a:gd name="connsiteY3575" fmla="*/ 182282 h 3192694"/>
              <a:gd name="connsiteX3576" fmla="*/ 5196634 w 8115305"/>
              <a:gd name="connsiteY3576" fmla="*/ 181376 h 3192694"/>
              <a:gd name="connsiteX3577" fmla="*/ 5243171 w 8115305"/>
              <a:gd name="connsiteY3577" fmla="*/ 188438 h 3192694"/>
              <a:gd name="connsiteX3578" fmla="*/ 5219268 w 8115305"/>
              <a:gd name="connsiteY3578" fmla="*/ 195681 h 3192694"/>
              <a:gd name="connsiteX3579" fmla="*/ 5171101 w 8115305"/>
              <a:gd name="connsiteY3579" fmla="*/ 188258 h 3192694"/>
              <a:gd name="connsiteX3580" fmla="*/ 5196634 w 8115305"/>
              <a:gd name="connsiteY3580" fmla="*/ 181376 h 3192694"/>
              <a:gd name="connsiteX3581" fmla="*/ 2136784 w 8115305"/>
              <a:gd name="connsiteY3581" fmla="*/ 181376 h 3192694"/>
              <a:gd name="connsiteX3582" fmla="*/ 2141854 w 8115305"/>
              <a:gd name="connsiteY3582" fmla="*/ 184273 h 3192694"/>
              <a:gd name="connsiteX3583" fmla="*/ 2123746 w 8115305"/>
              <a:gd name="connsiteY3583" fmla="*/ 186628 h 3192694"/>
              <a:gd name="connsiteX3584" fmla="*/ 2117045 w 8115305"/>
              <a:gd name="connsiteY3584" fmla="*/ 183912 h 3192694"/>
              <a:gd name="connsiteX3585" fmla="*/ 2136784 w 8115305"/>
              <a:gd name="connsiteY3585" fmla="*/ 181376 h 3192694"/>
              <a:gd name="connsiteX3586" fmla="*/ 3969289 w 8115305"/>
              <a:gd name="connsiteY3586" fmla="*/ 180833 h 3192694"/>
              <a:gd name="connsiteX3587" fmla="*/ 4018542 w 8115305"/>
              <a:gd name="connsiteY3587" fmla="*/ 191337 h 3192694"/>
              <a:gd name="connsiteX3588" fmla="*/ 3964219 w 8115305"/>
              <a:gd name="connsiteY3588" fmla="*/ 201477 h 3192694"/>
              <a:gd name="connsiteX3589" fmla="*/ 3914966 w 8115305"/>
              <a:gd name="connsiteY3589" fmla="*/ 190430 h 3192694"/>
              <a:gd name="connsiteX3590" fmla="*/ 3969289 w 8115305"/>
              <a:gd name="connsiteY3590" fmla="*/ 180833 h 3192694"/>
              <a:gd name="connsiteX3591" fmla="*/ 3848329 w 8115305"/>
              <a:gd name="connsiteY3591" fmla="*/ 179204 h 3192694"/>
              <a:gd name="connsiteX3592" fmla="*/ 3895770 w 8115305"/>
              <a:gd name="connsiteY3592" fmla="*/ 189525 h 3192694"/>
              <a:gd name="connsiteX3593" fmla="*/ 3840542 w 8115305"/>
              <a:gd name="connsiteY3593" fmla="*/ 199666 h 3192694"/>
              <a:gd name="connsiteX3594" fmla="*/ 3794006 w 8115305"/>
              <a:gd name="connsiteY3594" fmla="*/ 188801 h 3192694"/>
              <a:gd name="connsiteX3595" fmla="*/ 3848329 w 8115305"/>
              <a:gd name="connsiteY3595" fmla="*/ 179204 h 3192694"/>
              <a:gd name="connsiteX3596" fmla="*/ 5068251 w 8115305"/>
              <a:gd name="connsiteY3596" fmla="*/ 178117 h 3192694"/>
              <a:gd name="connsiteX3597" fmla="*/ 5116960 w 8115305"/>
              <a:gd name="connsiteY3597" fmla="*/ 185903 h 3192694"/>
              <a:gd name="connsiteX3598" fmla="*/ 5087083 w 8115305"/>
              <a:gd name="connsiteY3598" fmla="*/ 193690 h 3192694"/>
              <a:gd name="connsiteX3599" fmla="*/ 5038915 w 8115305"/>
              <a:gd name="connsiteY3599" fmla="*/ 185542 h 3192694"/>
              <a:gd name="connsiteX3600" fmla="*/ 5068251 w 8115305"/>
              <a:gd name="connsiteY3600" fmla="*/ 178117 h 3192694"/>
              <a:gd name="connsiteX3601" fmla="*/ 3726827 w 8115305"/>
              <a:gd name="connsiteY3601" fmla="*/ 177031 h 3192694"/>
              <a:gd name="connsiteX3602" fmla="*/ 3772459 w 8115305"/>
              <a:gd name="connsiteY3602" fmla="*/ 186628 h 3192694"/>
              <a:gd name="connsiteX3603" fmla="*/ 3719765 w 8115305"/>
              <a:gd name="connsiteY3603" fmla="*/ 196587 h 3192694"/>
              <a:gd name="connsiteX3604" fmla="*/ 3675219 w 8115305"/>
              <a:gd name="connsiteY3604" fmla="*/ 186628 h 3192694"/>
              <a:gd name="connsiteX3605" fmla="*/ 3726827 w 8115305"/>
              <a:gd name="connsiteY3605" fmla="*/ 177031 h 3192694"/>
              <a:gd name="connsiteX3606" fmla="*/ 4945660 w 8115305"/>
              <a:gd name="connsiteY3606" fmla="*/ 176126 h 3192694"/>
              <a:gd name="connsiteX3607" fmla="*/ 4994732 w 8115305"/>
              <a:gd name="connsiteY3607" fmla="*/ 183913 h 3192694"/>
              <a:gd name="connsiteX3608" fmla="*/ 4964672 w 8115305"/>
              <a:gd name="connsiteY3608" fmla="*/ 192241 h 3192694"/>
              <a:gd name="connsiteX3609" fmla="*/ 4913971 w 8115305"/>
              <a:gd name="connsiteY3609" fmla="*/ 184093 h 3192694"/>
              <a:gd name="connsiteX3610" fmla="*/ 4945660 w 8115305"/>
              <a:gd name="connsiteY3610" fmla="*/ 176126 h 3192694"/>
              <a:gd name="connsiteX3611" fmla="*/ 3608765 w 8115305"/>
              <a:gd name="connsiteY3611" fmla="*/ 175582 h 3192694"/>
              <a:gd name="connsiteX3612" fmla="*/ 3650775 w 8115305"/>
              <a:gd name="connsiteY3612" fmla="*/ 184999 h 3192694"/>
              <a:gd name="connsiteX3613" fmla="*/ 3596451 w 8115305"/>
              <a:gd name="connsiteY3613" fmla="*/ 194595 h 3192694"/>
              <a:gd name="connsiteX3614" fmla="*/ 3555527 w 8115305"/>
              <a:gd name="connsiteY3614" fmla="*/ 184999 h 3192694"/>
              <a:gd name="connsiteX3615" fmla="*/ 3608765 w 8115305"/>
              <a:gd name="connsiteY3615" fmla="*/ 175582 h 3192694"/>
              <a:gd name="connsiteX3616" fmla="*/ 5919133 w 8115305"/>
              <a:gd name="connsiteY3616" fmla="*/ 174495 h 3192694"/>
              <a:gd name="connsiteX3617" fmla="*/ 5938869 w 8115305"/>
              <a:gd name="connsiteY3617" fmla="*/ 177212 h 3192694"/>
              <a:gd name="connsiteX3618" fmla="*/ 5931265 w 8115305"/>
              <a:gd name="connsiteY3618" fmla="*/ 179928 h 3192694"/>
              <a:gd name="connsiteX3619" fmla="*/ 5911346 w 8115305"/>
              <a:gd name="connsiteY3619" fmla="*/ 177392 h 3192694"/>
              <a:gd name="connsiteX3620" fmla="*/ 5919133 w 8115305"/>
              <a:gd name="connsiteY3620" fmla="*/ 174495 h 3192694"/>
              <a:gd name="connsiteX3621" fmla="*/ 3490883 w 8115305"/>
              <a:gd name="connsiteY3621" fmla="*/ 173410 h 3192694"/>
              <a:gd name="connsiteX3622" fmla="*/ 3529633 w 8115305"/>
              <a:gd name="connsiteY3622" fmla="*/ 182282 h 3192694"/>
              <a:gd name="connsiteX3623" fmla="*/ 3477483 w 8115305"/>
              <a:gd name="connsiteY3623" fmla="*/ 191518 h 3192694"/>
              <a:gd name="connsiteX3624" fmla="*/ 3438008 w 8115305"/>
              <a:gd name="connsiteY3624" fmla="*/ 182102 h 3192694"/>
              <a:gd name="connsiteX3625" fmla="*/ 3490883 w 8115305"/>
              <a:gd name="connsiteY3625" fmla="*/ 173410 h 3192694"/>
              <a:gd name="connsiteX3626" fmla="*/ 4822344 w 8115305"/>
              <a:gd name="connsiteY3626" fmla="*/ 173048 h 3192694"/>
              <a:gd name="connsiteX3627" fmla="*/ 4873589 w 8115305"/>
              <a:gd name="connsiteY3627" fmla="*/ 181557 h 3192694"/>
              <a:gd name="connsiteX3628" fmla="*/ 4837374 w 8115305"/>
              <a:gd name="connsiteY3628" fmla="*/ 190068 h 3192694"/>
              <a:gd name="connsiteX3629" fmla="*/ 4787216 w 8115305"/>
              <a:gd name="connsiteY3629" fmla="*/ 181377 h 3192694"/>
              <a:gd name="connsiteX3630" fmla="*/ 4822344 w 8115305"/>
              <a:gd name="connsiteY3630" fmla="*/ 173048 h 3192694"/>
              <a:gd name="connsiteX3631" fmla="*/ 3372637 w 8115305"/>
              <a:gd name="connsiteY3631" fmla="*/ 172142 h 3192694"/>
              <a:gd name="connsiteX3632" fmla="*/ 3407585 w 8115305"/>
              <a:gd name="connsiteY3632" fmla="*/ 180834 h 3192694"/>
              <a:gd name="connsiteX3633" fmla="*/ 3355797 w 8115305"/>
              <a:gd name="connsiteY3633" fmla="*/ 189343 h 3192694"/>
              <a:gd name="connsiteX3634" fmla="*/ 3321030 w 8115305"/>
              <a:gd name="connsiteY3634" fmla="*/ 180471 h 3192694"/>
              <a:gd name="connsiteX3635" fmla="*/ 3372637 w 8115305"/>
              <a:gd name="connsiteY3635" fmla="*/ 172142 h 3192694"/>
              <a:gd name="connsiteX3636" fmla="*/ 5790747 w 8115305"/>
              <a:gd name="connsiteY3636" fmla="*/ 171237 h 3192694"/>
              <a:gd name="connsiteX3637" fmla="*/ 5815918 w 8115305"/>
              <a:gd name="connsiteY3637" fmla="*/ 174678 h 3192694"/>
              <a:gd name="connsiteX3638" fmla="*/ 5805416 w 8115305"/>
              <a:gd name="connsiteY3638" fmla="*/ 178300 h 3192694"/>
              <a:gd name="connsiteX3639" fmla="*/ 5780245 w 8115305"/>
              <a:gd name="connsiteY3639" fmla="*/ 174678 h 3192694"/>
              <a:gd name="connsiteX3640" fmla="*/ 5790747 w 8115305"/>
              <a:gd name="connsiteY3640" fmla="*/ 171237 h 3192694"/>
              <a:gd name="connsiteX3641" fmla="*/ 4699937 w 8115305"/>
              <a:gd name="connsiteY3641" fmla="*/ 171237 h 3192694"/>
              <a:gd name="connsiteX3642" fmla="*/ 4751907 w 8115305"/>
              <a:gd name="connsiteY3642" fmla="*/ 179748 h 3192694"/>
              <a:gd name="connsiteX3643" fmla="*/ 4715691 w 8115305"/>
              <a:gd name="connsiteY3643" fmla="*/ 188620 h 3192694"/>
              <a:gd name="connsiteX3644" fmla="*/ 4663721 w 8115305"/>
              <a:gd name="connsiteY3644" fmla="*/ 179928 h 3192694"/>
              <a:gd name="connsiteX3645" fmla="*/ 4699937 w 8115305"/>
              <a:gd name="connsiteY3645" fmla="*/ 171237 h 3192694"/>
              <a:gd name="connsiteX3646" fmla="*/ 3251316 w 8115305"/>
              <a:gd name="connsiteY3646" fmla="*/ 170150 h 3192694"/>
              <a:gd name="connsiteX3647" fmla="*/ 3283549 w 8115305"/>
              <a:gd name="connsiteY3647" fmla="*/ 177936 h 3192694"/>
              <a:gd name="connsiteX3648" fmla="*/ 3234296 w 8115305"/>
              <a:gd name="connsiteY3648" fmla="*/ 186265 h 3192694"/>
              <a:gd name="connsiteX3649" fmla="*/ 3200434 w 8115305"/>
              <a:gd name="connsiteY3649" fmla="*/ 178478 h 3192694"/>
              <a:gd name="connsiteX3650" fmla="*/ 3251316 w 8115305"/>
              <a:gd name="connsiteY3650" fmla="*/ 170150 h 3192694"/>
              <a:gd name="connsiteX3651" fmla="*/ 5667073 w 8115305"/>
              <a:gd name="connsiteY3651" fmla="*/ 168883 h 3192694"/>
              <a:gd name="connsiteX3652" fmla="*/ 5696770 w 8115305"/>
              <a:gd name="connsiteY3652" fmla="*/ 173229 h 3192694"/>
              <a:gd name="connsiteX3653" fmla="*/ 5681198 w 8115305"/>
              <a:gd name="connsiteY3653" fmla="*/ 177392 h 3192694"/>
              <a:gd name="connsiteX3654" fmla="*/ 5652045 w 8115305"/>
              <a:gd name="connsiteY3654" fmla="*/ 172685 h 3192694"/>
              <a:gd name="connsiteX3655" fmla="*/ 5667073 w 8115305"/>
              <a:gd name="connsiteY3655" fmla="*/ 168883 h 3192694"/>
              <a:gd name="connsiteX3656" fmla="*/ 3134339 w 8115305"/>
              <a:gd name="connsiteY3656" fmla="*/ 168883 h 3192694"/>
              <a:gd name="connsiteX3657" fmla="*/ 3162587 w 8115305"/>
              <a:gd name="connsiteY3657" fmla="*/ 176488 h 3192694"/>
              <a:gd name="connsiteX3658" fmla="*/ 3113334 w 8115305"/>
              <a:gd name="connsiteY3658" fmla="*/ 184094 h 3192694"/>
              <a:gd name="connsiteX3659" fmla="*/ 3085449 w 8115305"/>
              <a:gd name="connsiteY3659" fmla="*/ 176488 h 3192694"/>
              <a:gd name="connsiteX3660" fmla="*/ 3134339 w 8115305"/>
              <a:gd name="connsiteY3660" fmla="*/ 168883 h 3192694"/>
              <a:gd name="connsiteX3661" fmla="*/ 4580607 w 8115305"/>
              <a:gd name="connsiteY3661" fmla="*/ 168340 h 3192694"/>
              <a:gd name="connsiteX3662" fmla="*/ 4631672 w 8115305"/>
              <a:gd name="connsiteY3662" fmla="*/ 177393 h 3192694"/>
              <a:gd name="connsiteX3663" fmla="*/ 4593284 w 8115305"/>
              <a:gd name="connsiteY3663" fmla="*/ 186448 h 3192694"/>
              <a:gd name="connsiteX3664" fmla="*/ 4539865 w 8115305"/>
              <a:gd name="connsiteY3664" fmla="*/ 177212 h 3192694"/>
              <a:gd name="connsiteX3665" fmla="*/ 4580607 w 8115305"/>
              <a:gd name="connsiteY3665" fmla="*/ 168340 h 3192694"/>
              <a:gd name="connsiteX3666" fmla="*/ 3016821 w 8115305"/>
              <a:gd name="connsiteY3666" fmla="*/ 167796 h 3192694"/>
              <a:gd name="connsiteX3667" fmla="*/ 3041447 w 8115305"/>
              <a:gd name="connsiteY3667" fmla="*/ 175040 h 3192694"/>
              <a:gd name="connsiteX3668" fmla="*/ 2995635 w 8115305"/>
              <a:gd name="connsiteY3668" fmla="*/ 181739 h 3192694"/>
              <a:gd name="connsiteX3669" fmla="*/ 2971370 w 8115305"/>
              <a:gd name="connsiteY3669" fmla="*/ 174315 h 3192694"/>
              <a:gd name="connsiteX3670" fmla="*/ 3016821 w 8115305"/>
              <a:gd name="connsiteY3670" fmla="*/ 167796 h 3192694"/>
              <a:gd name="connsiteX3671" fmla="*/ 4461459 w 8115305"/>
              <a:gd name="connsiteY3671" fmla="*/ 166528 h 3192694"/>
              <a:gd name="connsiteX3672" fmla="*/ 4511617 w 8115305"/>
              <a:gd name="connsiteY3672" fmla="*/ 175764 h 3192694"/>
              <a:gd name="connsiteX3673" fmla="*/ 4467978 w 8115305"/>
              <a:gd name="connsiteY3673" fmla="*/ 184817 h 3192694"/>
              <a:gd name="connsiteX3674" fmla="*/ 4417818 w 8115305"/>
              <a:gd name="connsiteY3674" fmla="*/ 175400 h 3192694"/>
              <a:gd name="connsiteX3675" fmla="*/ 4461459 w 8115305"/>
              <a:gd name="connsiteY3675" fmla="*/ 166528 h 3192694"/>
              <a:gd name="connsiteX3676" fmla="*/ 2900569 w 8115305"/>
              <a:gd name="connsiteY3676" fmla="*/ 165804 h 3192694"/>
              <a:gd name="connsiteX3677" fmla="*/ 2923747 w 8115305"/>
              <a:gd name="connsiteY3677" fmla="*/ 172503 h 3192694"/>
              <a:gd name="connsiteX3678" fmla="*/ 2880289 w 8115305"/>
              <a:gd name="connsiteY3678" fmla="*/ 178842 h 3192694"/>
              <a:gd name="connsiteX3679" fmla="*/ 2857493 w 8115305"/>
              <a:gd name="connsiteY3679" fmla="*/ 171960 h 3192694"/>
              <a:gd name="connsiteX3680" fmla="*/ 2900569 w 8115305"/>
              <a:gd name="connsiteY3680" fmla="*/ 165804 h 3192694"/>
              <a:gd name="connsiteX3681" fmla="*/ 5538326 w 8115305"/>
              <a:gd name="connsiteY3681" fmla="*/ 165625 h 3192694"/>
              <a:gd name="connsiteX3682" fmla="*/ 5575086 w 8115305"/>
              <a:gd name="connsiteY3682" fmla="*/ 170513 h 3192694"/>
              <a:gd name="connsiteX3683" fmla="*/ 5559875 w 8115305"/>
              <a:gd name="connsiteY3683" fmla="*/ 175583 h 3192694"/>
              <a:gd name="connsiteX3684" fmla="*/ 5523659 w 8115305"/>
              <a:gd name="connsiteY3684" fmla="*/ 170332 h 3192694"/>
              <a:gd name="connsiteX3685" fmla="*/ 5538326 w 8115305"/>
              <a:gd name="connsiteY3685" fmla="*/ 165625 h 3192694"/>
              <a:gd name="connsiteX3686" fmla="*/ 4336333 w 8115305"/>
              <a:gd name="connsiteY3686" fmla="*/ 164718 h 3192694"/>
              <a:gd name="connsiteX3687" fmla="*/ 4387035 w 8115305"/>
              <a:gd name="connsiteY3687" fmla="*/ 173954 h 3192694"/>
              <a:gd name="connsiteX3688" fmla="*/ 4343396 w 8115305"/>
              <a:gd name="connsiteY3688" fmla="*/ 183187 h 3192694"/>
              <a:gd name="connsiteX3689" fmla="*/ 4292694 w 8115305"/>
              <a:gd name="connsiteY3689" fmla="*/ 173773 h 3192694"/>
              <a:gd name="connsiteX3690" fmla="*/ 4336333 w 8115305"/>
              <a:gd name="connsiteY3690" fmla="*/ 164718 h 3192694"/>
              <a:gd name="connsiteX3691" fmla="*/ 2784155 w 8115305"/>
              <a:gd name="connsiteY3691" fmla="*/ 164716 h 3192694"/>
              <a:gd name="connsiteX3692" fmla="*/ 2803711 w 8115305"/>
              <a:gd name="connsiteY3692" fmla="*/ 170874 h 3192694"/>
              <a:gd name="connsiteX3693" fmla="*/ 2763876 w 8115305"/>
              <a:gd name="connsiteY3693" fmla="*/ 176487 h 3192694"/>
              <a:gd name="connsiteX3694" fmla="*/ 2744501 w 8115305"/>
              <a:gd name="connsiteY3694" fmla="*/ 170330 h 3192694"/>
              <a:gd name="connsiteX3695" fmla="*/ 2784155 w 8115305"/>
              <a:gd name="connsiteY3695" fmla="*/ 164716 h 3192694"/>
              <a:gd name="connsiteX3696" fmla="*/ 5413022 w 8115305"/>
              <a:gd name="connsiteY3696" fmla="*/ 163450 h 3192694"/>
              <a:gd name="connsiteX3697" fmla="*/ 5451951 w 8115305"/>
              <a:gd name="connsiteY3697" fmla="*/ 168703 h 3192694"/>
              <a:gd name="connsiteX3698" fmla="*/ 5435656 w 8115305"/>
              <a:gd name="connsiteY3698" fmla="*/ 174497 h 3192694"/>
              <a:gd name="connsiteX3699" fmla="*/ 5394914 w 8115305"/>
              <a:gd name="connsiteY3699" fmla="*/ 168883 h 3192694"/>
              <a:gd name="connsiteX3700" fmla="*/ 5413022 w 8115305"/>
              <a:gd name="connsiteY3700" fmla="*/ 163450 h 3192694"/>
              <a:gd name="connsiteX3701" fmla="*/ 2664645 w 8115305"/>
              <a:gd name="connsiteY3701" fmla="*/ 163269 h 3192694"/>
              <a:gd name="connsiteX3702" fmla="*/ 2681664 w 8115305"/>
              <a:gd name="connsiteY3702" fmla="*/ 168159 h 3192694"/>
              <a:gd name="connsiteX3703" fmla="*/ 2645452 w 8115305"/>
              <a:gd name="connsiteY3703" fmla="*/ 173229 h 3192694"/>
              <a:gd name="connsiteX3704" fmla="*/ 2630241 w 8115305"/>
              <a:gd name="connsiteY3704" fmla="*/ 167796 h 3192694"/>
              <a:gd name="connsiteX3705" fmla="*/ 2664645 w 8115305"/>
              <a:gd name="connsiteY3705" fmla="*/ 163269 h 3192694"/>
              <a:gd name="connsiteX3706" fmla="*/ 4218813 w 8115305"/>
              <a:gd name="connsiteY3706" fmla="*/ 162365 h 3192694"/>
              <a:gd name="connsiteX3707" fmla="*/ 4266800 w 8115305"/>
              <a:gd name="connsiteY3707" fmla="*/ 171599 h 3192694"/>
              <a:gd name="connsiteX3708" fmla="*/ 4221710 w 8115305"/>
              <a:gd name="connsiteY3708" fmla="*/ 180654 h 3192694"/>
              <a:gd name="connsiteX3709" fmla="*/ 4172457 w 8115305"/>
              <a:gd name="connsiteY3709" fmla="*/ 171057 h 3192694"/>
              <a:gd name="connsiteX3710" fmla="*/ 4218813 w 8115305"/>
              <a:gd name="connsiteY3710" fmla="*/ 162365 h 3192694"/>
              <a:gd name="connsiteX3711" fmla="*/ 2549480 w 8115305"/>
              <a:gd name="connsiteY3711" fmla="*/ 162001 h 3192694"/>
              <a:gd name="connsiteX3712" fmla="*/ 2564324 w 8115305"/>
              <a:gd name="connsiteY3712" fmla="*/ 166167 h 3192694"/>
              <a:gd name="connsiteX3713" fmla="*/ 2531010 w 8115305"/>
              <a:gd name="connsiteY3713" fmla="*/ 171056 h 3192694"/>
              <a:gd name="connsiteX3714" fmla="*/ 2516161 w 8115305"/>
              <a:gd name="connsiteY3714" fmla="*/ 166710 h 3192694"/>
              <a:gd name="connsiteX3715" fmla="*/ 2549480 w 8115305"/>
              <a:gd name="connsiteY3715" fmla="*/ 162001 h 3192694"/>
              <a:gd name="connsiteX3716" fmla="*/ 5290070 w 8115305"/>
              <a:gd name="connsiteY3716" fmla="*/ 160735 h 3192694"/>
              <a:gd name="connsiteX3717" fmla="*/ 5330812 w 8115305"/>
              <a:gd name="connsiteY3717" fmla="*/ 166530 h 3192694"/>
              <a:gd name="connsiteX3718" fmla="*/ 5310351 w 8115305"/>
              <a:gd name="connsiteY3718" fmla="*/ 172324 h 3192694"/>
              <a:gd name="connsiteX3719" fmla="*/ 5270875 w 8115305"/>
              <a:gd name="connsiteY3719" fmla="*/ 166710 h 3192694"/>
              <a:gd name="connsiteX3720" fmla="*/ 5290070 w 8115305"/>
              <a:gd name="connsiteY3720" fmla="*/ 160735 h 3192694"/>
              <a:gd name="connsiteX3721" fmla="*/ 4100933 w 8115305"/>
              <a:gd name="connsiteY3721" fmla="*/ 160735 h 3192694"/>
              <a:gd name="connsiteX3722" fmla="*/ 4147469 w 8115305"/>
              <a:gd name="connsiteY3722" fmla="*/ 169969 h 3192694"/>
              <a:gd name="connsiteX3723" fmla="*/ 4100933 w 8115305"/>
              <a:gd name="connsiteY3723" fmla="*/ 179023 h 3192694"/>
              <a:gd name="connsiteX3724" fmla="*/ 4053128 w 8115305"/>
              <a:gd name="connsiteY3724" fmla="*/ 169427 h 3192694"/>
              <a:gd name="connsiteX3725" fmla="*/ 4100933 w 8115305"/>
              <a:gd name="connsiteY3725" fmla="*/ 160735 h 3192694"/>
              <a:gd name="connsiteX3726" fmla="*/ 2434494 w 8115305"/>
              <a:gd name="connsiteY3726" fmla="*/ 160191 h 3192694"/>
              <a:gd name="connsiteX3727" fmla="*/ 2447528 w 8115305"/>
              <a:gd name="connsiteY3727" fmla="*/ 163813 h 3192694"/>
              <a:gd name="connsiteX3728" fmla="*/ 2419283 w 8115305"/>
              <a:gd name="connsiteY3728" fmla="*/ 167796 h 3192694"/>
              <a:gd name="connsiteX3729" fmla="*/ 2407693 w 8115305"/>
              <a:gd name="connsiteY3729" fmla="*/ 163994 h 3192694"/>
              <a:gd name="connsiteX3730" fmla="*/ 2434494 w 8115305"/>
              <a:gd name="connsiteY3730" fmla="*/ 160191 h 3192694"/>
              <a:gd name="connsiteX3731" fmla="*/ 2321310 w 8115305"/>
              <a:gd name="connsiteY3731" fmla="*/ 159284 h 3192694"/>
              <a:gd name="connsiteX3732" fmla="*/ 2329276 w 8115305"/>
              <a:gd name="connsiteY3732" fmla="*/ 162181 h 3192694"/>
              <a:gd name="connsiteX3733" fmla="*/ 2306279 w 8115305"/>
              <a:gd name="connsiteY3733" fmla="*/ 165441 h 3192694"/>
              <a:gd name="connsiteX3734" fmla="*/ 2297769 w 8115305"/>
              <a:gd name="connsiteY3734" fmla="*/ 162362 h 3192694"/>
              <a:gd name="connsiteX3735" fmla="*/ 2321310 w 8115305"/>
              <a:gd name="connsiteY3735" fmla="*/ 159284 h 3192694"/>
              <a:gd name="connsiteX3736" fmla="*/ 5168927 w 8115305"/>
              <a:gd name="connsiteY3736" fmla="*/ 158380 h 3192694"/>
              <a:gd name="connsiteX3737" fmla="*/ 5212929 w 8115305"/>
              <a:gd name="connsiteY3737" fmla="*/ 164718 h 3192694"/>
              <a:gd name="connsiteX3738" fmla="*/ 5189569 w 8115305"/>
              <a:gd name="connsiteY3738" fmla="*/ 171237 h 3192694"/>
              <a:gd name="connsiteX3739" fmla="*/ 5146110 w 8115305"/>
              <a:gd name="connsiteY3739" fmla="*/ 164718 h 3192694"/>
              <a:gd name="connsiteX3740" fmla="*/ 5168927 w 8115305"/>
              <a:gd name="connsiteY3740" fmla="*/ 158380 h 3192694"/>
              <a:gd name="connsiteX3741" fmla="*/ 3981964 w 8115305"/>
              <a:gd name="connsiteY3741" fmla="*/ 158379 h 3192694"/>
              <a:gd name="connsiteX3742" fmla="*/ 4028502 w 8115305"/>
              <a:gd name="connsiteY3742" fmla="*/ 167252 h 3192694"/>
              <a:gd name="connsiteX3743" fmla="*/ 3981422 w 8115305"/>
              <a:gd name="connsiteY3743" fmla="*/ 176487 h 3192694"/>
              <a:gd name="connsiteX3744" fmla="*/ 3934884 w 8115305"/>
              <a:gd name="connsiteY3744" fmla="*/ 167434 h 3192694"/>
              <a:gd name="connsiteX3745" fmla="*/ 3981964 w 8115305"/>
              <a:gd name="connsiteY3745" fmla="*/ 158379 h 3192694"/>
              <a:gd name="connsiteX3746" fmla="*/ 3866981 w 8115305"/>
              <a:gd name="connsiteY3746" fmla="*/ 156750 h 3192694"/>
              <a:gd name="connsiteX3747" fmla="*/ 3910620 w 8115305"/>
              <a:gd name="connsiteY3747" fmla="*/ 165805 h 3192694"/>
              <a:gd name="connsiteX3748" fmla="*/ 3862452 w 8115305"/>
              <a:gd name="connsiteY3748" fmla="*/ 174677 h 3192694"/>
              <a:gd name="connsiteX3749" fmla="*/ 3817908 w 8115305"/>
              <a:gd name="connsiteY3749" fmla="*/ 165623 h 3192694"/>
              <a:gd name="connsiteX3750" fmla="*/ 3866981 w 8115305"/>
              <a:gd name="connsiteY3750" fmla="*/ 156750 h 3192694"/>
              <a:gd name="connsiteX3751" fmla="*/ 5049599 w 8115305"/>
              <a:gd name="connsiteY3751" fmla="*/ 155663 h 3192694"/>
              <a:gd name="connsiteX3752" fmla="*/ 5092877 w 8115305"/>
              <a:gd name="connsiteY3752" fmla="*/ 163269 h 3192694"/>
              <a:gd name="connsiteX3753" fmla="*/ 5065715 w 8115305"/>
              <a:gd name="connsiteY3753" fmla="*/ 169969 h 3192694"/>
              <a:gd name="connsiteX3754" fmla="*/ 5023161 w 8115305"/>
              <a:gd name="connsiteY3754" fmla="*/ 163089 h 3192694"/>
              <a:gd name="connsiteX3755" fmla="*/ 5049599 w 8115305"/>
              <a:gd name="connsiteY3755" fmla="*/ 155663 h 3192694"/>
              <a:gd name="connsiteX3756" fmla="*/ 3749280 w 8115305"/>
              <a:gd name="connsiteY3756" fmla="*/ 154576 h 3192694"/>
              <a:gd name="connsiteX3757" fmla="*/ 3791834 w 8115305"/>
              <a:gd name="connsiteY3757" fmla="*/ 163267 h 3192694"/>
              <a:gd name="connsiteX3758" fmla="*/ 3742219 w 8115305"/>
              <a:gd name="connsiteY3758" fmla="*/ 172141 h 3192694"/>
              <a:gd name="connsiteX3759" fmla="*/ 3700933 w 8115305"/>
              <a:gd name="connsiteY3759" fmla="*/ 162906 h 3192694"/>
              <a:gd name="connsiteX3760" fmla="*/ 3749280 w 8115305"/>
              <a:gd name="connsiteY3760" fmla="*/ 154576 h 3192694"/>
              <a:gd name="connsiteX3761" fmla="*/ 4930269 w 8115305"/>
              <a:gd name="connsiteY3761" fmla="*/ 153671 h 3192694"/>
              <a:gd name="connsiteX3762" fmla="*/ 4976081 w 8115305"/>
              <a:gd name="connsiteY3762" fmla="*/ 160914 h 3192694"/>
              <a:gd name="connsiteX3763" fmla="*/ 4946747 w 8115305"/>
              <a:gd name="connsiteY3763" fmla="*/ 167976 h 3192694"/>
              <a:gd name="connsiteX3764" fmla="*/ 4900935 w 8115305"/>
              <a:gd name="connsiteY3764" fmla="*/ 160553 h 3192694"/>
              <a:gd name="connsiteX3765" fmla="*/ 4930269 w 8115305"/>
              <a:gd name="connsiteY3765" fmla="*/ 153671 h 3192694"/>
              <a:gd name="connsiteX3766" fmla="*/ 3630492 w 8115305"/>
              <a:gd name="connsiteY3766" fmla="*/ 153310 h 3192694"/>
              <a:gd name="connsiteX3767" fmla="*/ 3668520 w 8115305"/>
              <a:gd name="connsiteY3767" fmla="*/ 161458 h 3192694"/>
              <a:gd name="connsiteX3768" fmla="*/ 3620896 w 8115305"/>
              <a:gd name="connsiteY3768" fmla="*/ 169968 h 3192694"/>
              <a:gd name="connsiteX3769" fmla="*/ 3582144 w 8115305"/>
              <a:gd name="connsiteY3769" fmla="*/ 161458 h 3192694"/>
              <a:gd name="connsiteX3770" fmla="*/ 3630492 w 8115305"/>
              <a:gd name="connsiteY3770" fmla="*/ 153310 h 3192694"/>
              <a:gd name="connsiteX3771" fmla="*/ 4809672 w 8115305"/>
              <a:gd name="connsiteY3771" fmla="*/ 151137 h 3192694"/>
              <a:gd name="connsiteX3772" fmla="*/ 4856389 w 8115305"/>
              <a:gd name="connsiteY3772" fmla="*/ 158017 h 3192694"/>
              <a:gd name="connsiteX3773" fmla="*/ 4826148 w 8115305"/>
              <a:gd name="connsiteY3773" fmla="*/ 165804 h 3192694"/>
              <a:gd name="connsiteX3774" fmla="*/ 4780156 w 8115305"/>
              <a:gd name="connsiteY3774" fmla="*/ 158380 h 3192694"/>
              <a:gd name="connsiteX3775" fmla="*/ 4809672 w 8115305"/>
              <a:gd name="connsiteY3775" fmla="*/ 151137 h 3192694"/>
              <a:gd name="connsiteX3776" fmla="*/ 3515146 w 8115305"/>
              <a:gd name="connsiteY3776" fmla="*/ 151137 h 3192694"/>
              <a:gd name="connsiteX3777" fmla="*/ 3551180 w 8115305"/>
              <a:gd name="connsiteY3777" fmla="*/ 159285 h 3192694"/>
              <a:gd name="connsiteX3778" fmla="*/ 3502651 w 8115305"/>
              <a:gd name="connsiteY3778" fmla="*/ 167252 h 3192694"/>
              <a:gd name="connsiteX3779" fmla="*/ 3467703 w 8115305"/>
              <a:gd name="connsiteY3779" fmla="*/ 158922 h 3192694"/>
              <a:gd name="connsiteX3780" fmla="*/ 3515146 w 8115305"/>
              <a:gd name="connsiteY3780" fmla="*/ 151137 h 3192694"/>
              <a:gd name="connsiteX3781" fmla="*/ 3401430 w 8115305"/>
              <a:gd name="connsiteY3781" fmla="*/ 149871 h 3192694"/>
              <a:gd name="connsiteX3782" fmla="*/ 3433841 w 8115305"/>
              <a:gd name="connsiteY3782" fmla="*/ 157656 h 3192694"/>
              <a:gd name="connsiteX3783" fmla="*/ 3384951 w 8115305"/>
              <a:gd name="connsiteY3783" fmla="*/ 165262 h 3192694"/>
              <a:gd name="connsiteX3784" fmla="*/ 3353805 w 8115305"/>
              <a:gd name="connsiteY3784" fmla="*/ 157295 h 3192694"/>
              <a:gd name="connsiteX3785" fmla="*/ 3401430 w 8115305"/>
              <a:gd name="connsiteY3785" fmla="*/ 149871 h 3192694"/>
              <a:gd name="connsiteX3786" fmla="*/ 4689437 w 8115305"/>
              <a:gd name="connsiteY3786" fmla="*/ 148964 h 3192694"/>
              <a:gd name="connsiteX3787" fmla="*/ 4736154 w 8115305"/>
              <a:gd name="connsiteY3787" fmla="*/ 156751 h 3192694"/>
              <a:gd name="connsiteX3788" fmla="*/ 4701387 w 8115305"/>
              <a:gd name="connsiteY3788" fmla="*/ 164537 h 3192694"/>
              <a:gd name="connsiteX3789" fmla="*/ 4654669 w 8115305"/>
              <a:gd name="connsiteY3789" fmla="*/ 156751 h 3192694"/>
              <a:gd name="connsiteX3790" fmla="*/ 4689437 w 8115305"/>
              <a:gd name="connsiteY3790" fmla="*/ 148964 h 3192694"/>
              <a:gd name="connsiteX3791" fmla="*/ 5745478 w 8115305"/>
              <a:gd name="connsiteY3791" fmla="*/ 148964 h 3192694"/>
              <a:gd name="connsiteX3792" fmla="*/ 5768113 w 8115305"/>
              <a:gd name="connsiteY3792" fmla="*/ 152042 h 3192694"/>
              <a:gd name="connsiteX3793" fmla="*/ 5759602 w 8115305"/>
              <a:gd name="connsiteY3793" fmla="*/ 155122 h 3192694"/>
              <a:gd name="connsiteX3794" fmla="*/ 5735338 w 8115305"/>
              <a:gd name="connsiteY3794" fmla="*/ 151680 h 3192694"/>
              <a:gd name="connsiteX3795" fmla="*/ 5745478 w 8115305"/>
              <a:gd name="connsiteY3795" fmla="*/ 148964 h 3192694"/>
              <a:gd name="connsiteX3796" fmla="*/ 3287530 w 8115305"/>
              <a:gd name="connsiteY3796" fmla="*/ 148059 h 3192694"/>
              <a:gd name="connsiteX3797" fmla="*/ 3317227 w 8115305"/>
              <a:gd name="connsiteY3797" fmla="*/ 155302 h 3192694"/>
              <a:gd name="connsiteX3798" fmla="*/ 3272139 w 8115305"/>
              <a:gd name="connsiteY3798" fmla="*/ 162365 h 3192694"/>
              <a:gd name="connsiteX3799" fmla="*/ 3242442 w 8115305"/>
              <a:gd name="connsiteY3799" fmla="*/ 154939 h 3192694"/>
              <a:gd name="connsiteX3800" fmla="*/ 3287530 w 8115305"/>
              <a:gd name="connsiteY3800" fmla="*/ 148059 h 3192694"/>
              <a:gd name="connsiteX3801" fmla="*/ 3172547 w 8115305"/>
              <a:gd name="connsiteY3801" fmla="*/ 146791 h 3192694"/>
              <a:gd name="connsiteX3802" fmla="*/ 3200434 w 8115305"/>
              <a:gd name="connsiteY3802" fmla="*/ 153490 h 3192694"/>
              <a:gd name="connsiteX3803" fmla="*/ 3156793 w 8115305"/>
              <a:gd name="connsiteY3803" fmla="*/ 160372 h 3192694"/>
              <a:gd name="connsiteX3804" fmla="*/ 3129089 w 8115305"/>
              <a:gd name="connsiteY3804" fmla="*/ 153671 h 3192694"/>
              <a:gd name="connsiteX3805" fmla="*/ 3172547 w 8115305"/>
              <a:gd name="connsiteY3805" fmla="*/ 146791 h 3192694"/>
              <a:gd name="connsiteX3806" fmla="*/ 4571916 w 8115305"/>
              <a:gd name="connsiteY3806" fmla="*/ 146608 h 3192694"/>
              <a:gd name="connsiteX3807" fmla="*/ 4618452 w 8115305"/>
              <a:gd name="connsiteY3807" fmla="*/ 154215 h 3192694"/>
              <a:gd name="connsiteX3808" fmla="*/ 4583143 w 8115305"/>
              <a:gd name="connsiteY3808" fmla="*/ 162363 h 3192694"/>
              <a:gd name="connsiteX3809" fmla="*/ 4535700 w 8115305"/>
              <a:gd name="connsiteY3809" fmla="*/ 154576 h 3192694"/>
              <a:gd name="connsiteX3810" fmla="*/ 4571916 w 8115305"/>
              <a:gd name="connsiteY3810" fmla="*/ 146608 h 3192694"/>
              <a:gd name="connsiteX3811" fmla="*/ 5624338 w 8115305"/>
              <a:gd name="connsiteY3811" fmla="*/ 146067 h 3192694"/>
              <a:gd name="connsiteX3812" fmla="*/ 5650233 w 8115305"/>
              <a:gd name="connsiteY3812" fmla="*/ 149689 h 3192694"/>
              <a:gd name="connsiteX3813" fmla="*/ 5638281 w 8115305"/>
              <a:gd name="connsiteY3813" fmla="*/ 153310 h 3192694"/>
              <a:gd name="connsiteX3814" fmla="*/ 5610939 w 8115305"/>
              <a:gd name="connsiteY3814" fmla="*/ 149327 h 3192694"/>
              <a:gd name="connsiteX3815" fmla="*/ 5624338 w 8115305"/>
              <a:gd name="connsiteY3815" fmla="*/ 146067 h 3192694"/>
              <a:gd name="connsiteX3816" fmla="*/ 4455844 w 8115305"/>
              <a:gd name="connsiteY3816" fmla="*/ 145162 h 3192694"/>
              <a:gd name="connsiteX3817" fmla="*/ 4501839 w 8115305"/>
              <a:gd name="connsiteY3817" fmla="*/ 153130 h 3192694"/>
              <a:gd name="connsiteX3818" fmla="*/ 4462726 w 8115305"/>
              <a:gd name="connsiteY3818" fmla="*/ 161278 h 3192694"/>
              <a:gd name="connsiteX3819" fmla="*/ 4417637 w 8115305"/>
              <a:gd name="connsiteY3819" fmla="*/ 152947 h 3192694"/>
              <a:gd name="connsiteX3820" fmla="*/ 4455844 w 8115305"/>
              <a:gd name="connsiteY3820" fmla="*/ 145162 h 3192694"/>
              <a:gd name="connsiteX3821" fmla="*/ 3056839 w 8115305"/>
              <a:gd name="connsiteY3821" fmla="*/ 145162 h 3192694"/>
              <a:gd name="connsiteX3822" fmla="*/ 3080379 w 8115305"/>
              <a:gd name="connsiteY3822" fmla="*/ 151499 h 3192694"/>
              <a:gd name="connsiteX3823" fmla="*/ 3038188 w 8115305"/>
              <a:gd name="connsiteY3823" fmla="*/ 157656 h 3192694"/>
              <a:gd name="connsiteX3824" fmla="*/ 3014829 w 8115305"/>
              <a:gd name="connsiteY3824" fmla="*/ 151318 h 3192694"/>
              <a:gd name="connsiteX3825" fmla="*/ 3056839 w 8115305"/>
              <a:gd name="connsiteY3825" fmla="*/ 145162 h 3192694"/>
              <a:gd name="connsiteX3826" fmla="*/ 2943847 w 8115305"/>
              <a:gd name="connsiteY3826" fmla="*/ 144074 h 3192694"/>
              <a:gd name="connsiteX3827" fmla="*/ 2964309 w 8115305"/>
              <a:gd name="connsiteY3827" fmla="*/ 149688 h 3192694"/>
              <a:gd name="connsiteX3828" fmla="*/ 2925376 w 8115305"/>
              <a:gd name="connsiteY3828" fmla="*/ 155300 h 3192694"/>
              <a:gd name="connsiteX3829" fmla="*/ 2905276 w 8115305"/>
              <a:gd name="connsiteY3829" fmla="*/ 149506 h 3192694"/>
              <a:gd name="connsiteX3830" fmla="*/ 2943847 w 8115305"/>
              <a:gd name="connsiteY3830" fmla="*/ 144074 h 3192694"/>
              <a:gd name="connsiteX3831" fmla="*/ 5502654 w 8115305"/>
              <a:gd name="connsiteY3831" fmla="*/ 144074 h 3192694"/>
              <a:gd name="connsiteX3832" fmla="*/ 5532892 w 8115305"/>
              <a:gd name="connsiteY3832" fmla="*/ 148057 h 3192694"/>
              <a:gd name="connsiteX3833" fmla="*/ 5519130 w 8115305"/>
              <a:gd name="connsiteY3833" fmla="*/ 152222 h 3192694"/>
              <a:gd name="connsiteX3834" fmla="*/ 5489433 w 8115305"/>
              <a:gd name="connsiteY3834" fmla="*/ 147876 h 3192694"/>
              <a:gd name="connsiteX3835" fmla="*/ 5502654 w 8115305"/>
              <a:gd name="connsiteY3835" fmla="*/ 144074 h 3192694"/>
              <a:gd name="connsiteX3836" fmla="*/ 4339411 w 8115305"/>
              <a:gd name="connsiteY3836" fmla="*/ 142445 h 3192694"/>
              <a:gd name="connsiteX3837" fmla="*/ 4385043 w 8115305"/>
              <a:gd name="connsiteY3837" fmla="*/ 150593 h 3192694"/>
              <a:gd name="connsiteX3838" fmla="*/ 4345930 w 8115305"/>
              <a:gd name="connsiteY3838" fmla="*/ 158560 h 3192694"/>
              <a:gd name="connsiteX3839" fmla="*/ 4300298 w 8115305"/>
              <a:gd name="connsiteY3839" fmla="*/ 150232 h 3192694"/>
              <a:gd name="connsiteX3840" fmla="*/ 4339411 w 8115305"/>
              <a:gd name="connsiteY3840" fmla="*/ 142445 h 3192694"/>
              <a:gd name="connsiteX3841" fmla="*/ 2831780 w 8115305"/>
              <a:gd name="connsiteY3841" fmla="*/ 142082 h 3192694"/>
              <a:gd name="connsiteX3842" fmla="*/ 2849888 w 8115305"/>
              <a:gd name="connsiteY3842" fmla="*/ 147333 h 3192694"/>
              <a:gd name="connsiteX3843" fmla="*/ 2813671 w 8115305"/>
              <a:gd name="connsiteY3843" fmla="*/ 152586 h 3192694"/>
              <a:gd name="connsiteX3844" fmla="*/ 2795566 w 8115305"/>
              <a:gd name="connsiteY3844" fmla="*/ 147152 h 3192694"/>
              <a:gd name="connsiteX3845" fmla="*/ 2831780 w 8115305"/>
              <a:gd name="connsiteY3845" fmla="*/ 142082 h 3192694"/>
              <a:gd name="connsiteX3846" fmla="*/ 4223885 w 8115305"/>
              <a:gd name="connsiteY3846" fmla="*/ 140816 h 3192694"/>
              <a:gd name="connsiteX3847" fmla="*/ 4269153 w 8115305"/>
              <a:gd name="connsiteY3847" fmla="*/ 148784 h 3192694"/>
              <a:gd name="connsiteX3848" fmla="*/ 4228231 w 8115305"/>
              <a:gd name="connsiteY3848" fmla="*/ 156932 h 3192694"/>
              <a:gd name="connsiteX3849" fmla="*/ 4183865 w 8115305"/>
              <a:gd name="connsiteY3849" fmla="*/ 148603 h 3192694"/>
              <a:gd name="connsiteX3850" fmla="*/ 4223885 w 8115305"/>
              <a:gd name="connsiteY3850" fmla="*/ 140816 h 3192694"/>
              <a:gd name="connsiteX3851" fmla="*/ 5382962 w 8115305"/>
              <a:gd name="connsiteY3851" fmla="*/ 140633 h 3192694"/>
              <a:gd name="connsiteX3852" fmla="*/ 5416461 w 8115305"/>
              <a:gd name="connsiteY3852" fmla="*/ 145159 h 3192694"/>
              <a:gd name="connsiteX3853" fmla="*/ 5402338 w 8115305"/>
              <a:gd name="connsiteY3853" fmla="*/ 150049 h 3192694"/>
              <a:gd name="connsiteX3854" fmla="*/ 5367208 w 8115305"/>
              <a:gd name="connsiteY3854" fmla="*/ 145159 h 3192694"/>
              <a:gd name="connsiteX3855" fmla="*/ 5382962 w 8115305"/>
              <a:gd name="connsiteY3855" fmla="*/ 140633 h 3192694"/>
              <a:gd name="connsiteX3856" fmla="*/ 2719148 w 8115305"/>
              <a:gd name="connsiteY3856" fmla="*/ 140453 h 3192694"/>
              <a:gd name="connsiteX3857" fmla="*/ 2734178 w 8115305"/>
              <a:gd name="connsiteY3857" fmla="*/ 145162 h 3192694"/>
              <a:gd name="connsiteX3858" fmla="*/ 2700136 w 8115305"/>
              <a:gd name="connsiteY3858" fmla="*/ 149688 h 3192694"/>
              <a:gd name="connsiteX3859" fmla="*/ 2686737 w 8115305"/>
              <a:gd name="connsiteY3859" fmla="*/ 144618 h 3192694"/>
              <a:gd name="connsiteX3860" fmla="*/ 2719148 w 8115305"/>
              <a:gd name="connsiteY3860" fmla="*/ 140453 h 3192694"/>
              <a:gd name="connsiteX3861" fmla="*/ 5265261 w 8115305"/>
              <a:gd name="connsiteY3861" fmla="*/ 139731 h 3192694"/>
              <a:gd name="connsiteX3862" fmla="*/ 5301476 w 8115305"/>
              <a:gd name="connsiteY3862" fmla="*/ 144801 h 3192694"/>
              <a:gd name="connsiteX3863" fmla="*/ 5284636 w 8115305"/>
              <a:gd name="connsiteY3863" fmla="*/ 149508 h 3192694"/>
              <a:gd name="connsiteX3864" fmla="*/ 5247153 w 8115305"/>
              <a:gd name="connsiteY3864" fmla="*/ 145162 h 3192694"/>
              <a:gd name="connsiteX3865" fmla="*/ 5265261 w 8115305"/>
              <a:gd name="connsiteY3865" fmla="*/ 139731 h 3192694"/>
              <a:gd name="connsiteX3866" fmla="*/ 2607422 w 8115305"/>
              <a:gd name="connsiteY3866" fmla="*/ 139548 h 3192694"/>
              <a:gd name="connsiteX3867" fmla="*/ 2620642 w 8115305"/>
              <a:gd name="connsiteY3867" fmla="*/ 143350 h 3192694"/>
              <a:gd name="connsiteX3868" fmla="*/ 2592394 w 8115305"/>
              <a:gd name="connsiteY3868" fmla="*/ 147335 h 3192694"/>
              <a:gd name="connsiteX3869" fmla="*/ 2579358 w 8115305"/>
              <a:gd name="connsiteY3869" fmla="*/ 143533 h 3192694"/>
              <a:gd name="connsiteX3870" fmla="*/ 2607422 w 8115305"/>
              <a:gd name="connsiteY3870" fmla="*/ 139548 h 3192694"/>
              <a:gd name="connsiteX3871" fmla="*/ 2494783 w 8115305"/>
              <a:gd name="connsiteY3871" fmla="*/ 139006 h 3192694"/>
              <a:gd name="connsiteX3872" fmla="*/ 2505648 w 8115305"/>
              <a:gd name="connsiteY3872" fmla="*/ 141903 h 3192694"/>
              <a:gd name="connsiteX3873" fmla="*/ 2482651 w 8115305"/>
              <a:gd name="connsiteY3873" fmla="*/ 145162 h 3192694"/>
              <a:gd name="connsiteX3874" fmla="*/ 2471787 w 8115305"/>
              <a:gd name="connsiteY3874" fmla="*/ 142265 h 3192694"/>
              <a:gd name="connsiteX3875" fmla="*/ 2494783 w 8115305"/>
              <a:gd name="connsiteY3875" fmla="*/ 139006 h 3192694"/>
              <a:gd name="connsiteX3876" fmla="*/ 4110710 w 8115305"/>
              <a:gd name="connsiteY3876" fmla="*/ 138643 h 3192694"/>
              <a:gd name="connsiteX3877" fmla="*/ 4153264 w 8115305"/>
              <a:gd name="connsiteY3877" fmla="*/ 146430 h 3192694"/>
              <a:gd name="connsiteX3878" fmla="*/ 4111797 w 8115305"/>
              <a:gd name="connsiteY3878" fmla="*/ 154578 h 3192694"/>
              <a:gd name="connsiteX3879" fmla="*/ 4068339 w 8115305"/>
              <a:gd name="connsiteY3879" fmla="*/ 146430 h 3192694"/>
              <a:gd name="connsiteX3880" fmla="*/ 4110710 w 8115305"/>
              <a:gd name="connsiteY3880" fmla="*/ 138643 h 3192694"/>
              <a:gd name="connsiteX3881" fmla="*/ 2379068 w 8115305"/>
              <a:gd name="connsiteY3881" fmla="*/ 137919 h 3192694"/>
              <a:gd name="connsiteX3882" fmla="*/ 2386674 w 8115305"/>
              <a:gd name="connsiteY3882" fmla="*/ 140273 h 3192694"/>
              <a:gd name="connsiteX3883" fmla="*/ 2368566 w 8115305"/>
              <a:gd name="connsiteY3883" fmla="*/ 142807 h 3192694"/>
              <a:gd name="connsiteX3884" fmla="*/ 2360959 w 8115305"/>
              <a:gd name="connsiteY3884" fmla="*/ 140453 h 3192694"/>
              <a:gd name="connsiteX3885" fmla="*/ 2379068 w 8115305"/>
              <a:gd name="connsiteY3885" fmla="*/ 137919 h 3192694"/>
              <a:gd name="connsiteX3886" fmla="*/ 3991562 w 8115305"/>
              <a:gd name="connsiteY3886" fmla="*/ 137194 h 3192694"/>
              <a:gd name="connsiteX3887" fmla="*/ 4033752 w 8115305"/>
              <a:gd name="connsiteY3887" fmla="*/ 144981 h 3192694"/>
              <a:gd name="connsiteX3888" fmla="*/ 3990657 w 8115305"/>
              <a:gd name="connsiteY3888" fmla="*/ 152948 h 3192694"/>
              <a:gd name="connsiteX3889" fmla="*/ 3949371 w 8115305"/>
              <a:gd name="connsiteY3889" fmla="*/ 145162 h 3192694"/>
              <a:gd name="connsiteX3890" fmla="*/ 3991562 w 8115305"/>
              <a:gd name="connsiteY3890" fmla="*/ 137194 h 3192694"/>
              <a:gd name="connsiteX3891" fmla="*/ 5148649 w 8115305"/>
              <a:gd name="connsiteY3891" fmla="*/ 136470 h 3192694"/>
              <a:gd name="connsiteX3892" fmla="*/ 5184864 w 8115305"/>
              <a:gd name="connsiteY3892" fmla="*/ 141901 h 3192694"/>
              <a:gd name="connsiteX3893" fmla="*/ 5164401 w 8115305"/>
              <a:gd name="connsiteY3893" fmla="*/ 147335 h 3192694"/>
              <a:gd name="connsiteX3894" fmla="*/ 5126557 w 8115305"/>
              <a:gd name="connsiteY3894" fmla="*/ 141721 h 3192694"/>
              <a:gd name="connsiteX3895" fmla="*/ 5148649 w 8115305"/>
              <a:gd name="connsiteY3895" fmla="*/ 136470 h 3192694"/>
              <a:gd name="connsiteX3896" fmla="*/ 3878750 w 8115305"/>
              <a:gd name="connsiteY3896" fmla="*/ 135021 h 3192694"/>
              <a:gd name="connsiteX3897" fmla="*/ 3918767 w 8115305"/>
              <a:gd name="connsiteY3897" fmla="*/ 142445 h 3192694"/>
              <a:gd name="connsiteX3898" fmla="*/ 3876940 w 8115305"/>
              <a:gd name="connsiteY3898" fmla="*/ 150595 h 3192694"/>
              <a:gd name="connsiteX3899" fmla="*/ 3835835 w 8115305"/>
              <a:gd name="connsiteY3899" fmla="*/ 142627 h 3192694"/>
              <a:gd name="connsiteX3900" fmla="*/ 3878750 w 8115305"/>
              <a:gd name="connsiteY3900" fmla="*/ 135021 h 3192694"/>
              <a:gd name="connsiteX3901" fmla="*/ 5025877 w 8115305"/>
              <a:gd name="connsiteY3901" fmla="*/ 134478 h 3192694"/>
              <a:gd name="connsiteX3902" fmla="*/ 5066799 w 8115305"/>
              <a:gd name="connsiteY3902" fmla="*/ 139909 h 3192694"/>
              <a:gd name="connsiteX3903" fmla="*/ 5044890 w 8115305"/>
              <a:gd name="connsiteY3903" fmla="*/ 146428 h 3192694"/>
              <a:gd name="connsiteX3904" fmla="*/ 5003241 w 8115305"/>
              <a:gd name="connsiteY3904" fmla="*/ 140272 h 3192694"/>
              <a:gd name="connsiteX3905" fmla="*/ 5025877 w 8115305"/>
              <a:gd name="connsiteY3905" fmla="*/ 134478 h 3192694"/>
              <a:gd name="connsiteX3906" fmla="*/ 3766302 w 8115305"/>
              <a:gd name="connsiteY3906" fmla="*/ 133572 h 3192694"/>
              <a:gd name="connsiteX3907" fmla="*/ 3804327 w 8115305"/>
              <a:gd name="connsiteY3907" fmla="*/ 141359 h 3192694"/>
              <a:gd name="connsiteX3908" fmla="*/ 3758334 w 8115305"/>
              <a:gd name="connsiteY3908" fmla="*/ 148782 h 3192694"/>
              <a:gd name="connsiteX3909" fmla="*/ 3722119 w 8115305"/>
              <a:gd name="connsiteY3909" fmla="*/ 140815 h 3192694"/>
              <a:gd name="connsiteX3910" fmla="*/ 3766302 w 8115305"/>
              <a:gd name="connsiteY3910" fmla="*/ 133572 h 3192694"/>
              <a:gd name="connsiteX3911" fmla="*/ 4910892 w 8115305"/>
              <a:gd name="connsiteY3911" fmla="*/ 132667 h 3192694"/>
              <a:gd name="connsiteX3912" fmla="*/ 4952358 w 8115305"/>
              <a:gd name="connsiteY3912" fmla="*/ 138643 h 3192694"/>
              <a:gd name="connsiteX3913" fmla="*/ 4927914 w 8115305"/>
              <a:gd name="connsiteY3913" fmla="*/ 145162 h 3192694"/>
              <a:gd name="connsiteX3914" fmla="*/ 4886265 w 8115305"/>
              <a:gd name="connsiteY3914" fmla="*/ 139004 h 3192694"/>
              <a:gd name="connsiteX3915" fmla="*/ 4910892 w 8115305"/>
              <a:gd name="connsiteY3915" fmla="*/ 132667 h 3192694"/>
              <a:gd name="connsiteX3916" fmla="*/ 3654033 w 8115305"/>
              <a:gd name="connsiteY3916" fmla="*/ 132124 h 3192694"/>
              <a:gd name="connsiteX3917" fmla="*/ 3690068 w 8115305"/>
              <a:gd name="connsiteY3917" fmla="*/ 139728 h 3192694"/>
              <a:gd name="connsiteX3918" fmla="*/ 3644798 w 8115305"/>
              <a:gd name="connsiteY3918" fmla="*/ 147154 h 3192694"/>
              <a:gd name="connsiteX3919" fmla="*/ 3610031 w 8115305"/>
              <a:gd name="connsiteY3919" fmla="*/ 139367 h 3192694"/>
              <a:gd name="connsiteX3920" fmla="*/ 3654033 w 8115305"/>
              <a:gd name="connsiteY3920" fmla="*/ 132124 h 3192694"/>
              <a:gd name="connsiteX3921" fmla="*/ 3543577 w 8115305"/>
              <a:gd name="connsiteY3921" fmla="*/ 130313 h 3192694"/>
              <a:gd name="connsiteX3922" fmla="*/ 3575264 w 8115305"/>
              <a:gd name="connsiteY3922" fmla="*/ 137375 h 3192694"/>
              <a:gd name="connsiteX3923" fmla="*/ 3531444 w 8115305"/>
              <a:gd name="connsiteY3923" fmla="*/ 144437 h 3192694"/>
              <a:gd name="connsiteX3924" fmla="*/ 3499936 w 8115305"/>
              <a:gd name="connsiteY3924" fmla="*/ 137375 h 3192694"/>
              <a:gd name="connsiteX3925" fmla="*/ 3543577 w 8115305"/>
              <a:gd name="connsiteY3925" fmla="*/ 130313 h 3192694"/>
              <a:gd name="connsiteX3926" fmla="*/ 4796451 w 8115305"/>
              <a:gd name="connsiteY3926" fmla="*/ 130132 h 3192694"/>
              <a:gd name="connsiteX3927" fmla="*/ 4838279 w 8115305"/>
              <a:gd name="connsiteY3927" fmla="*/ 136650 h 3192694"/>
              <a:gd name="connsiteX3928" fmla="*/ 4808402 w 8115305"/>
              <a:gd name="connsiteY3928" fmla="*/ 143169 h 3192694"/>
              <a:gd name="connsiteX3929" fmla="*/ 4767296 w 8115305"/>
              <a:gd name="connsiteY3929" fmla="*/ 136287 h 3192694"/>
              <a:gd name="connsiteX3930" fmla="*/ 4796451 w 8115305"/>
              <a:gd name="connsiteY3930" fmla="*/ 130132 h 3192694"/>
              <a:gd name="connsiteX3931" fmla="*/ 3430585 w 8115305"/>
              <a:gd name="connsiteY3931" fmla="*/ 129226 h 3192694"/>
              <a:gd name="connsiteX3932" fmla="*/ 3457926 w 8115305"/>
              <a:gd name="connsiteY3932" fmla="*/ 136287 h 3192694"/>
              <a:gd name="connsiteX3933" fmla="*/ 3414287 w 8115305"/>
              <a:gd name="connsiteY3933" fmla="*/ 142625 h 3192694"/>
              <a:gd name="connsiteX3934" fmla="*/ 3385858 w 8115305"/>
              <a:gd name="connsiteY3934" fmla="*/ 135563 h 3192694"/>
              <a:gd name="connsiteX3935" fmla="*/ 3430585 w 8115305"/>
              <a:gd name="connsiteY3935" fmla="*/ 129226 h 3192694"/>
              <a:gd name="connsiteX3936" fmla="*/ 4681829 w 8115305"/>
              <a:gd name="connsiteY3936" fmla="*/ 128322 h 3192694"/>
              <a:gd name="connsiteX3937" fmla="*/ 4724564 w 8115305"/>
              <a:gd name="connsiteY3937" fmla="*/ 135202 h 3192694"/>
              <a:gd name="connsiteX3938" fmla="*/ 4694323 w 8115305"/>
              <a:gd name="connsiteY3938" fmla="*/ 141903 h 3192694"/>
              <a:gd name="connsiteX3939" fmla="*/ 4651408 w 8115305"/>
              <a:gd name="connsiteY3939" fmla="*/ 134841 h 3192694"/>
              <a:gd name="connsiteX3940" fmla="*/ 4681829 w 8115305"/>
              <a:gd name="connsiteY3940" fmla="*/ 128322 h 3192694"/>
              <a:gd name="connsiteX3941" fmla="*/ 5706005 w 8115305"/>
              <a:gd name="connsiteY3941" fmla="*/ 128320 h 3192694"/>
              <a:gd name="connsiteX3942" fmla="*/ 5724654 w 8115305"/>
              <a:gd name="connsiteY3942" fmla="*/ 130493 h 3192694"/>
              <a:gd name="connsiteX3943" fmla="*/ 5717955 w 8115305"/>
              <a:gd name="connsiteY3943" fmla="*/ 132847 h 3192694"/>
              <a:gd name="connsiteX3944" fmla="*/ 5699847 w 8115305"/>
              <a:gd name="connsiteY3944" fmla="*/ 130493 h 3192694"/>
              <a:gd name="connsiteX3945" fmla="*/ 5706005 w 8115305"/>
              <a:gd name="connsiteY3945" fmla="*/ 128320 h 3192694"/>
              <a:gd name="connsiteX3946" fmla="*/ 3317409 w 8115305"/>
              <a:gd name="connsiteY3946" fmla="*/ 127234 h 3192694"/>
              <a:gd name="connsiteX3947" fmla="*/ 3344752 w 8115305"/>
              <a:gd name="connsiteY3947" fmla="*/ 133753 h 3192694"/>
              <a:gd name="connsiteX3948" fmla="*/ 3302923 w 8115305"/>
              <a:gd name="connsiteY3948" fmla="*/ 140091 h 3192694"/>
              <a:gd name="connsiteX3949" fmla="*/ 3275760 w 8115305"/>
              <a:gd name="connsiteY3949" fmla="*/ 133392 h 3192694"/>
              <a:gd name="connsiteX3950" fmla="*/ 3317409 w 8115305"/>
              <a:gd name="connsiteY3950" fmla="*/ 127234 h 3192694"/>
              <a:gd name="connsiteX3951" fmla="*/ 3207133 w 8115305"/>
              <a:gd name="connsiteY3951" fmla="*/ 127054 h 3192694"/>
              <a:gd name="connsiteX3952" fmla="*/ 3230855 w 8115305"/>
              <a:gd name="connsiteY3952" fmla="*/ 133390 h 3192694"/>
              <a:gd name="connsiteX3953" fmla="*/ 3190835 w 8115305"/>
              <a:gd name="connsiteY3953" fmla="*/ 138099 h 3192694"/>
              <a:gd name="connsiteX3954" fmla="*/ 3166752 w 8115305"/>
              <a:gd name="connsiteY3954" fmla="*/ 132124 h 3192694"/>
              <a:gd name="connsiteX3955" fmla="*/ 3207133 w 8115305"/>
              <a:gd name="connsiteY3955" fmla="*/ 127054 h 3192694"/>
              <a:gd name="connsiteX3956" fmla="*/ 4567208 w 8115305"/>
              <a:gd name="connsiteY3956" fmla="*/ 125967 h 3192694"/>
              <a:gd name="connsiteX3957" fmla="*/ 4609398 w 8115305"/>
              <a:gd name="connsiteY3957" fmla="*/ 132668 h 3192694"/>
              <a:gd name="connsiteX3958" fmla="*/ 4577529 w 8115305"/>
              <a:gd name="connsiteY3958" fmla="*/ 139729 h 3192694"/>
              <a:gd name="connsiteX3959" fmla="*/ 4536968 w 8115305"/>
              <a:gd name="connsiteY3959" fmla="*/ 132849 h 3192694"/>
              <a:gd name="connsiteX3960" fmla="*/ 4567208 w 8115305"/>
              <a:gd name="connsiteY3960" fmla="*/ 125967 h 3192694"/>
              <a:gd name="connsiteX3961" fmla="*/ 5588847 w 8115305"/>
              <a:gd name="connsiteY3961" fmla="*/ 125425 h 3192694"/>
              <a:gd name="connsiteX3962" fmla="*/ 5610757 w 8115305"/>
              <a:gd name="connsiteY3962" fmla="*/ 128141 h 3192694"/>
              <a:gd name="connsiteX3963" fmla="*/ 5601521 w 8115305"/>
              <a:gd name="connsiteY3963" fmla="*/ 131219 h 3192694"/>
              <a:gd name="connsiteX3964" fmla="*/ 5579792 w 8115305"/>
              <a:gd name="connsiteY3964" fmla="*/ 128503 h 3192694"/>
              <a:gd name="connsiteX3965" fmla="*/ 5588847 w 8115305"/>
              <a:gd name="connsiteY3965" fmla="*/ 125425 h 3192694"/>
              <a:gd name="connsiteX3966" fmla="*/ 3096674 w 8115305"/>
              <a:gd name="connsiteY3966" fmla="*/ 124520 h 3192694"/>
              <a:gd name="connsiteX3967" fmla="*/ 3117679 w 8115305"/>
              <a:gd name="connsiteY3967" fmla="*/ 130132 h 3192694"/>
              <a:gd name="connsiteX3968" fmla="*/ 3081283 w 8115305"/>
              <a:gd name="connsiteY3968" fmla="*/ 135384 h 3192694"/>
              <a:gd name="connsiteX3969" fmla="*/ 3060459 w 8115305"/>
              <a:gd name="connsiteY3969" fmla="*/ 129590 h 3192694"/>
              <a:gd name="connsiteX3970" fmla="*/ 3096674 w 8115305"/>
              <a:gd name="connsiteY3970" fmla="*/ 124520 h 3192694"/>
              <a:gd name="connsiteX3971" fmla="*/ 4456749 w 8115305"/>
              <a:gd name="connsiteY3971" fmla="*/ 124337 h 3192694"/>
              <a:gd name="connsiteX3972" fmla="*/ 4498579 w 8115305"/>
              <a:gd name="connsiteY3972" fmla="*/ 131400 h 3192694"/>
              <a:gd name="connsiteX3973" fmla="*/ 4463451 w 8115305"/>
              <a:gd name="connsiteY3973" fmla="*/ 138462 h 3192694"/>
              <a:gd name="connsiteX3974" fmla="*/ 4420534 w 8115305"/>
              <a:gd name="connsiteY3974" fmla="*/ 131400 h 3192694"/>
              <a:gd name="connsiteX3975" fmla="*/ 4456749 w 8115305"/>
              <a:gd name="connsiteY3975" fmla="*/ 124337 h 3192694"/>
              <a:gd name="connsiteX3976" fmla="*/ 5472958 w 8115305"/>
              <a:gd name="connsiteY3976" fmla="*/ 123613 h 3192694"/>
              <a:gd name="connsiteX3977" fmla="*/ 5499396 w 8115305"/>
              <a:gd name="connsiteY3977" fmla="*/ 127052 h 3192694"/>
              <a:gd name="connsiteX3978" fmla="*/ 5486900 w 8115305"/>
              <a:gd name="connsiteY3978" fmla="*/ 130493 h 3192694"/>
              <a:gd name="connsiteX3979" fmla="*/ 5460464 w 8115305"/>
              <a:gd name="connsiteY3979" fmla="*/ 127052 h 3192694"/>
              <a:gd name="connsiteX3980" fmla="*/ 5472958 w 8115305"/>
              <a:gd name="connsiteY3980" fmla="*/ 123613 h 3192694"/>
              <a:gd name="connsiteX3981" fmla="*/ 2987487 w 8115305"/>
              <a:gd name="connsiteY3981" fmla="*/ 123250 h 3192694"/>
              <a:gd name="connsiteX3982" fmla="*/ 3007043 w 8115305"/>
              <a:gd name="connsiteY3982" fmla="*/ 128140 h 3192694"/>
              <a:gd name="connsiteX3983" fmla="*/ 2973362 w 8115305"/>
              <a:gd name="connsiteY3983" fmla="*/ 133390 h 3192694"/>
              <a:gd name="connsiteX3984" fmla="*/ 2951272 w 8115305"/>
              <a:gd name="connsiteY3984" fmla="*/ 128501 h 3192694"/>
              <a:gd name="connsiteX3985" fmla="*/ 2987487 w 8115305"/>
              <a:gd name="connsiteY3985" fmla="*/ 123250 h 3192694"/>
              <a:gd name="connsiteX3986" fmla="*/ 2877389 w 8115305"/>
              <a:gd name="connsiteY3986" fmla="*/ 122708 h 3192694"/>
              <a:gd name="connsiteX3987" fmla="*/ 2895136 w 8115305"/>
              <a:gd name="connsiteY3987" fmla="*/ 127054 h 3192694"/>
              <a:gd name="connsiteX3988" fmla="*/ 2864191 w 8115305"/>
              <a:gd name="connsiteY3988" fmla="*/ 131581 h 3192694"/>
              <a:gd name="connsiteX3989" fmla="*/ 2846084 w 8115305"/>
              <a:gd name="connsiteY3989" fmla="*/ 127054 h 3192694"/>
              <a:gd name="connsiteX3990" fmla="*/ 2877389 w 8115305"/>
              <a:gd name="connsiteY3990" fmla="*/ 122708 h 3192694"/>
              <a:gd name="connsiteX3991" fmla="*/ 4340499 w 8115305"/>
              <a:gd name="connsiteY3991" fmla="*/ 121984 h 3192694"/>
              <a:gd name="connsiteX3992" fmla="*/ 4380880 w 8115305"/>
              <a:gd name="connsiteY3992" fmla="*/ 129227 h 3192694"/>
              <a:gd name="connsiteX3993" fmla="*/ 4342853 w 8115305"/>
              <a:gd name="connsiteY3993" fmla="*/ 136471 h 3192694"/>
              <a:gd name="connsiteX3994" fmla="*/ 4302291 w 8115305"/>
              <a:gd name="connsiteY3994" fmla="*/ 128864 h 3192694"/>
              <a:gd name="connsiteX3995" fmla="*/ 4340499 w 8115305"/>
              <a:gd name="connsiteY3995" fmla="*/ 121984 h 3192694"/>
              <a:gd name="connsiteX3996" fmla="*/ 5352902 w 8115305"/>
              <a:gd name="connsiteY3996" fmla="*/ 120899 h 3192694"/>
              <a:gd name="connsiteX3997" fmla="*/ 5381150 w 8115305"/>
              <a:gd name="connsiteY3997" fmla="*/ 124881 h 3192694"/>
              <a:gd name="connsiteX3998" fmla="*/ 5366664 w 8115305"/>
              <a:gd name="connsiteY3998" fmla="*/ 128503 h 3192694"/>
              <a:gd name="connsiteX3999" fmla="*/ 5338597 w 8115305"/>
              <a:gd name="connsiteY3999" fmla="*/ 124701 h 3192694"/>
              <a:gd name="connsiteX4000" fmla="*/ 5352902 w 8115305"/>
              <a:gd name="connsiteY4000" fmla="*/ 120899 h 3192694"/>
              <a:gd name="connsiteX4001" fmla="*/ 2764781 w 8115305"/>
              <a:gd name="connsiteY4001" fmla="*/ 120896 h 3192694"/>
              <a:gd name="connsiteX4002" fmla="*/ 2778180 w 8115305"/>
              <a:gd name="connsiteY4002" fmla="*/ 124880 h 3192694"/>
              <a:gd name="connsiteX4003" fmla="*/ 2749389 w 8115305"/>
              <a:gd name="connsiteY4003" fmla="*/ 128502 h 3192694"/>
              <a:gd name="connsiteX4004" fmla="*/ 2736895 w 8115305"/>
              <a:gd name="connsiteY4004" fmla="*/ 124698 h 3192694"/>
              <a:gd name="connsiteX4005" fmla="*/ 2764781 w 8115305"/>
              <a:gd name="connsiteY4005" fmla="*/ 120896 h 3192694"/>
              <a:gd name="connsiteX4006" fmla="*/ 4226239 w 8115305"/>
              <a:gd name="connsiteY4006" fmla="*/ 120534 h 3192694"/>
              <a:gd name="connsiteX4007" fmla="*/ 4268249 w 8115305"/>
              <a:gd name="connsiteY4007" fmla="*/ 127596 h 3192694"/>
              <a:gd name="connsiteX4008" fmla="*/ 4230585 w 8115305"/>
              <a:gd name="connsiteY4008" fmla="*/ 135020 h 3192694"/>
              <a:gd name="connsiteX4009" fmla="*/ 4189480 w 8115305"/>
              <a:gd name="connsiteY4009" fmla="*/ 127777 h 3192694"/>
              <a:gd name="connsiteX4010" fmla="*/ 4226239 w 8115305"/>
              <a:gd name="connsiteY4010" fmla="*/ 120534 h 3192694"/>
              <a:gd name="connsiteX4011" fmla="*/ 2658486 w 8115305"/>
              <a:gd name="connsiteY4011" fmla="*/ 119267 h 3192694"/>
              <a:gd name="connsiteX4012" fmla="*/ 2668447 w 8115305"/>
              <a:gd name="connsiteY4012" fmla="*/ 122708 h 3192694"/>
              <a:gd name="connsiteX4013" fmla="*/ 2643639 w 8115305"/>
              <a:gd name="connsiteY4013" fmla="*/ 125786 h 3192694"/>
              <a:gd name="connsiteX4014" fmla="*/ 2633137 w 8115305"/>
              <a:gd name="connsiteY4014" fmla="*/ 122164 h 3192694"/>
              <a:gd name="connsiteX4015" fmla="*/ 2658486 w 8115305"/>
              <a:gd name="connsiteY4015" fmla="*/ 119267 h 3192694"/>
              <a:gd name="connsiteX4016" fmla="*/ 5238280 w 8115305"/>
              <a:gd name="connsiteY4016" fmla="*/ 118906 h 3192694"/>
              <a:gd name="connsiteX4017" fmla="*/ 5269425 w 8115305"/>
              <a:gd name="connsiteY4017" fmla="*/ 123252 h 3192694"/>
              <a:gd name="connsiteX4018" fmla="*/ 5254034 w 8115305"/>
              <a:gd name="connsiteY4018" fmla="*/ 127598 h 3192694"/>
              <a:gd name="connsiteX4019" fmla="*/ 5221441 w 8115305"/>
              <a:gd name="connsiteY4019" fmla="*/ 123070 h 3192694"/>
              <a:gd name="connsiteX4020" fmla="*/ 5238280 w 8115305"/>
              <a:gd name="connsiteY4020" fmla="*/ 118906 h 3192694"/>
              <a:gd name="connsiteX4021" fmla="*/ 2548020 w 8115305"/>
              <a:gd name="connsiteY4021" fmla="*/ 118362 h 3192694"/>
              <a:gd name="connsiteX4022" fmla="*/ 2557255 w 8115305"/>
              <a:gd name="connsiteY4022" fmla="*/ 121079 h 3192694"/>
              <a:gd name="connsiteX4023" fmla="*/ 2535886 w 8115305"/>
              <a:gd name="connsiteY4023" fmla="*/ 123796 h 3192694"/>
              <a:gd name="connsiteX4024" fmla="*/ 2528101 w 8115305"/>
              <a:gd name="connsiteY4024" fmla="*/ 120898 h 3192694"/>
              <a:gd name="connsiteX4025" fmla="*/ 2548020 w 8115305"/>
              <a:gd name="connsiteY4025" fmla="*/ 118362 h 3192694"/>
              <a:gd name="connsiteX4026" fmla="*/ 4115420 w 8115305"/>
              <a:gd name="connsiteY4026" fmla="*/ 118362 h 3192694"/>
              <a:gd name="connsiteX4027" fmla="*/ 4156705 w 8115305"/>
              <a:gd name="connsiteY4027" fmla="*/ 125242 h 3192694"/>
              <a:gd name="connsiteX4028" fmla="*/ 4118497 w 8115305"/>
              <a:gd name="connsiteY4028" fmla="*/ 132667 h 3192694"/>
              <a:gd name="connsiteX4029" fmla="*/ 4078299 w 8115305"/>
              <a:gd name="connsiteY4029" fmla="*/ 125424 h 3192694"/>
              <a:gd name="connsiteX4030" fmla="*/ 4115420 w 8115305"/>
              <a:gd name="connsiteY4030" fmla="*/ 118362 h 3192694"/>
              <a:gd name="connsiteX4031" fmla="*/ 4005322 w 8115305"/>
              <a:gd name="connsiteY4031" fmla="*/ 116913 h 3192694"/>
              <a:gd name="connsiteX4032" fmla="*/ 4044074 w 8115305"/>
              <a:gd name="connsiteY4032" fmla="*/ 124156 h 3192694"/>
              <a:gd name="connsiteX4033" fmla="*/ 4003693 w 8115305"/>
              <a:gd name="connsiteY4033" fmla="*/ 131219 h 3192694"/>
              <a:gd name="connsiteX4034" fmla="*/ 3966029 w 8115305"/>
              <a:gd name="connsiteY4034" fmla="*/ 123795 h 3192694"/>
              <a:gd name="connsiteX4035" fmla="*/ 4005322 w 8115305"/>
              <a:gd name="connsiteY4035" fmla="*/ 116913 h 3192694"/>
              <a:gd name="connsiteX4036" fmla="*/ 5123659 w 8115305"/>
              <a:gd name="connsiteY4036" fmla="*/ 116370 h 3192694"/>
              <a:gd name="connsiteX4037" fmla="*/ 5157339 w 8115305"/>
              <a:gd name="connsiteY4037" fmla="*/ 121257 h 3192694"/>
              <a:gd name="connsiteX4038" fmla="*/ 5138146 w 8115305"/>
              <a:gd name="connsiteY4038" fmla="*/ 125966 h 3192694"/>
              <a:gd name="connsiteX4039" fmla="*/ 5104283 w 8115305"/>
              <a:gd name="connsiteY4039" fmla="*/ 121077 h 3192694"/>
              <a:gd name="connsiteX4040" fmla="*/ 5123659 w 8115305"/>
              <a:gd name="connsiteY4040" fmla="*/ 116370 h 3192694"/>
              <a:gd name="connsiteX4041" fmla="*/ 3896675 w 8115305"/>
              <a:gd name="connsiteY4041" fmla="*/ 114922 h 3192694"/>
              <a:gd name="connsiteX4042" fmla="*/ 3932166 w 8115305"/>
              <a:gd name="connsiteY4042" fmla="*/ 121804 h 3192694"/>
              <a:gd name="connsiteX4043" fmla="*/ 3892692 w 8115305"/>
              <a:gd name="connsiteY4043" fmla="*/ 128864 h 3192694"/>
              <a:gd name="connsiteX4044" fmla="*/ 3856477 w 8115305"/>
              <a:gd name="connsiteY4044" fmla="*/ 121621 h 3192694"/>
              <a:gd name="connsiteX4045" fmla="*/ 3896675 w 8115305"/>
              <a:gd name="connsiteY4045" fmla="*/ 114922 h 3192694"/>
              <a:gd name="connsiteX4046" fmla="*/ 5009579 w 8115305"/>
              <a:gd name="connsiteY4046" fmla="*/ 114560 h 3192694"/>
              <a:gd name="connsiteX4047" fmla="*/ 5045795 w 8115305"/>
              <a:gd name="connsiteY4047" fmla="*/ 119631 h 3192694"/>
              <a:gd name="connsiteX4048" fmla="*/ 5025695 w 8115305"/>
              <a:gd name="connsiteY4048" fmla="*/ 124701 h 3192694"/>
              <a:gd name="connsiteX4049" fmla="*/ 4989479 w 8115305"/>
              <a:gd name="connsiteY4049" fmla="*/ 119631 h 3192694"/>
              <a:gd name="connsiteX4050" fmla="*/ 5009579 w 8115305"/>
              <a:gd name="connsiteY4050" fmla="*/ 114560 h 3192694"/>
              <a:gd name="connsiteX4051" fmla="*/ 3783866 w 8115305"/>
              <a:gd name="connsiteY4051" fmla="*/ 113836 h 3192694"/>
              <a:gd name="connsiteX4052" fmla="*/ 3815916 w 8115305"/>
              <a:gd name="connsiteY4052" fmla="*/ 120535 h 3192694"/>
              <a:gd name="connsiteX4053" fmla="*/ 3774994 w 8115305"/>
              <a:gd name="connsiteY4053" fmla="*/ 127054 h 3192694"/>
              <a:gd name="connsiteX4054" fmla="*/ 3742943 w 8115305"/>
              <a:gd name="connsiteY4054" fmla="*/ 120174 h 3192694"/>
              <a:gd name="connsiteX4055" fmla="*/ 3783866 w 8115305"/>
              <a:gd name="connsiteY4055" fmla="*/ 113836 h 3192694"/>
              <a:gd name="connsiteX4056" fmla="*/ 4897854 w 8115305"/>
              <a:gd name="connsiteY4056" fmla="*/ 112024 h 3192694"/>
              <a:gd name="connsiteX4057" fmla="*/ 4934069 w 8115305"/>
              <a:gd name="connsiteY4057" fmla="*/ 117638 h 3192694"/>
              <a:gd name="connsiteX4058" fmla="*/ 4910348 w 8115305"/>
              <a:gd name="connsiteY4058" fmla="*/ 123069 h 3192694"/>
              <a:gd name="connsiteX4059" fmla="*/ 4874133 w 8115305"/>
              <a:gd name="connsiteY4059" fmla="*/ 117457 h 3192694"/>
              <a:gd name="connsiteX4060" fmla="*/ 4897854 w 8115305"/>
              <a:gd name="connsiteY4060" fmla="*/ 112024 h 3192694"/>
              <a:gd name="connsiteX4061" fmla="*/ 3674314 w 8115305"/>
              <a:gd name="connsiteY4061" fmla="*/ 111841 h 3192694"/>
              <a:gd name="connsiteX4062" fmla="*/ 3705459 w 8115305"/>
              <a:gd name="connsiteY4062" fmla="*/ 118179 h 3192694"/>
              <a:gd name="connsiteX4063" fmla="*/ 3665259 w 8115305"/>
              <a:gd name="connsiteY4063" fmla="*/ 124698 h 3192694"/>
              <a:gd name="connsiteX4064" fmla="*/ 3634113 w 8115305"/>
              <a:gd name="connsiteY4064" fmla="*/ 118179 h 3192694"/>
              <a:gd name="connsiteX4065" fmla="*/ 3674314 w 8115305"/>
              <a:gd name="connsiteY4065" fmla="*/ 111841 h 3192694"/>
              <a:gd name="connsiteX4066" fmla="*/ 3563855 w 8115305"/>
              <a:gd name="connsiteY4066" fmla="*/ 110575 h 3192694"/>
              <a:gd name="connsiteX4067" fmla="*/ 3595001 w 8115305"/>
              <a:gd name="connsiteY4067" fmla="*/ 116733 h 3192694"/>
              <a:gd name="connsiteX4068" fmla="*/ 3555525 w 8115305"/>
              <a:gd name="connsiteY4068" fmla="*/ 123071 h 3192694"/>
              <a:gd name="connsiteX4069" fmla="*/ 3525286 w 8115305"/>
              <a:gd name="connsiteY4069" fmla="*/ 116913 h 3192694"/>
              <a:gd name="connsiteX4070" fmla="*/ 3563855 w 8115305"/>
              <a:gd name="connsiteY4070" fmla="*/ 110575 h 3192694"/>
              <a:gd name="connsiteX4071" fmla="*/ 4786853 w 8115305"/>
              <a:gd name="connsiteY4071" fmla="*/ 110395 h 3192694"/>
              <a:gd name="connsiteX4072" fmla="*/ 4823793 w 8115305"/>
              <a:gd name="connsiteY4072" fmla="*/ 116189 h 3192694"/>
              <a:gd name="connsiteX4073" fmla="*/ 4798805 w 8115305"/>
              <a:gd name="connsiteY4073" fmla="*/ 121803 h 3192694"/>
              <a:gd name="connsiteX4074" fmla="*/ 4761141 w 8115305"/>
              <a:gd name="connsiteY4074" fmla="*/ 116189 h 3192694"/>
              <a:gd name="connsiteX4075" fmla="*/ 4786853 w 8115305"/>
              <a:gd name="connsiteY4075" fmla="*/ 110395 h 3192694"/>
              <a:gd name="connsiteX4076" fmla="*/ 3457382 w 8115305"/>
              <a:gd name="connsiteY4076" fmla="*/ 108946 h 3192694"/>
              <a:gd name="connsiteX4077" fmla="*/ 3484001 w 8115305"/>
              <a:gd name="connsiteY4077" fmla="*/ 114740 h 3192694"/>
              <a:gd name="connsiteX4078" fmla="*/ 3447786 w 8115305"/>
              <a:gd name="connsiteY4078" fmla="*/ 120535 h 3192694"/>
              <a:gd name="connsiteX4079" fmla="*/ 3420443 w 8115305"/>
              <a:gd name="connsiteY4079" fmla="*/ 114560 h 3192694"/>
              <a:gd name="connsiteX4080" fmla="*/ 3457382 w 8115305"/>
              <a:gd name="connsiteY4080" fmla="*/ 108946 h 3192694"/>
              <a:gd name="connsiteX4081" fmla="*/ 4672234 w 8115305"/>
              <a:gd name="connsiteY4081" fmla="*/ 108222 h 3192694"/>
              <a:gd name="connsiteX4082" fmla="*/ 4708630 w 8115305"/>
              <a:gd name="connsiteY4082" fmla="*/ 114197 h 3192694"/>
              <a:gd name="connsiteX4083" fmla="*/ 4681287 w 8115305"/>
              <a:gd name="connsiteY4083" fmla="*/ 119811 h 3192694"/>
              <a:gd name="connsiteX4084" fmla="*/ 4643803 w 8115305"/>
              <a:gd name="connsiteY4084" fmla="*/ 113655 h 3192694"/>
              <a:gd name="connsiteX4085" fmla="*/ 4672234 w 8115305"/>
              <a:gd name="connsiteY4085" fmla="*/ 108222 h 3192694"/>
              <a:gd name="connsiteX4086" fmla="*/ 3349642 w 8115305"/>
              <a:gd name="connsiteY4086" fmla="*/ 107678 h 3192694"/>
              <a:gd name="connsiteX4087" fmla="*/ 3374269 w 8115305"/>
              <a:gd name="connsiteY4087" fmla="*/ 113293 h 3192694"/>
              <a:gd name="connsiteX4088" fmla="*/ 3336965 w 8115305"/>
              <a:gd name="connsiteY4088" fmla="*/ 118905 h 3192694"/>
              <a:gd name="connsiteX4089" fmla="*/ 3312339 w 8115305"/>
              <a:gd name="connsiteY4089" fmla="*/ 113110 h 3192694"/>
              <a:gd name="connsiteX4090" fmla="*/ 3349642 w 8115305"/>
              <a:gd name="connsiteY4090" fmla="*/ 107678 h 3192694"/>
              <a:gd name="connsiteX4091" fmla="*/ 5553897 w 8115305"/>
              <a:gd name="connsiteY4091" fmla="*/ 106593 h 3192694"/>
              <a:gd name="connsiteX4092" fmla="*/ 5570376 w 8115305"/>
              <a:gd name="connsiteY4092" fmla="*/ 108947 h 3192694"/>
              <a:gd name="connsiteX4093" fmla="*/ 5561865 w 8115305"/>
              <a:gd name="connsiteY4093" fmla="*/ 110939 h 3192694"/>
              <a:gd name="connsiteX4094" fmla="*/ 5545388 w 8115305"/>
              <a:gd name="connsiteY4094" fmla="*/ 108586 h 3192694"/>
              <a:gd name="connsiteX4095" fmla="*/ 5553897 w 8115305"/>
              <a:gd name="connsiteY4095" fmla="*/ 106593 h 3192694"/>
              <a:gd name="connsiteX4096" fmla="*/ 4561051 w 8115305"/>
              <a:gd name="connsiteY4096" fmla="*/ 106591 h 3192694"/>
              <a:gd name="connsiteX4097" fmla="*/ 4599078 w 8115305"/>
              <a:gd name="connsiteY4097" fmla="*/ 112567 h 3192694"/>
              <a:gd name="connsiteX4098" fmla="*/ 4569562 w 8115305"/>
              <a:gd name="connsiteY4098" fmla="*/ 118723 h 3192694"/>
              <a:gd name="connsiteX4099" fmla="*/ 4531354 w 8115305"/>
              <a:gd name="connsiteY4099" fmla="*/ 112385 h 3192694"/>
              <a:gd name="connsiteX4100" fmla="*/ 4561051 w 8115305"/>
              <a:gd name="connsiteY4100" fmla="*/ 106591 h 3192694"/>
              <a:gd name="connsiteX4101" fmla="*/ 3241900 w 8115305"/>
              <a:gd name="connsiteY4101" fmla="*/ 106049 h 3192694"/>
              <a:gd name="connsiteX4102" fmla="*/ 3264534 w 8115305"/>
              <a:gd name="connsiteY4102" fmla="*/ 110937 h 3192694"/>
              <a:gd name="connsiteX4103" fmla="*/ 3228319 w 8115305"/>
              <a:gd name="connsiteY4103" fmla="*/ 116190 h 3192694"/>
              <a:gd name="connsiteX4104" fmla="*/ 3206952 w 8115305"/>
              <a:gd name="connsiteY4104" fmla="*/ 111119 h 3192694"/>
              <a:gd name="connsiteX4105" fmla="*/ 3241900 w 8115305"/>
              <a:gd name="connsiteY4105" fmla="*/ 106049 h 3192694"/>
              <a:gd name="connsiteX4106" fmla="*/ 3131263 w 8115305"/>
              <a:gd name="connsiteY4106" fmla="*/ 104418 h 3192694"/>
              <a:gd name="connsiteX4107" fmla="*/ 3151724 w 8115305"/>
              <a:gd name="connsiteY4107" fmla="*/ 108945 h 3192694"/>
              <a:gd name="connsiteX4108" fmla="*/ 3120036 w 8115305"/>
              <a:gd name="connsiteY4108" fmla="*/ 114015 h 3192694"/>
              <a:gd name="connsiteX4109" fmla="*/ 3097582 w 8115305"/>
              <a:gd name="connsiteY4109" fmla="*/ 109308 h 3192694"/>
              <a:gd name="connsiteX4110" fmla="*/ 3131263 w 8115305"/>
              <a:gd name="connsiteY4110" fmla="*/ 104418 h 3192694"/>
              <a:gd name="connsiteX4111" fmla="*/ 4450774 w 8115305"/>
              <a:gd name="connsiteY4111" fmla="*/ 104239 h 3192694"/>
              <a:gd name="connsiteX4112" fmla="*/ 4489163 w 8115305"/>
              <a:gd name="connsiteY4112" fmla="*/ 110575 h 3192694"/>
              <a:gd name="connsiteX4113" fmla="*/ 4457113 w 8115305"/>
              <a:gd name="connsiteY4113" fmla="*/ 116733 h 3192694"/>
              <a:gd name="connsiteX4114" fmla="*/ 4419629 w 8115305"/>
              <a:gd name="connsiteY4114" fmla="*/ 110214 h 3192694"/>
              <a:gd name="connsiteX4115" fmla="*/ 4450774 w 8115305"/>
              <a:gd name="connsiteY4115" fmla="*/ 104239 h 3192694"/>
              <a:gd name="connsiteX4116" fmla="*/ 5440905 w 8115305"/>
              <a:gd name="connsiteY4116" fmla="*/ 104237 h 3192694"/>
              <a:gd name="connsiteX4117" fmla="*/ 5461186 w 8115305"/>
              <a:gd name="connsiteY4117" fmla="*/ 106954 h 3192694"/>
              <a:gd name="connsiteX4118" fmla="*/ 5451228 w 8115305"/>
              <a:gd name="connsiteY4118" fmla="*/ 109668 h 3192694"/>
              <a:gd name="connsiteX4119" fmla="*/ 5430765 w 8115305"/>
              <a:gd name="connsiteY4119" fmla="*/ 106954 h 3192694"/>
              <a:gd name="connsiteX4120" fmla="*/ 5440905 w 8115305"/>
              <a:gd name="connsiteY4120" fmla="*/ 104237 h 3192694"/>
              <a:gd name="connsiteX4121" fmla="*/ 3023522 w 8115305"/>
              <a:gd name="connsiteY4121" fmla="*/ 104057 h 3192694"/>
              <a:gd name="connsiteX4122" fmla="*/ 3041630 w 8115305"/>
              <a:gd name="connsiteY4122" fmla="*/ 108403 h 3192694"/>
              <a:gd name="connsiteX4123" fmla="*/ 3012114 w 8115305"/>
              <a:gd name="connsiteY4123" fmla="*/ 112568 h 3192694"/>
              <a:gd name="connsiteX4124" fmla="*/ 2994006 w 8115305"/>
              <a:gd name="connsiteY4124" fmla="*/ 108222 h 3192694"/>
              <a:gd name="connsiteX4125" fmla="*/ 3023522 w 8115305"/>
              <a:gd name="connsiteY4125" fmla="*/ 104057 h 3192694"/>
              <a:gd name="connsiteX4126" fmla="*/ 4341040 w 8115305"/>
              <a:gd name="connsiteY4126" fmla="*/ 102608 h 3192694"/>
              <a:gd name="connsiteX4127" fmla="*/ 4379611 w 8115305"/>
              <a:gd name="connsiteY4127" fmla="*/ 108946 h 3192694"/>
              <a:gd name="connsiteX4128" fmla="*/ 4347017 w 8115305"/>
              <a:gd name="connsiteY4128" fmla="*/ 115102 h 3192694"/>
              <a:gd name="connsiteX4129" fmla="*/ 4309534 w 8115305"/>
              <a:gd name="connsiteY4129" fmla="*/ 108946 h 3192694"/>
              <a:gd name="connsiteX4130" fmla="*/ 4341040 w 8115305"/>
              <a:gd name="connsiteY4130" fmla="*/ 102608 h 3192694"/>
              <a:gd name="connsiteX4131" fmla="*/ 2915959 w 8115305"/>
              <a:gd name="connsiteY4131" fmla="*/ 102428 h 3192694"/>
              <a:gd name="connsiteX4132" fmla="*/ 2934249 w 8115305"/>
              <a:gd name="connsiteY4132" fmla="*/ 106049 h 3192694"/>
              <a:gd name="connsiteX4133" fmla="*/ 2907630 w 8115305"/>
              <a:gd name="connsiteY4133" fmla="*/ 110031 h 3192694"/>
              <a:gd name="connsiteX4134" fmla="*/ 2889522 w 8115305"/>
              <a:gd name="connsiteY4134" fmla="*/ 106410 h 3192694"/>
              <a:gd name="connsiteX4135" fmla="*/ 2915959 w 8115305"/>
              <a:gd name="connsiteY4135" fmla="*/ 102428 h 3192694"/>
              <a:gd name="connsiteX4136" fmla="*/ 2812586 w 8115305"/>
              <a:gd name="connsiteY4136" fmla="*/ 102245 h 3192694"/>
              <a:gd name="connsiteX4137" fmla="*/ 2824899 w 8115305"/>
              <a:gd name="connsiteY4137" fmla="*/ 105867 h 3192694"/>
              <a:gd name="connsiteX4138" fmla="*/ 2800093 w 8115305"/>
              <a:gd name="connsiteY4138" fmla="*/ 108946 h 3192694"/>
              <a:gd name="connsiteX4139" fmla="*/ 2787597 w 8115305"/>
              <a:gd name="connsiteY4139" fmla="*/ 105505 h 3192694"/>
              <a:gd name="connsiteX4140" fmla="*/ 2812586 w 8115305"/>
              <a:gd name="connsiteY4140" fmla="*/ 102245 h 3192694"/>
              <a:gd name="connsiteX4141" fmla="*/ 4234023 w 8115305"/>
              <a:gd name="connsiteY4141" fmla="*/ 101523 h 3192694"/>
              <a:gd name="connsiteX4142" fmla="*/ 4270239 w 8115305"/>
              <a:gd name="connsiteY4142" fmla="*/ 108042 h 3192694"/>
              <a:gd name="connsiteX4143" fmla="*/ 4236016 w 8115305"/>
              <a:gd name="connsiteY4143" fmla="*/ 114016 h 3192694"/>
              <a:gd name="connsiteX4144" fmla="*/ 4199800 w 8115305"/>
              <a:gd name="connsiteY4144" fmla="*/ 107317 h 3192694"/>
              <a:gd name="connsiteX4145" fmla="*/ 4234023 w 8115305"/>
              <a:gd name="connsiteY4145" fmla="*/ 101523 h 3192694"/>
              <a:gd name="connsiteX4146" fmla="*/ 5326464 w 8115305"/>
              <a:gd name="connsiteY4146" fmla="*/ 101522 h 3192694"/>
              <a:gd name="connsiteX4147" fmla="*/ 5351815 w 8115305"/>
              <a:gd name="connsiteY4147" fmla="*/ 104781 h 3192694"/>
              <a:gd name="connsiteX4148" fmla="*/ 5340226 w 8115305"/>
              <a:gd name="connsiteY4148" fmla="*/ 108221 h 3192694"/>
              <a:gd name="connsiteX4149" fmla="*/ 5315600 w 8115305"/>
              <a:gd name="connsiteY4149" fmla="*/ 104963 h 3192694"/>
              <a:gd name="connsiteX4150" fmla="*/ 5326464 w 8115305"/>
              <a:gd name="connsiteY4150" fmla="*/ 101522 h 3192694"/>
              <a:gd name="connsiteX4151" fmla="*/ 2708274 w 8115305"/>
              <a:gd name="connsiteY4151" fmla="*/ 100072 h 3192694"/>
              <a:gd name="connsiteX4152" fmla="*/ 2717329 w 8115305"/>
              <a:gd name="connsiteY4152" fmla="*/ 102789 h 3192694"/>
              <a:gd name="connsiteX4153" fmla="*/ 2695781 w 8115305"/>
              <a:gd name="connsiteY4153" fmla="*/ 105505 h 3192694"/>
              <a:gd name="connsiteX4154" fmla="*/ 2686729 w 8115305"/>
              <a:gd name="connsiteY4154" fmla="*/ 102789 h 3192694"/>
              <a:gd name="connsiteX4155" fmla="*/ 2708274 w 8115305"/>
              <a:gd name="connsiteY4155" fmla="*/ 100072 h 3192694"/>
              <a:gd name="connsiteX4156" fmla="*/ 5216733 w 8115305"/>
              <a:gd name="connsiteY4156" fmla="*/ 99891 h 3192694"/>
              <a:gd name="connsiteX4157" fmla="*/ 5243170 w 8115305"/>
              <a:gd name="connsiteY4157" fmla="*/ 103694 h 3192694"/>
              <a:gd name="connsiteX4158" fmla="*/ 5228140 w 8115305"/>
              <a:gd name="connsiteY4158" fmla="*/ 107134 h 3192694"/>
              <a:gd name="connsiteX4159" fmla="*/ 5202789 w 8115305"/>
              <a:gd name="connsiteY4159" fmla="*/ 103513 h 3192694"/>
              <a:gd name="connsiteX4160" fmla="*/ 5216733 w 8115305"/>
              <a:gd name="connsiteY4160" fmla="*/ 99891 h 3192694"/>
              <a:gd name="connsiteX4161" fmla="*/ 2600168 w 8115305"/>
              <a:gd name="connsiteY4161" fmla="*/ 99530 h 3192694"/>
              <a:gd name="connsiteX4162" fmla="*/ 2608860 w 8115305"/>
              <a:gd name="connsiteY4162" fmla="*/ 101340 h 3192694"/>
              <a:gd name="connsiteX4163" fmla="*/ 2592744 w 8115305"/>
              <a:gd name="connsiteY4163" fmla="*/ 103513 h 3192694"/>
              <a:gd name="connsiteX4164" fmla="*/ 2585499 w 8115305"/>
              <a:gd name="connsiteY4164" fmla="*/ 101521 h 3192694"/>
              <a:gd name="connsiteX4165" fmla="*/ 2600168 w 8115305"/>
              <a:gd name="connsiteY4165" fmla="*/ 99530 h 3192694"/>
              <a:gd name="connsiteX4166" fmla="*/ 4121936 w 8115305"/>
              <a:gd name="connsiteY4166" fmla="*/ 99530 h 3192694"/>
              <a:gd name="connsiteX4167" fmla="*/ 4156703 w 8115305"/>
              <a:gd name="connsiteY4167" fmla="*/ 105505 h 3192694"/>
              <a:gd name="connsiteX4168" fmla="*/ 4121575 w 8115305"/>
              <a:gd name="connsiteY4168" fmla="*/ 111843 h 3192694"/>
              <a:gd name="connsiteX4169" fmla="*/ 4086808 w 8115305"/>
              <a:gd name="connsiteY4169" fmla="*/ 105505 h 3192694"/>
              <a:gd name="connsiteX4170" fmla="*/ 4121936 w 8115305"/>
              <a:gd name="connsiteY4170" fmla="*/ 99530 h 3192694"/>
              <a:gd name="connsiteX4171" fmla="*/ 4014196 w 8115305"/>
              <a:gd name="connsiteY4171" fmla="*/ 98081 h 3192694"/>
              <a:gd name="connsiteX4172" fmla="*/ 4048421 w 8115305"/>
              <a:gd name="connsiteY4172" fmla="*/ 104239 h 3192694"/>
              <a:gd name="connsiteX4173" fmla="*/ 4014196 w 8115305"/>
              <a:gd name="connsiteY4173" fmla="*/ 110394 h 3192694"/>
              <a:gd name="connsiteX4174" fmla="*/ 3977981 w 8115305"/>
              <a:gd name="connsiteY4174" fmla="*/ 104419 h 3192694"/>
              <a:gd name="connsiteX4175" fmla="*/ 4014196 w 8115305"/>
              <a:gd name="connsiteY4175" fmla="*/ 98081 h 3192694"/>
              <a:gd name="connsiteX4176" fmla="*/ 5104825 w 8115305"/>
              <a:gd name="connsiteY4176" fmla="*/ 97538 h 3192694"/>
              <a:gd name="connsiteX4177" fmla="*/ 5134522 w 8115305"/>
              <a:gd name="connsiteY4177" fmla="*/ 101521 h 3192694"/>
              <a:gd name="connsiteX4178" fmla="*/ 5117682 w 8115305"/>
              <a:gd name="connsiteY4178" fmla="*/ 105506 h 3192694"/>
              <a:gd name="connsiteX4179" fmla="*/ 5088710 w 8115305"/>
              <a:gd name="connsiteY4179" fmla="*/ 101340 h 3192694"/>
              <a:gd name="connsiteX4180" fmla="*/ 5104825 w 8115305"/>
              <a:gd name="connsiteY4180" fmla="*/ 97538 h 3192694"/>
              <a:gd name="connsiteX4181" fmla="*/ 3907723 w 8115305"/>
              <a:gd name="connsiteY4181" fmla="*/ 96813 h 3192694"/>
              <a:gd name="connsiteX4182" fmla="*/ 3940317 w 8115305"/>
              <a:gd name="connsiteY4182" fmla="*/ 102969 h 3192694"/>
              <a:gd name="connsiteX4183" fmla="*/ 3904101 w 8115305"/>
              <a:gd name="connsiteY4183" fmla="*/ 108946 h 3192694"/>
              <a:gd name="connsiteX4184" fmla="*/ 3871507 w 8115305"/>
              <a:gd name="connsiteY4184" fmla="*/ 102789 h 3192694"/>
              <a:gd name="connsiteX4185" fmla="*/ 3907723 w 8115305"/>
              <a:gd name="connsiteY4185" fmla="*/ 96813 h 3192694"/>
              <a:gd name="connsiteX4186" fmla="*/ 4993102 w 8115305"/>
              <a:gd name="connsiteY4186" fmla="*/ 95909 h 3192694"/>
              <a:gd name="connsiteX4187" fmla="*/ 5021892 w 8115305"/>
              <a:gd name="connsiteY4187" fmla="*/ 100255 h 3192694"/>
              <a:gd name="connsiteX4188" fmla="*/ 5003784 w 8115305"/>
              <a:gd name="connsiteY4188" fmla="*/ 104420 h 3192694"/>
              <a:gd name="connsiteX4189" fmla="*/ 4973363 w 8115305"/>
              <a:gd name="connsiteY4189" fmla="*/ 99894 h 3192694"/>
              <a:gd name="connsiteX4190" fmla="*/ 4993102 w 8115305"/>
              <a:gd name="connsiteY4190" fmla="*/ 95909 h 3192694"/>
              <a:gd name="connsiteX4191" fmla="*/ 3799620 w 8115305"/>
              <a:gd name="connsiteY4191" fmla="*/ 94821 h 3192694"/>
              <a:gd name="connsiteX4192" fmla="*/ 3832214 w 8115305"/>
              <a:gd name="connsiteY4192" fmla="*/ 100435 h 3192694"/>
              <a:gd name="connsiteX4193" fmla="*/ 3797265 w 8115305"/>
              <a:gd name="connsiteY4193" fmla="*/ 106771 h 3192694"/>
              <a:gd name="connsiteX4194" fmla="*/ 3764670 w 8115305"/>
              <a:gd name="connsiteY4194" fmla="*/ 100796 h 3192694"/>
              <a:gd name="connsiteX4195" fmla="*/ 3799620 w 8115305"/>
              <a:gd name="connsiteY4195" fmla="*/ 94821 h 3192694"/>
              <a:gd name="connsiteX4196" fmla="*/ 4883006 w 8115305"/>
              <a:gd name="connsiteY4196" fmla="*/ 93555 h 3192694"/>
              <a:gd name="connsiteX4197" fmla="*/ 4913790 w 8115305"/>
              <a:gd name="connsiteY4197" fmla="*/ 98081 h 3192694"/>
              <a:gd name="connsiteX4198" fmla="*/ 4892604 w 8115305"/>
              <a:gd name="connsiteY4198" fmla="*/ 102790 h 3192694"/>
              <a:gd name="connsiteX4199" fmla="*/ 4860371 w 8115305"/>
              <a:gd name="connsiteY4199" fmla="*/ 97901 h 3192694"/>
              <a:gd name="connsiteX4200" fmla="*/ 4883006 w 8115305"/>
              <a:gd name="connsiteY4200" fmla="*/ 93555 h 3192694"/>
              <a:gd name="connsiteX4201" fmla="*/ 3696587 w 8115305"/>
              <a:gd name="connsiteY4201" fmla="*/ 93192 h 3192694"/>
              <a:gd name="connsiteX4202" fmla="*/ 3723928 w 8115305"/>
              <a:gd name="connsiteY4202" fmla="*/ 99168 h 3192694"/>
              <a:gd name="connsiteX4203" fmla="*/ 3687713 w 8115305"/>
              <a:gd name="connsiteY4203" fmla="*/ 104420 h 3192694"/>
              <a:gd name="connsiteX4204" fmla="*/ 3660371 w 8115305"/>
              <a:gd name="connsiteY4204" fmla="*/ 98443 h 3192694"/>
              <a:gd name="connsiteX4205" fmla="*/ 3696587 w 8115305"/>
              <a:gd name="connsiteY4205" fmla="*/ 93192 h 3192694"/>
              <a:gd name="connsiteX4206" fmla="*/ 3589207 w 8115305"/>
              <a:gd name="connsiteY4206" fmla="*/ 92107 h 3192694"/>
              <a:gd name="connsiteX4207" fmla="*/ 3616189 w 8115305"/>
              <a:gd name="connsiteY4207" fmla="*/ 97357 h 3192694"/>
              <a:gd name="connsiteX4208" fmla="*/ 3581422 w 8115305"/>
              <a:gd name="connsiteY4208" fmla="*/ 102789 h 3192694"/>
              <a:gd name="connsiteX4209" fmla="*/ 3554440 w 8115305"/>
              <a:gd name="connsiteY4209" fmla="*/ 97538 h 3192694"/>
              <a:gd name="connsiteX4210" fmla="*/ 3589207 w 8115305"/>
              <a:gd name="connsiteY4210" fmla="*/ 92107 h 3192694"/>
              <a:gd name="connsiteX4211" fmla="*/ 4772913 w 8115305"/>
              <a:gd name="connsiteY4211" fmla="*/ 91924 h 3192694"/>
              <a:gd name="connsiteX4212" fmla="*/ 4805868 w 8115305"/>
              <a:gd name="connsiteY4212" fmla="*/ 96813 h 3192694"/>
              <a:gd name="connsiteX4213" fmla="*/ 4783234 w 8115305"/>
              <a:gd name="connsiteY4213" fmla="*/ 101520 h 3192694"/>
              <a:gd name="connsiteX4214" fmla="*/ 4751003 w 8115305"/>
              <a:gd name="connsiteY4214" fmla="*/ 96450 h 3192694"/>
              <a:gd name="connsiteX4215" fmla="*/ 4772913 w 8115305"/>
              <a:gd name="connsiteY4215" fmla="*/ 91924 h 3192694"/>
              <a:gd name="connsiteX4216" fmla="*/ 3482009 w 8115305"/>
              <a:gd name="connsiteY4216" fmla="*/ 90295 h 3192694"/>
              <a:gd name="connsiteX4217" fmla="*/ 3505912 w 8115305"/>
              <a:gd name="connsiteY4217" fmla="*/ 95546 h 3192694"/>
              <a:gd name="connsiteX4218" fmla="*/ 3469696 w 8115305"/>
              <a:gd name="connsiteY4218" fmla="*/ 100617 h 3192694"/>
              <a:gd name="connsiteX4219" fmla="*/ 3445794 w 8115305"/>
              <a:gd name="connsiteY4219" fmla="*/ 95365 h 3192694"/>
              <a:gd name="connsiteX4220" fmla="*/ 3482009 w 8115305"/>
              <a:gd name="connsiteY4220" fmla="*/ 90295 h 3192694"/>
              <a:gd name="connsiteX4221" fmla="*/ 4665170 w 8115305"/>
              <a:gd name="connsiteY4221" fmla="*/ 89753 h 3192694"/>
              <a:gd name="connsiteX4222" fmla="*/ 4698669 w 8115305"/>
              <a:gd name="connsiteY4222" fmla="*/ 94823 h 3192694"/>
              <a:gd name="connsiteX4223" fmla="*/ 4674043 w 8115305"/>
              <a:gd name="connsiteY4223" fmla="*/ 99893 h 3192694"/>
              <a:gd name="connsiteX4224" fmla="*/ 4640363 w 8115305"/>
              <a:gd name="connsiteY4224" fmla="*/ 94641 h 3192694"/>
              <a:gd name="connsiteX4225" fmla="*/ 4665170 w 8115305"/>
              <a:gd name="connsiteY4225" fmla="*/ 89753 h 3192694"/>
              <a:gd name="connsiteX4226" fmla="*/ 3375717 w 8115305"/>
              <a:gd name="connsiteY4226" fmla="*/ 89388 h 3192694"/>
              <a:gd name="connsiteX4227" fmla="*/ 3397808 w 8115305"/>
              <a:gd name="connsiteY4227" fmla="*/ 94277 h 3192694"/>
              <a:gd name="connsiteX4228" fmla="*/ 3364671 w 8115305"/>
              <a:gd name="connsiteY4228" fmla="*/ 98804 h 3192694"/>
              <a:gd name="connsiteX4229" fmla="*/ 3343484 w 8115305"/>
              <a:gd name="connsiteY4229" fmla="*/ 94097 h 3192694"/>
              <a:gd name="connsiteX4230" fmla="*/ 3375717 w 8115305"/>
              <a:gd name="connsiteY4230" fmla="*/ 89388 h 3192694"/>
              <a:gd name="connsiteX4231" fmla="*/ 4555981 w 8115305"/>
              <a:gd name="connsiteY4231" fmla="*/ 88121 h 3192694"/>
              <a:gd name="connsiteX4232" fmla="*/ 4591291 w 8115305"/>
              <a:gd name="connsiteY4232" fmla="*/ 93372 h 3192694"/>
              <a:gd name="connsiteX4233" fmla="*/ 4565941 w 8115305"/>
              <a:gd name="connsiteY4233" fmla="*/ 98623 h 3192694"/>
              <a:gd name="connsiteX4234" fmla="*/ 4531354 w 8115305"/>
              <a:gd name="connsiteY4234" fmla="*/ 93372 h 3192694"/>
              <a:gd name="connsiteX4235" fmla="*/ 4555981 w 8115305"/>
              <a:gd name="connsiteY4235" fmla="*/ 88121 h 3192694"/>
              <a:gd name="connsiteX4236" fmla="*/ 3274494 w 8115305"/>
              <a:gd name="connsiteY4236" fmla="*/ 87578 h 3192694"/>
              <a:gd name="connsiteX4237" fmla="*/ 3291334 w 8115305"/>
              <a:gd name="connsiteY4237" fmla="*/ 92648 h 3192694"/>
              <a:gd name="connsiteX4238" fmla="*/ 3258377 w 8115305"/>
              <a:gd name="connsiteY4238" fmla="*/ 96633 h 3192694"/>
              <a:gd name="connsiteX4239" fmla="*/ 3241718 w 8115305"/>
              <a:gd name="connsiteY4239" fmla="*/ 91382 h 3192694"/>
              <a:gd name="connsiteX4240" fmla="*/ 3274494 w 8115305"/>
              <a:gd name="connsiteY4240" fmla="*/ 87578 h 3192694"/>
              <a:gd name="connsiteX4241" fmla="*/ 3168382 w 8115305"/>
              <a:gd name="connsiteY4241" fmla="*/ 86674 h 3192694"/>
              <a:gd name="connsiteX4242" fmla="*/ 3184860 w 8115305"/>
              <a:gd name="connsiteY4242" fmla="*/ 90839 h 3192694"/>
              <a:gd name="connsiteX4243" fmla="*/ 3156431 w 8115305"/>
              <a:gd name="connsiteY4243" fmla="*/ 94641 h 3192694"/>
              <a:gd name="connsiteX4244" fmla="*/ 3138324 w 8115305"/>
              <a:gd name="connsiteY4244" fmla="*/ 90476 h 3192694"/>
              <a:gd name="connsiteX4245" fmla="*/ 3168382 w 8115305"/>
              <a:gd name="connsiteY4245" fmla="*/ 86674 h 3192694"/>
              <a:gd name="connsiteX4246" fmla="*/ 4446972 w 8115305"/>
              <a:gd name="connsiteY4246" fmla="*/ 85766 h 3192694"/>
              <a:gd name="connsiteX4247" fmla="*/ 4480832 w 8115305"/>
              <a:gd name="connsiteY4247" fmla="*/ 90836 h 3192694"/>
              <a:gd name="connsiteX4248" fmla="*/ 4453491 w 8115305"/>
              <a:gd name="connsiteY4248" fmla="*/ 96813 h 3192694"/>
              <a:gd name="connsiteX4249" fmla="*/ 4419629 w 8115305"/>
              <a:gd name="connsiteY4249" fmla="*/ 90836 h 3192694"/>
              <a:gd name="connsiteX4250" fmla="*/ 4446972 w 8115305"/>
              <a:gd name="connsiteY4250" fmla="*/ 85766 h 3192694"/>
              <a:gd name="connsiteX4251" fmla="*/ 5412115 w 8115305"/>
              <a:gd name="connsiteY4251" fmla="*/ 85586 h 3192694"/>
              <a:gd name="connsiteX4252" fmla="*/ 5427867 w 8115305"/>
              <a:gd name="connsiteY4252" fmla="*/ 87579 h 3192694"/>
              <a:gd name="connsiteX4253" fmla="*/ 5419719 w 8115305"/>
              <a:gd name="connsiteY4253" fmla="*/ 89390 h 3192694"/>
              <a:gd name="connsiteX4254" fmla="*/ 5405233 w 8115305"/>
              <a:gd name="connsiteY4254" fmla="*/ 87579 h 3192694"/>
              <a:gd name="connsiteX4255" fmla="*/ 5412115 w 8115305"/>
              <a:gd name="connsiteY4255" fmla="*/ 85586 h 3192694"/>
              <a:gd name="connsiteX4256" fmla="*/ 3063176 w 8115305"/>
              <a:gd name="connsiteY4256" fmla="*/ 85044 h 3192694"/>
              <a:gd name="connsiteX4257" fmla="*/ 3081284 w 8115305"/>
              <a:gd name="connsiteY4257" fmla="*/ 88665 h 3192694"/>
              <a:gd name="connsiteX4258" fmla="*/ 3053397 w 8115305"/>
              <a:gd name="connsiteY4258" fmla="*/ 92468 h 3192694"/>
              <a:gd name="connsiteX4259" fmla="*/ 3037462 w 8115305"/>
              <a:gd name="connsiteY4259" fmla="*/ 88846 h 3192694"/>
              <a:gd name="connsiteX4260" fmla="*/ 3063176 w 8115305"/>
              <a:gd name="connsiteY4260" fmla="*/ 85044 h 3192694"/>
              <a:gd name="connsiteX4261" fmla="*/ 4342128 w 8115305"/>
              <a:gd name="connsiteY4261" fmla="*/ 84863 h 3192694"/>
              <a:gd name="connsiteX4262" fmla="*/ 4373997 w 8115305"/>
              <a:gd name="connsiteY4262" fmla="*/ 90838 h 3192694"/>
              <a:gd name="connsiteX4263" fmla="*/ 4345749 w 8115305"/>
              <a:gd name="connsiteY4263" fmla="*/ 95545 h 3192694"/>
              <a:gd name="connsiteX4264" fmla="*/ 4312612 w 8115305"/>
              <a:gd name="connsiteY4264" fmla="*/ 89933 h 3192694"/>
              <a:gd name="connsiteX4265" fmla="*/ 4342128 w 8115305"/>
              <a:gd name="connsiteY4265" fmla="*/ 84863 h 3192694"/>
              <a:gd name="connsiteX4266" fmla="*/ 2961592 w 8115305"/>
              <a:gd name="connsiteY4266" fmla="*/ 84319 h 3192694"/>
              <a:gd name="connsiteX4267" fmla="*/ 2973905 w 8115305"/>
              <a:gd name="connsiteY4267" fmla="*/ 87578 h 3192694"/>
              <a:gd name="connsiteX4268" fmla="*/ 2948916 w 8115305"/>
              <a:gd name="connsiteY4268" fmla="*/ 90838 h 3192694"/>
              <a:gd name="connsiteX4269" fmla="*/ 2936965 w 8115305"/>
              <a:gd name="connsiteY4269" fmla="*/ 87397 h 3192694"/>
              <a:gd name="connsiteX4270" fmla="*/ 2961592 w 8115305"/>
              <a:gd name="connsiteY4270" fmla="*/ 84319 h 3192694"/>
              <a:gd name="connsiteX4271" fmla="*/ 5300029 w 8115305"/>
              <a:gd name="connsiteY4271" fmla="*/ 83595 h 3192694"/>
              <a:gd name="connsiteX4272" fmla="*/ 5319222 w 8115305"/>
              <a:gd name="connsiteY4272" fmla="*/ 86132 h 3192694"/>
              <a:gd name="connsiteX4273" fmla="*/ 5309082 w 8115305"/>
              <a:gd name="connsiteY4273" fmla="*/ 88847 h 3192694"/>
              <a:gd name="connsiteX4274" fmla="*/ 5289889 w 8115305"/>
              <a:gd name="connsiteY4274" fmla="*/ 86312 h 3192694"/>
              <a:gd name="connsiteX4275" fmla="*/ 5300029 w 8115305"/>
              <a:gd name="connsiteY4275" fmla="*/ 83595 h 3192694"/>
              <a:gd name="connsiteX4276" fmla="*/ 4236016 w 8115305"/>
              <a:gd name="connsiteY4276" fmla="*/ 82871 h 3192694"/>
              <a:gd name="connsiteX4277" fmla="*/ 4267705 w 8115305"/>
              <a:gd name="connsiteY4277" fmla="*/ 88305 h 3192694"/>
              <a:gd name="connsiteX4278" fmla="*/ 4237827 w 8115305"/>
              <a:gd name="connsiteY4278" fmla="*/ 93555 h 3192694"/>
              <a:gd name="connsiteX4279" fmla="*/ 4206139 w 8115305"/>
              <a:gd name="connsiteY4279" fmla="*/ 87942 h 3192694"/>
              <a:gd name="connsiteX4280" fmla="*/ 4236016 w 8115305"/>
              <a:gd name="connsiteY4280" fmla="*/ 82871 h 3192694"/>
              <a:gd name="connsiteX4281" fmla="*/ 2854767 w 8115305"/>
              <a:gd name="connsiteY4281" fmla="*/ 82871 h 3192694"/>
              <a:gd name="connsiteX4282" fmla="*/ 2864364 w 8115305"/>
              <a:gd name="connsiteY4282" fmla="*/ 85769 h 3192694"/>
              <a:gd name="connsiteX4283" fmla="*/ 2845168 w 8115305"/>
              <a:gd name="connsiteY4283" fmla="*/ 88123 h 3192694"/>
              <a:gd name="connsiteX4284" fmla="*/ 2834486 w 8115305"/>
              <a:gd name="connsiteY4284" fmla="*/ 85586 h 3192694"/>
              <a:gd name="connsiteX4285" fmla="*/ 2854767 w 8115305"/>
              <a:gd name="connsiteY4285" fmla="*/ 82871 h 3192694"/>
              <a:gd name="connsiteX4286" fmla="*/ 2750641 w 8115305"/>
              <a:gd name="connsiteY4286" fmla="*/ 82328 h 3192694"/>
              <a:gd name="connsiteX4287" fmla="*/ 2758790 w 8115305"/>
              <a:gd name="connsiteY4287" fmla="*/ 84139 h 3192694"/>
              <a:gd name="connsiteX4288" fmla="*/ 2743216 w 8115305"/>
              <a:gd name="connsiteY4288" fmla="*/ 86312 h 3192694"/>
              <a:gd name="connsiteX4289" fmla="*/ 2735068 w 8115305"/>
              <a:gd name="connsiteY4289" fmla="*/ 84320 h 3192694"/>
              <a:gd name="connsiteX4290" fmla="*/ 2750641 w 8115305"/>
              <a:gd name="connsiteY4290" fmla="*/ 82328 h 3192694"/>
              <a:gd name="connsiteX4291" fmla="*/ 4129905 w 8115305"/>
              <a:gd name="connsiteY4291" fmla="*/ 81603 h 3192694"/>
              <a:gd name="connsiteX4292" fmla="*/ 4161775 w 8115305"/>
              <a:gd name="connsiteY4292" fmla="*/ 86674 h 3192694"/>
              <a:gd name="connsiteX4293" fmla="*/ 4132259 w 8115305"/>
              <a:gd name="connsiteY4293" fmla="*/ 92287 h 3192694"/>
              <a:gd name="connsiteX4294" fmla="*/ 4100389 w 8115305"/>
              <a:gd name="connsiteY4294" fmla="*/ 86854 h 3192694"/>
              <a:gd name="connsiteX4295" fmla="*/ 4129905 w 8115305"/>
              <a:gd name="connsiteY4295" fmla="*/ 81603 h 3192694"/>
              <a:gd name="connsiteX4296" fmla="*/ 5191925 w 8115305"/>
              <a:gd name="connsiteY4296" fmla="*/ 81242 h 3192694"/>
              <a:gd name="connsiteX4297" fmla="*/ 5213110 w 8115305"/>
              <a:gd name="connsiteY4297" fmla="*/ 84500 h 3192694"/>
              <a:gd name="connsiteX4298" fmla="*/ 5200436 w 8115305"/>
              <a:gd name="connsiteY4298" fmla="*/ 87217 h 3192694"/>
              <a:gd name="connsiteX4299" fmla="*/ 5178524 w 8115305"/>
              <a:gd name="connsiteY4299" fmla="*/ 84320 h 3192694"/>
              <a:gd name="connsiteX4300" fmla="*/ 5191925 w 8115305"/>
              <a:gd name="connsiteY4300" fmla="*/ 81242 h 3192694"/>
              <a:gd name="connsiteX4301" fmla="*/ 4026329 w 8115305"/>
              <a:gd name="connsiteY4301" fmla="*/ 80335 h 3192694"/>
              <a:gd name="connsiteX4302" fmla="*/ 4056207 w 8115305"/>
              <a:gd name="connsiteY4302" fmla="*/ 85406 h 3192694"/>
              <a:gd name="connsiteX4303" fmla="*/ 4025966 w 8115305"/>
              <a:gd name="connsiteY4303" fmla="*/ 90839 h 3192694"/>
              <a:gd name="connsiteX4304" fmla="*/ 3995184 w 8115305"/>
              <a:gd name="connsiteY4304" fmla="*/ 85586 h 3192694"/>
              <a:gd name="connsiteX4305" fmla="*/ 4026329 w 8115305"/>
              <a:gd name="connsiteY4305" fmla="*/ 80335 h 3192694"/>
              <a:gd name="connsiteX4306" fmla="*/ 5083458 w 8115305"/>
              <a:gd name="connsiteY4306" fmla="*/ 79793 h 3192694"/>
              <a:gd name="connsiteX4307" fmla="*/ 5107543 w 8115305"/>
              <a:gd name="connsiteY4307" fmla="*/ 82871 h 3192694"/>
              <a:gd name="connsiteX4308" fmla="*/ 5094867 w 8115305"/>
              <a:gd name="connsiteY4308" fmla="*/ 86311 h 3192694"/>
              <a:gd name="connsiteX4309" fmla="*/ 5070060 w 8115305"/>
              <a:gd name="connsiteY4309" fmla="*/ 83232 h 3192694"/>
              <a:gd name="connsiteX4310" fmla="*/ 5083458 w 8115305"/>
              <a:gd name="connsiteY4310" fmla="*/ 79793 h 3192694"/>
              <a:gd name="connsiteX4311" fmla="*/ 3922391 w 8115305"/>
              <a:gd name="connsiteY4311" fmla="*/ 78525 h 3192694"/>
              <a:gd name="connsiteX4312" fmla="*/ 3950820 w 8115305"/>
              <a:gd name="connsiteY4312" fmla="*/ 83958 h 3192694"/>
              <a:gd name="connsiteX4313" fmla="*/ 3919311 w 8115305"/>
              <a:gd name="connsiteY4313" fmla="*/ 88846 h 3192694"/>
              <a:gd name="connsiteX4314" fmla="*/ 3890702 w 8115305"/>
              <a:gd name="connsiteY4314" fmla="*/ 83595 h 3192694"/>
              <a:gd name="connsiteX4315" fmla="*/ 3922391 w 8115305"/>
              <a:gd name="connsiteY4315" fmla="*/ 78525 h 3192694"/>
              <a:gd name="connsiteX4316" fmla="*/ 4976082 w 8115305"/>
              <a:gd name="connsiteY4316" fmla="*/ 77438 h 3192694"/>
              <a:gd name="connsiteX4317" fmla="*/ 5002338 w 8115305"/>
              <a:gd name="connsiteY4317" fmla="*/ 81242 h 3192694"/>
              <a:gd name="connsiteX4318" fmla="*/ 4985135 w 8115305"/>
              <a:gd name="connsiteY4318" fmla="*/ 84681 h 3192694"/>
              <a:gd name="connsiteX4319" fmla="*/ 4959423 w 8115305"/>
              <a:gd name="connsiteY4319" fmla="*/ 80698 h 3192694"/>
              <a:gd name="connsiteX4320" fmla="*/ 4976082 w 8115305"/>
              <a:gd name="connsiteY4320" fmla="*/ 77438 h 3192694"/>
              <a:gd name="connsiteX4321" fmla="*/ 3814106 w 8115305"/>
              <a:gd name="connsiteY4321" fmla="*/ 76713 h 3192694"/>
              <a:gd name="connsiteX4322" fmla="*/ 3842535 w 8115305"/>
              <a:gd name="connsiteY4322" fmla="*/ 81603 h 3192694"/>
              <a:gd name="connsiteX4323" fmla="*/ 3811570 w 8115305"/>
              <a:gd name="connsiteY4323" fmla="*/ 86853 h 3192694"/>
              <a:gd name="connsiteX4324" fmla="*/ 3783142 w 8115305"/>
              <a:gd name="connsiteY4324" fmla="*/ 81783 h 3192694"/>
              <a:gd name="connsiteX4325" fmla="*/ 3814106 w 8115305"/>
              <a:gd name="connsiteY4325" fmla="*/ 76713 h 3192694"/>
              <a:gd name="connsiteX4326" fmla="*/ 4869424 w 8115305"/>
              <a:gd name="connsiteY4326" fmla="*/ 75989 h 3192694"/>
              <a:gd name="connsiteX4327" fmla="*/ 4897130 w 8115305"/>
              <a:gd name="connsiteY4327" fmla="*/ 79610 h 3192694"/>
              <a:gd name="connsiteX4328" fmla="*/ 4879022 w 8115305"/>
              <a:gd name="connsiteY4328" fmla="*/ 83595 h 3192694"/>
              <a:gd name="connsiteX4329" fmla="*/ 4851860 w 8115305"/>
              <a:gd name="connsiteY4329" fmla="*/ 79793 h 3192694"/>
              <a:gd name="connsiteX4330" fmla="*/ 4869424 w 8115305"/>
              <a:gd name="connsiteY4330" fmla="*/ 75989 h 3192694"/>
              <a:gd name="connsiteX4331" fmla="*/ 3712159 w 8115305"/>
              <a:gd name="connsiteY4331" fmla="*/ 75448 h 3192694"/>
              <a:gd name="connsiteX4332" fmla="*/ 3737872 w 8115305"/>
              <a:gd name="connsiteY4332" fmla="*/ 80518 h 3192694"/>
              <a:gd name="connsiteX4333" fmla="*/ 3704010 w 8115305"/>
              <a:gd name="connsiteY4333" fmla="*/ 85405 h 3192694"/>
              <a:gd name="connsiteX4334" fmla="*/ 3679383 w 8115305"/>
              <a:gd name="connsiteY4334" fmla="*/ 80155 h 3192694"/>
              <a:gd name="connsiteX4335" fmla="*/ 3712159 w 8115305"/>
              <a:gd name="connsiteY4335" fmla="*/ 75448 h 3192694"/>
              <a:gd name="connsiteX4336" fmla="*/ 3608221 w 8115305"/>
              <a:gd name="connsiteY4336" fmla="*/ 74540 h 3192694"/>
              <a:gd name="connsiteX4337" fmla="*/ 3632485 w 8115305"/>
              <a:gd name="connsiteY4337" fmla="*/ 79067 h 3192694"/>
              <a:gd name="connsiteX4338" fmla="*/ 3601522 w 8115305"/>
              <a:gd name="connsiteY4338" fmla="*/ 83776 h 3192694"/>
              <a:gd name="connsiteX4339" fmla="*/ 3578525 w 8115305"/>
              <a:gd name="connsiteY4339" fmla="*/ 79067 h 3192694"/>
              <a:gd name="connsiteX4340" fmla="*/ 3608221 w 8115305"/>
              <a:gd name="connsiteY4340" fmla="*/ 74540 h 3192694"/>
              <a:gd name="connsiteX4341" fmla="*/ 4760054 w 8115305"/>
              <a:gd name="connsiteY4341" fmla="*/ 74360 h 3192694"/>
              <a:gd name="connsiteX4342" fmla="*/ 4790475 w 8115305"/>
              <a:gd name="connsiteY4342" fmla="*/ 78524 h 3192694"/>
              <a:gd name="connsiteX4343" fmla="*/ 4770738 w 8115305"/>
              <a:gd name="connsiteY4343" fmla="*/ 82689 h 3192694"/>
              <a:gd name="connsiteX4344" fmla="*/ 4741946 w 8115305"/>
              <a:gd name="connsiteY4344" fmla="*/ 78706 h 3192694"/>
              <a:gd name="connsiteX4345" fmla="*/ 4760054 w 8115305"/>
              <a:gd name="connsiteY4345" fmla="*/ 74360 h 3192694"/>
              <a:gd name="connsiteX4346" fmla="*/ 3403965 w 8115305"/>
              <a:gd name="connsiteY4346" fmla="*/ 72730 h 3192694"/>
              <a:gd name="connsiteX4347" fmla="*/ 3424970 w 8115305"/>
              <a:gd name="connsiteY4347" fmla="*/ 75808 h 3192694"/>
              <a:gd name="connsiteX4348" fmla="*/ 3396542 w 8115305"/>
              <a:gd name="connsiteY4348" fmla="*/ 80154 h 3192694"/>
              <a:gd name="connsiteX4349" fmla="*/ 3375537 w 8115305"/>
              <a:gd name="connsiteY4349" fmla="*/ 75989 h 3192694"/>
              <a:gd name="connsiteX4350" fmla="*/ 3403965 w 8115305"/>
              <a:gd name="connsiteY4350" fmla="*/ 72730 h 3192694"/>
              <a:gd name="connsiteX4351" fmla="*/ 3507180 w 8115305"/>
              <a:gd name="connsiteY4351" fmla="*/ 72729 h 3192694"/>
              <a:gd name="connsiteX4352" fmla="*/ 3528548 w 8115305"/>
              <a:gd name="connsiteY4352" fmla="*/ 77075 h 3192694"/>
              <a:gd name="connsiteX4353" fmla="*/ 3498488 w 8115305"/>
              <a:gd name="connsiteY4353" fmla="*/ 81421 h 3192694"/>
              <a:gd name="connsiteX4354" fmla="*/ 3477121 w 8115305"/>
              <a:gd name="connsiteY4354" fmla="*/ 76894 h 3192694"/>
              <a:gd name="connsiteX4355" fmla="*/ 3507180 w 8115305"/>
              <a:gd name="connsiteY4355" fmla="*/ 72729 h 3192694"/>
              <a:gd name="connsiteX4356" fmla="*/ 4657203 w 8115305"/>
              <a:gd name="connsiteY4356" fmla="*/ 72368 h 3192694"/>
              <a:gd name="connsiteX4357" fmla="*/ 4686175 w 8115305"/>
              <a:gd name="connsiteY4357" fmla="*/ 76894 h 3192694"/>
              <a:gd name="connsiteX4358" fmla="*/ 4663722 w 8115305"/>
              <a:gd name="connsiteY4358" fmla="*/ 80879 h 3192694"/>
              <a:gd name="connsiteX4359" fmla="*/ 4634749 w 8115305"/>
              <a:gd name="connsiteY4359" fmla="*/ 76352 h 3192694"/>
              <a:gd name="connsiteX4360" fmla="*/ 4657203 w 8115305"/>
              <a:gd name="connsiteY4360" fmla="*/ 72368 h 3192694"/>
              <a:gd name="connsiteX4361" fmla="*/ 4550910 w 8115305"/>
              <a:gd name="connsiteY4361" fmla="*/ 70921 h 3192694"/>
              <a:gd name="connsiteX4362" fmla="*/ 4580969 w 8115305"/>
              <a:gd name="connsiteY4362" fmla="*/ 75448 h 3192694"/>
              <a:gd name="connsiteX4363" fmla="*/ 4558697 w 8115305"/>
              <a:gd name="connsiteY4363" fmla="*/ 79794 h 3192694"/>
              <a:gd name="connsiteX4364" fmla="*/ 4528639 w 8115305"/>
              <a:gd name="connsiteY4364" fmla="*/ 75267 h 3192694"/>
              <a:gd name="connsiteX4365" fmla="*/ 4550910 w 8115305"/>
              <a:gd name="connsiteY4365" fmla="*/ 70921 h 3192694"/>
              <a:gd name="connsiteX4366" fmla="*/ 3303647 w 8115305"/>
              <a:gd name="connsiteY4366" fmla="*/ 70375 h 3192694"/>
              <a:gd name="connsiteX4367" fmla="*/ 3321031 w 8115305"/>
              <a:gd name="connsiteY4367" fmla="*/ 73996 h 3192694"/>
              <a:gd name="connsiteX4368" fmla="*/ 3294956 w 8115305"/>
              <a:gd name="connsiteY4368" fmla="*/ 77798 h 3192694"/>
              <a:gd name="connsiteX4369" fmla="*/ 3276848 w 8115305"/>
              <a:gd name="connsiteY4369" fmla="*/ 73996 h 3192694"/>
              <a:gd name="connsiteX4370" fmla="*/ 3303647 w 8115305"/>
              <a:gd name="connsiteY4370" fmla="*/ 70375 h 3192694"/>
              <a:gd name="connsiteX4371" fmla="*/ 3199166 w 8115305"/>
              <a:gd name="connsiteY4371" fmla="*/ 69290 h 3192694"/>
              <a:gd name="connsiteX4372" fmla="*/ 3213833 w 8115305"/>
              <a:gd name="connsiteY4372" fmla="*/ 72731 h 3192694"/>
              <a:gd name="connsiteX4373" fmla="*/ 3187577 w 8115305"/>
              <a:gd name="connsiteY4373" fmla="*/ 76172 h 3192694"/>
              <a:gd name="connsiteX4374" fmla="*/ 3172910 w 8115305"/>
              <a:gd name="connsiteY4374" fmla="*/ 72551 h 3192694"/>
              <a:gd name="connsiteX4375" fmla="*/ 3199166 w 8115305"/>
              <a:gd name="connsiteY4375" fmla="*/ 69290 h 3192694"/>
              <a:gd name="connsiteX4376" fmla="*/ 4447514 w 8115305"/>
              <a:gd name="connsiteY4376" fmla="*/ 69109 h 3192694"/>
              <a:gd name="connsiteX4377" fmla="*/ 4476306 w 8115305"/>
              <a:gd name="connsiteY4377" fmla="*/ 73635 h 3192694"/>
              <a:gd name="connsiteX4378" fmla="*/ 4453491 w 8115305"/>
              <a:gd name="connsiteY4378" fmla="*/ 77981 h 3192694"/>
              <a:gd name="connsiteX4379" fmla="*/ 4423612 w 8115305"/>
              <a:gd name="connsiteY4379" fmla="*/ 72730 h 3192694"/>
              <a:gd name="connsiteX4380" fmla="*/ 4447514 w 8115305"/>
              <a:gd name="connsiteY4380" fmla="*/ 69109 h 3192694"/>
              <a:gd name="connsiteX4381" fmla="*/ 3098307 w 8115305"/>
              <a:gd name="connsiteY4381" fmla="*/ 68024 h 3192694"/>
              <a:gd name="connsiteX4382" fmla="*/ 3110981 w 8115305"/>
              <a:gd name="connsiteY4382" fmla="*/ 70921 h 3192694"/>
              <a:gd name="connsiteX4383" fmla="*/ 3087803 w 8115305"/>
              <a:gd name="connsiteY4383" fmla="*/ 73999 h 3192694"/>
              <a:gd name="connsiteX4384" fmla="*/ 3074946 w 8115305"/>
              <a:gd name="connsiteY4384" fmla="*/ 70921 h 3192694"/>
              <a:gd name="connsiteX4385" fmla="*/ 3098307 w 8115305"/>
              <a:gd name="connsiteY4385" fmla="*/ 68024 h 3192694"/>
              <a:gd name="connsiteX4386" fmla="*/ 4344482 w 8115305"/>
              <a:gd name="connsiteY4386" fmla="*/ 67660 h 3192694"/>
              <a:gd name="connsiteX4387" fmla="*/ 4373093 w 8115305"/>
              <a:gd name="connsiteY4387" fmla="*/ 72550 h 3192694"/>
              <a:gd name="connsiteX4388" fmla="*/ 4347742 w 8115305"/>
              <a:gd name="connsiteY4388" fmla="*/ 76715 h 3192694"/>
              <a:gd name="connsiteX4389" fmla="*/ 4319131 w 8115305"/>
              <a:gd name="connsiteY4389" fmla="*/ 72006 h 3192694"/>
              <a:gd name="connsiteX4390" fmla="*/ 4344482 w 8115305"/>
              <a:gd name="connsiteY4390" fmla="*/ 67660 h 3192694"/>
              <a:gd name="connsiteX4391" fmla="*/ 2997807 w 8115305"/>
              <a:gd name="connsiteY4391" fmla="*/ 67298 h 3192694"/>
              <a:gd name="connsiteX4392" fmla="*/ 3007043 w 8115305"/>
              <a:gd name="connsiteY4392" fmla="*/ 69834 h 3192694"/>
              <a:gd name="connsiteX4393" fmla="*/ 2987487 w 8115305"/>
              <a:gd name="connsiteY4393" fmla="*/ 72187 h 3192694"/>
              <a:gd name="connsiteX4394" fmla="*/ 2977527 w 8115305"/>
              <a:gd name="connsiteY4394" fmla="*/ 69651 h 3192694"/>
              <a:gd name="connsiteX4395" fmla="*/ 2997807 w 8115305"/>
              <a:gd name="connsiteY4395" fmla="*/ 67298 h 3192694"/>
              <a:gd name="connsiteX4396" fmla="*/ 5277033 w 8115305"/>
              <a:gd name="connsiteY4396" fmla="*/ 66754 h 3192694"/>
              <a:gd name="connsiteX4397" fmla="*/ 5292063 w 8115305"/>
              <a:gd name="connsiteY4397" fmla="*/ 68566 h 3192694"/>
              <a:gd name="connsiteX4398" fmla="*/ 5283913 w 8115305"/>
              <a:gd name="connsiteY4398" fmla="*/ 70376 h 3192694"/>
              <a:gd name="connsiteX4399" fmla="*/ 5270151 w 8115305"/>
              <a:gd name="connsiteY4399" fmla="*/ 68566 h 3192694"/>
              <a:gd name="connsiteX4400" fmla="*/ 5277033 w 8115305"/>
              <a:gd name="connsiteY4400" fmla="*/ 66754 h 3192694"/>
              <a:gd name="connsiteX4401" fmla="*/ 2896765 w 8115305"/>
              <a:gd name="connsiteY4401" fmla="*/ 65849 h 3192694"/>
              <a:gd name="connsiteX4402" fmla="*/ 2904371 w 8115305"/>
              <a:gd name="connsiteY4402" fmla="*/ 68022 h 3192694"/>
              <a:gd name="connsiteX4403" fmla="*/ 2889161 w 8115305"/>
              <a:gd name="connsiteY4403" fmla="*/ 69834 h 3192694"/>
              <a:gd name="connsiteX4404" fmla="*/ 2881374 w 8115305"/>
              <a:gd name="connsiteY4404" fmla="*/ 67660 h 3192694"/>
              <a:gd name="connsiteX4405" fmla="*/ 2896765 w 8115305"/>
              <a:gd name="connsiteY4405" fmla="*/ 65849 h 3192694"/>
              <a:gd name="connsiteX4406" fmla="*/ 4241450 w 8115305"/>
              <a:gd name="connsiteY4406" fmla="*/ 65848 h 3192694"/>
              <a:gd name="connsiteX4407" fmla="*/ 4269335 w 8115305"/>
              <a:gd name="connsiteY4407" fmla="*/ 70557 h 3192694"/>
              <a:gd name="connsiteX4408" fmla="*/ 4243622 w 8115305"/>
              <a:gd name="connsiteY4408" fmla="*/ 74903 h 3192694"/>
              <a:gd name="connsiteX4409" fmla="*/ 4215555 w 8115305"/>
              <a:gd name="connsiteY4409" fmla="*/ 70194 h 3192694"/>
              <a:gd name="connsiteX4410" fmla="*/ 4241450 w 8115305"/>
              <a:gd name="connsiteY4410" fmla="*/ 65848 h 3192694"/>
              <a:gd name="connsiteX4411" fmla="*/ 4136061 w 8115305"/>
              <a:gd name="connsiteY4411" fmla="*/ 64583 h 3192694"/>
              <a:gd name="connsiteX4412" fmla="*/ 4163584 w 8115305"/>
              <a:gd name="connsiteY4412" fmla="*/ 69109 h 3192694"/>
              <a:gd name="connsiteX4413" fmla="*/ 4136785 w 8115305"/>
              <a:gd name="connsiteY4413" fmla="*/ 73816 h 3192694"/>
              <a:gd name="connsiteX4414" fmla="*/ 4108176 w 8115305"/>
              <a:gd name="connsiteY4414" fmla="*/ 69109 h 3192694"/>
              <a:gd name="connsiteX4415" fmla="*/ 4136061 w 8115305"/>
              <a:gd name="connsiteY4415" fmla="*/ 64583 h 3192694"/>
              <a:gd name="connsiteX4416" fmla="*/ 5170737 w 8115305"/>
              <a:gd name="connsiteY4416" fmla="*/ 64403 h 3192694"/>
              <a:gd name="connsiteX4417" fmla="*/ 5188845 w 8115305"/>
              <a:gd name="connsiteY4417" fmla="*/ 66393 h 3192694"/>
              <a:gd name="connsiteX4418" fmla="*/ 5181421 w 8115305"/>
              <a:gd name="connsiteY4418" fmla="*/ 68929 h 3192694"/>
              <a:gd name="connsiteX4419" fmla="*/ 5161865 w 8115305"/>
              <a:gd name="connsiteY4419" fmla="*/ 66756 h 3192694"/>
              <a:gd name="connsiteX4420" fmla="*/ 5170737 w 8115305"/>
              <a:gd name="connsiteY4420" fmla="*/ 64403 h 3192694"/>
              <a:gd name="connsiteX4421" fmla="*/ 5063541 w 8115305"/>
              <a:gd name="connsiteY4421" fmla="*/ 62952 h 3192694"/>
              <a:gd name="connsiteX4422" fmla="*/ 5082373 w 8115305"/>
              <a:gd name="connsiteY4422" fmla="*/ 65305 h 3192694"/>
              <a:gd name="connsiteX4423" fmla="*/ 5071328 w 8115305"/>
              <a:gd name="connsiteY4423" fmla="*/ 68021 h 3192694"/>
              <a:gd name="connsiteX4424" fmla="*/ 5052313 w 8115305"/>
              <a:gd name="connsiteY4424" fmla="*/ 65487 h 3192694"/>
              <a:gd name="connsiteX4425" fmla="*/ 5063541 w 8115305"/>
              <a:gd name="connsiteY4425" fmla="*/ 62952 h 3192694"/>
              <a:gd name="connsiteX4426" fmla="*/ 4035020 w 8115305"/>
              <a:gd name="connsiteY4426" fmla="*/ 62771 h 3192694"/>
              <a:gd name="connsiteX4427" fmla="*/ 4060008 w 8115305"/>
              <a:gd name="connsiteY4427" fmla="*/ 67478 h 3192694"/>
              <a:gd name="connsiteX4428" fmla="*/ 4031579 w 8115305"/>
              <a:gd name="connsiteY4428" fmla="*/ 71826 h 3192694"/>
              <a:gd name="connsiteX4429" fmla="*/ 4006590 w 8115305"/>
              <a:gd name="connsiteY4429" fmla="*/ 67117 h 3192694"/>
              <a:gd name="connsiteX4430" fmla="*/ 4035020 w 8115305"/>
              <a:gd name="connsiteY4430" fmla="*/ 62771 h 3192694"/>
              <a:gd name="connsiteX4431" fmla="*/ 3932349 w 8115305"/>
              <a:gd name="connsiteY4431" fmla="*/ 61683 h 3192694"/>
              <a:gd name="connsiteX4432" fmla="*/ 3957519 w 8115305"/>
              <a:gd name="connsiteY4432" fmla="*/ 66029 h 3192694"/>
              <a:gd name="connsiteX4433" fmla="*/ 3930356 w 8115305"/>
              <a:gd name="connsiteY4433" fmla="*/ 70555 h 3192694"/>
              <a:gd name="connsiteX4434" fmla="*/ 3905186 w 8115305"/>
              <a:gd name="connsiteY4434" fmla="*/ 66029 h 3192694"/>
              <a:gd name="connsiteX4435" fmla="*/ 3932349 w 8115305"/>
              <a:gd name="connsiteY4435" fmla="*/ 61683 h 3192694"/>
              <a:gd name="connsiteX4436" fmla="*/ 4959241 w 8115305"/>
              <a:gd name="connsiteY4436" fmla="*/ 60598 h 3192694"/>
              <a:gd name="connsiteX4437" fmla="*/ 4980427 w 8115305"/>
              <a:gd name="connsiteY4437" fmla="*/ 63676 h 3192694"/>
              <a:gd name="connsiteX4438" fmla="*/ 4966484 w 8115305"/>
              <a:gd name="connsiteY4438" fmla="*/ 66574 h 3192694"/>
              <a:gd name="connsiteX4439" fmla="*/ 4945116 w 8115305"/>
              <a:gd name="connsiteY4439" fmla="*/ 63676 h 3192694"/>
              <a:gd name="connsiteX4440" fmla="*/ 4959241 w 8115305"/>
              <a:gd name="connsiteY4440" fmla="*/ 60598 h 3192694"/>
              <a:gd name="connsiteX4441" fmla="*/ 3832214 w 8115305"/>
              <a:gd name="connsiteY4441" fmla="*/ 60055 h 3192694"/>
              <a:gd name="connsiteX4442" fmla="*/ 3855572 w 8115305"/>
              <a:gd name="connsiteY4442" fmla="*/ 64220 h 3192694"/>
              <a:gd name="connsiteX4443" fmla="*/ 3827505 w 8115305"/>
              <a:gd name="connsiteY4443" fmla="*/ 68566 h 3192694"/>
              <a:gd name="connsiteX4444" fmla="*/ 3804327 w 8115305"/>
              <a:gd name="connsiteY4444" fmla="*/ 64220 h 3192694"/>
              <a:gd name="connsiteX4445" fmla="*/ 3832214 w 8115305"/>
              <a:gd name="connsiteY4445" fmla="*/ 60055 h 3192694"/>
              <a:gd name="connsiteX4446" fmla="*/ 4855662 w 8115305"/>
              <a:gd name="connsiteY4446" fmla="*/ 59332 h 3192694"/>
              <a:gd name="connsiteX4447" fmla="*/ 4878479 w 8115305"/>
              <a:gd name="connsiteY4447" fmla="*/ 62590 h 3192694"/>
              <a:gd name="connsiteX4448" fmla="*/ 4862544 w 8115305"/>
              <a:gd name="connsiteY4448" fmla="*/ 65668 h 3192694"/>
              <a:gd name="connsiteX4449" fmla="*/ 4840271 w 8115305"/>
              <a:gd name="connsiteY4449" fmla="*/ 62229 h 3192694"/>
              <a:gd name="connsiteX4450" fmla="*/ 4855662 w 8115305"/>
              <a:gd name="connsiteY4450" fmla="*/ 59332 h 3192694"/>
              <a:gd name="connsiteX4451" fmla="*/ 3729723 w 8115305"/>
              <a:gd name="connsiteY4451" fmla="*/ 58788 h 3192694"/>
              <a:gd name="connsiteX4452" fmla="*/ 3753988 w 8115305"/>
              <a:gd name="connsiteY4452" fmla="*/ 62952 h 3192694"/>
              <a:gd name="connsiteX4453" fmla="*/ 3726825 w 8115305"/>
              <a:gd name="connsiteY4453" fmla="*/ 67300 h 3192694"/>
              <a:gd name="connsiteX4454" fmla="*/ 3703647 w 8115305"/>
              <a:gd name="connsiteY4454" fmla="*/ 62952 h 3192694"/>
              <a:gd name="connsiteX4455" fmla="*/ 3729723 w 8115305"/>
              <a:gd name="connsiteY4455" fmla="*/ 58788 h 3192694"/>
              <a:gd name="connsiteX4456" fmla="*/ 3630494 w 8115305"/>
              <a:gd name="connsiteY4456" fmla="*/ 57340 h 3192694"/>
              <a:gd name="connsiteX4457" fmla="*/ 3652404 w 8115305"/>
              <a:gd name="connsiteY4457" fmla="*/ 61142 h 3192694"/>
              <a:gd name="connsiteX4458" fmla="*/ 3626148 w 8115305"/>
              <a:gd name="connsiteY4458" fmla="*/ 65308 h 3192694"/>
              <a:gd name="connsiteX4459" fmla="*/ 3604237 w 8115305"/>
              <a:gd name="connsiteY4459" fmla="*/ 61323 h 3192694"/>
              <a:gd name="connsiteX4460" fmla="*/ 3630494 w 8115305"/>
              <a:gd name="connsiteY4460" fmla="*/ 57340 h 3192694"/>
              <a:gd name="connsiteX4461" fmla="*/ 4752993 w 8115305"/>
              <a:gd name="connsiteY4461" fmla="*/ 57157 h 3192694"/>
              <a:gd name="connsiteX4462" fmla="*/ 4776895 w 8115305"/>
              <a:gd name="connsiteY4462" fmla="*/ 60598 h 3192694"/>
              <a:gd name="connsiteX4463" fmla="*/ 4760778 w 8115305"/>
              <a:gd name="connsiteY4463" fmla="*/ 64039 h 3192694"/>
              <a:gd name="connsiteX4464" fmla="*/ 4734885 w 8115305"/>
              <a:gd name="connsiteY4464" fmla="*/ 60598 h 3192694"/>
              <a:gd name="connsiteX4465" fmla="*/ 4752993 w 8115305"/>
              <a:gd name="connsiteY4465" fmla="*/ 57157 h 3192694"/>
              <a:gd name="connsiteX4466" fmla="*/ 3528545 w 8115305"/>
              <a:gd name="connsiteY4466" fmla="*/ 56433 h 3192694"/>
              <a:gd name="connsiteX4467" fmla="*/ 3546653 w 8115305"/>
              <a:gd name="connsiteY4467" fmla="*/ 59874 h 3192694"/>
              <a:gd name="connsiteX4468" fmla="*/ 3521302 w 8115305"/>
              <a:gd name="connsiteY4468" fmla="*/ 63677 h 3192694"/>
              <a:gd name="connsiteX4469" fmla="*/ 3503195 w 8115305"/>
              <a:gd name="connsiteY4469" fmla="*/ 60055 h 3192694"/>
              <a:gd name="connsiteX4470" fmla="*/ 3528545 w 8115305"/>
              <a:gd name="connsiteY4470" fmla="*/ 56433 h 3192694"/>
              <a:gd name="connsiteX4471" fmla="*/ 4651589 w 8115305"/>
              <a:gd name="connsiteY4471" fmla="*/ 55889 h 3192694"/>
              <a:gd name="connsiteX4472" fmla="*/ 4675130 w 8115305"/>
              <a:gd name="connsiteY4472" fmla="*/ 59511 h 3192694"/>
              <a:gd name="connsiteX4473" fmla="*/ 4656659 w 8115305"/>
              <a:gd name="connsiteY4473" fmla="*/ 62952 h 3192694"/>
              <a:gd name="connsiteX4474" fmla="*/ 4632033 w 8115305"/>
              <a:gd name="connsiteY4474" fmla="*/ 59330 h 3192694"/>
              <a:gd name="connsiteX4475" fmla="*/ 4651589 w 8115305"/>
              <a:gd name="connsiteY4475" fmla="*/ 55889 h 3192694"/>
              <a:gd name="connsiteX4476" fmla="*/ 3329539 w 8115305"/>
              <a:gd name="connsiteY4476" fmla="*/ 54623 h 3192694"/>
              <a:gd name="connsiteX4477" fmla="*/ 3344389 w 8115305"/>
              <a:gd name="connsiteY4477" fmla="*/ 57157 h 3192694"/>
              <a:gd name="connsiteX4478" fmla="*/ 3321030 w 8115305"/>
              <a:gd name="connsiteY4478" fmla="*/ 60235 h 3192694"/>
              <a:gd name="connsiteX4479" fmla="*/ 3307449 w 8115305"/>
              <a:gd name="connsiteY4479" fmla="*/ 56796 h 3192694"/>
              <a:gd name="connsiteX4480" fmla="*/ 3329539 w 8115305"/>
              <a:gd name="connsiteY4480" fmla="*/ 54623 h 3192694"/>
              <a:gd name="connsiteX4481" fmla="*/ 4547471 w 8115305"/>
              <a:gd name="connsiteY4481" fmla="*/ 54623 h 3192694"/>
              <a:gd name="connsiteX4482" fmla="*/ 4573183 w 8115305"/>
              <a:gd name="connsiteY4482" fmla="*/ 58244 h 3192694"/>
              <a:gd name="connsiteX4483" fmla="*/ 4555076 w 8115305"/>
              <a:gd name="connsiteY4483" fmla="*/ 61866 h 3192694"/>
              <a:gd name="connsiteX4484" fmla="*/ 4529181 w 8115305"/>
              <a:gd name="connsiteY4484" fmla="*/ 58244 h 3192694"/>
              <a:gd name="connsiteX4485" fmla="*/ 4547471 w 8115305"/>
              <a:gd name="connsiteY4485" fmla="*/ 54623 h 3192694"/>
              <a:gd name="connsiteX4486" fmla="*/ 3427687 w 8115305"/>
              <a:gd name="connsiteY4486" fmla="*/ 54623 h 3192694"/>
              <a:gd name="connsiteX4487" fmla="*/ 3445794 w 8115305"/>
              <a:gd name="connsiteY4487" fmla="*/ 58064 h 3192694"/>
              <a:gd name="connsiteX4488" fmla="*/ 3422617 w 8115305"/>
              <a:gd name="connsiteY4488" fmla="*/ 61686 h 3192694"/>
              <a:gd name="connsiteX4489" fmla="*/ 3404509 w 8115305"/>
              <a:gd name="connsiteY4489" fmla="*/ 58606 h 3192694"/>
              <a:gd name="connsiteX4490" fmla="*/ 3427687 w 8115305"/>
              <a:gd name="connsiteY4490" fmla="*/ 54623 h 3192694"/>
              <a:gd name="connsiteX4491" fmla="*/ 4443712 w 8115305"/>
              <a:gd name="connsiteY4491" fmla="*/ 52812 h 3192694"/>
              <a:gd name="connsiteX4492" fmla="*/ 4468699 w 8115305"/>
              <a:gd name="connsiteY4492" fmla="*/ 56433 h 3192694"/>
              <a:gd name="connsiteX4493" fmla="*/ 4449506 w 8115305"/>
              <a:gd name="connsiteY4493" fmla="*/ 60237 h 3192694"/>
              <a:gd name="connsiteX4494" fmla="*/ 4423431 w 8115305"/>
              <a:gd name="connsiteY4494" fmla="*/ 56433 h 3192694"/>
              <a:gd name="connsiteX4495" fmla="*/ 4443712 w 8115305"/>
              <a:gd name="connsiteY4495" fmla="*/ 52812 h 3192694"/>
              <a:gd name="connsiteX4496" fmla="*/ 3230852 w 8115305"/>
              <a:gd name="connsiteY4496" fmla="*/ 51906 h 3192694"/>
              <a:gd name="connsiteX4497" fmla="*/ 3244977 w 8115305"/>
              <a:gd name="connsiteY4497" fmla="*/ 54623 h 3192694"/>
              <a:gd name="connsiteX4498" fmla="*/ 3224153 w 8115305"/>
              <a:gd name="connsiteY4498" fmla="*/ 57521 h 3192694"/>
              <a:gd name="connsiteX4499" fmla="*/ 3210211 w 8115305"/>
              <a:gd name="connsiteY4499" fmla="*/ 54804 h 3192694"/>
              <a:gd name="connsiteX4500" fmla="*/ 3230852 w 8115305"/>
              <a:gd name="connsiteY4500" fmla="*/ 51906 h 3192694"/>
              <a:gd name="connsiteX4501" fmla="*/ 3132349 w 8115305"/>
              <a:gd name="connsiteY4501" fmla="*/ 51724 h 3192694"/>
              <a:gd name="connsiteX4502" fmla="*/ 3143756 w 8115305"/>
              <a:gd name="connsiteY4502" fmla="*/ 54080 h 3192694"/>
              <a:gd name="connsiteX4503" fmla="*/ 3124562 w 8115305"/>
              <a:gd name="connsiteY4503" fmla="*/ 56433 h 3192694"/>
              <a:gd name="connsiteX4504" fmla="*/ 3114241 w 8115305"/>
              <a:gd name="connsiteY4504" fmla="*/ 53897 h 3192694"/>
              <a:gd name="connsiteX4505" fmla="*/ 3132349 w 8115305"/>
              <a:gd name="connsiteY4505" fmla="*/ 51724 h 3192694"/>
              <a:gd name="connsiteX4506" fmla="*/ 3030582 w 8115305"/>
              <a:gd name="connsiteY4506" fmla="*/ 50821 h 3192694"/>
              <a:gd name="connsiteX4507" fmla="*/ 3038549 w 8115305"/>
              <a:gd name="connsiteY4507" fmla="*/ 52994 h 3192694"/>
              <a:gd name="connsiteX4508" fmla="*/ 3023882 w 8115305"/>
              <a:gd name="connsiteY4508" fmla="*/ 54623 h 3192694"/>
              <a:gd name="connsiteX4509" fmla="*/ 3015915 w 8115305"/>
              <a:gd name="connsiteY4509" fmla="*/ 52631 h 3192694"/>
              <a:gd name="connsiteX4510" fmla="*/ 3030582 w 8115305"/>
              <a:gd name="connsiteY4510" fmla="*/ 50821 h 3192694"/>
              <a:gd name="connsiteX4511" fmla="*/ 4342490 w 8115305"/>
              <a:gd name="connsiteY4511" fmla="*/ 50639 h 3192694"/>
              <a:gd name="connsiteX4512" fmla="*/ 4368565 w 8115305"/>
              <a:gd name="connsiteY4512" fmla="*/ 54621 h 3192694"/>
              <a:gd name="connsiteX4513" fmla="*/ 4347199 w 8115305"/>
              <a:gd name="connsiteY4513" fmla="*/ 58606 h 3192694"/>
              <a:gd name="connsiteX4514" fmla="*/ 4320941 w 8115305"/>
              <a:gd name="connsiteY4514" fmla="*/ 54621 h 3192694"/>
              <a:gd name="connsiteX4515" fmla="*/ 4342490 w 8115305"/>
              <a:gd name="connsiteY4515" fmla="*/ 50639 h 3192694"/>
              <a:gd name="connsiteX4516" fmla="*/ 4243261 w 8115305"/>
              <a:gd name="connsiteY4516" fmla="*/ 49553 h 3192694"/>
              <a:gd name="connsiteX4517" fmla="*/ 4268431 w 8115305"/>
              <a:gd name="connsiteY4517" fmla="*/ 53536 h 3192694"/>
              <a:gd name="connsiteX4518" fmla="*/ 4245977 w 8115305"/>
              <a:gd name="connsiteY4518" fmla="*/ 57520 h 3192694"/>
              <a:gd name="connsiteX4519" fmla="*/ 4220083 w 8115305"/>
              <a:gd name="connsiteY4519" fmla="*/ 53355 h 3192694"/>
              <a:gd name="connsiteX4520" fmla="*/ 4243261 w 8115305"/>
              <a:gd name="connsiteY4520" fmla="*/ 49553 h 3192694"/>
              <a:gd name="connsiteX4521" fmla="*/ 4143487 w 8115305"/>
              <a:gd name="connsiteY4521" fmla="*/ 48466 h 3192694"/>
              <a:gd name="connsiteX4522" fmla="*/ 4168113 w 8115305"/>
              <a:gd name="connsiteY4522" fmla="*/ 52268 h 3192694"/>
              <a:gd name="connsiteX4523" fmla="*/ 4145296 w 8115305"/>
              <a:gd name="connsiteY4523" fmla="*/ 56253 h 3192694"/>
              <a:gd name="connsiteX4524" fmla="*/ 4119945 w 8115305"/>
              <a:gd name="connsiteY4524" fmla="*/ 52450 h 3192694"/>
              <a:gd name="connsiteX4525" fmla="*/ 4143487 w 8115305"/>
              <a:gd name="connsiteY4525" fmla="*/ 48466 h 3192694"/>
              <a:gd name="connsiteX4526" fmla="*/ 5048512 w 8115305"/>
              <a:gd name="connsiteY4526" fmla="*/ 47017 h 3192694"/>
              <a:gd name="connsiteX4527" fmla="*/ 5062816 w 8115305"/>
              <a:gd name="connsiteY4527" fmla="*/ 49190 h 3192694"/>
              <a:gd name="connsiteX4528" fmla="*/ 5053219 w 8115305"/>
              <a:gd name="connsiteY4528" fmla="*/ 50820 h 3192694"/>
              <a:gd name="connsiteX4529" fmla="*/ 5039457 w 8115305"/>
              <a:gd name="connsiteY4529" fmla="*/ 48829 h 3192694"/>
              <a:gd name="connsiteX4530" fmla="*/ 5048512 w 8115305"/>
              <a:gd name="connsiteY4530" fmla="*/ 47017 h 3192694"/>
              <a:gd name="connsiteX4531" fmla="*/ 4044617 w 8115305"/>
              <a:gd name="connsiteY4531" fmla="*/ 46836 h 3192694"/>
              <a:gd name="connsiteX4532" fmla="*/ 4067795 w 8115305"/>
              <a:gd name="connsiteY4532" fmla="*/ 50638 h 3192694"/>
              <a:gd name="connsiteX4533" fmla="*/ 4043710 w 8115305"/>
              <a:gd name="connsiteY4533" fmla="*/ 54442 h 3192694"/>
              <a:gd name="connsiteX4534" fmla="*/ 4020533 w 8115305"/>
              <a:gd name="connsiteY4534" fmla="*/ 50457 h 3192694"/>
              <a:gd name="connsiteX4535" fmla="*/ 4044617 w 8115305"/>
              <a:gd name="connsiteY4535" fmla="*/ 46836 h 3192694"/>
              <a:gd name="connsiteX4536" fmla="*/ 3945026 w 8115305"/>
              <a:gd name="connsiteY4536" fmla="*/ 45749 h 3192694"/>
              <a:gd name="connsiteX4537" fmla="*/ 3968022 w 8115305"/>
              <a:gd name="connsiteY4537" fmla="*/ 49551 h 3192694"/>
              <a:gd name="connsiteX4538" fmla="*/ 3943577 w 8115305"/>
              <a:gd name="connsiteY4538" fmla="*/ 53172 h 3192694"/>
              <a:gd name="connsiteX4539" fmla="*/ 3921304 w 8115305"/>
              <a:gd name="connsiteY4539" fmla="*/ 49189 h 3192694"/>
              <a:gd name="connsiteX4540" fmla="*/ 3945026 w 8115305"/>
              <a:gd name="connsiteY4540" fmla="*/ 45749 h 3192694"/>
              <a:gd name="connsiteX4541" fmla="*/ 4946384 w 8115305"/>
              <a:gd name="connsiteY4541" fmla="*/ 44844 h 3192694"/>
              <a:gd name="connsiteX4542" fmla="*/ 4963406 w 8115305"/>
              <a:gd name="connsiteY4542" fmla="*/ 47380 h 3192694"/>
              <a:gd name="connsiteX4543" fmla="*/ 4951635 w 8115305"/>
              <a:gd name="connsiteY4543" fmla="*/ 49372 h 3192694"/>
              <a:gd name="connsiteX4544" fmla="*/ 4935158 w 8115305"/>
              <a:gd name="connsiteY4544" fmla="*/ 47199 h 3192694"/>
              <a:gd name="connsiteX4545" fmla="*/ 4946384 w 8115305"/>
              <a:gd name="connsiteY4545" fmla="*/ 44844 h 3192694"/>
              <a:gd name="connsiteX4546" fmla="*/ 3843440 w 8115305"/>
              <a:gd name="connsiteY4546" fmla="*/ 44121 h 3192694"/>
              <a:gd name="connsiteX4547" fmla="*/ 3864264 w 8115305"/>
              <a:gd name="connsiteY4547" fmla="*/ 47743 h 3192694"/>
              <a:gd name="connsiteX4548" fmla="*/ 3840723 w 8115305"/>
              <a:gd name="connsiteY4548" fmla="*/ 51364 h 3192694"/>
              <a:gd name="connsiteX4549" fmla="*/ 3820805 w 8115305"/>
              <a:gd name="connsiteY4549" fmla="*/ 47560 h 3192694"/>
              <a:gd name="connsiteX4550" fmla="*/ 3843440 w 8115305"/>
              <a:gd name="connsiteY4550" fmla="*/ 44121 h 3192694"/>
              <a:gd name="connsiteX4551" fmla="*/ 4844800 w 8115305"/>
              <a:gd name="connsiteY4551" fmla="*/ 43576 h 3192694"/>
              <a:gd name="connsiteX4552" fmla="*/ 4862907 w 8115305"/>
              <a:gd name="connsiteY4552" fmla="*/ 46112 h 3192694"/>
              <a:gd name="connsiteX4553" fmla="*/ 4850231 w 8115305"/>
              <a:gd name="connsiteY4553" fmla="*/ 48465 h 3192694"/>
              <a:gd name="connsiteX4554" fmla="*/ 4832123 w 8115305"/>
              <a:gd name="connsiteY4554" fmla="*/ 46112 h 3192694"/>
              <a:gd name="connsiteX4555" fmla="*/ 4844800 w 8115305"/>
              <a:gd name="connsiteY4555" fmla="*/ 43576 h 3192694"/>
              <a:gd name="connsiteX4556" fmla="*/ 3745658 w 8115305"/>
              <a:gd name="connsiteY4556" fmla="*/ 43215 h 3192694"/>
              <a:gd name="connsiteX4557" fmla="*/ 3765214 w 8115305"/>
              <a:gd name="connsiteY4557" fmla="*/ 46476 h 3192694"/>
              <a:gd name="connsiteX4558" fmla="*/ 3741312 w 8115305"/>
              <a:gd name="connsiteY4558" fmla="*/ 50097 h 3192694"/>
              <a:gd name="connsiteX4559" fmla="*/ 3723204 w 8115305"/>
              <a:gd name="connsiteY4559" fmla="*/ 46476 h 3192694"/>
              <a:gd name="connsiteX4560" fmla="*/ 3745658 w 8115305"/>
              <a:gd name="connsiteY4560" fmla="*/ 43215 h 3192694"/>
              <a:gd name="connsiteX4561" fmla="*/ 4741585 w 8115305"/>
              <a:gd name="connsiteY4561" fmla="*/ 41586 h 3192694"/>
              <a:gd name="connsiteX4562" fmla="*/ 4761322 w 8115305"/>
              <a:gd name="connsiteY4562" fmla="*/ 44301 h 3192694"/>
              <a:gd name="connsiteX4563" fmla="*/ 4747016 w 8115305"/>
              <a:gd name="connsiteY4563" fmla="*/ 47017 h 3192694"/>
              <a:gd name="connsiteX4564" fmla="*/ 4727099 w 8115305"/>
              <a:gd name="connsiteY4564" fmla="*/ 44301 h 3192694"/>
              <a:gd name="connsiteX4565" fmla="*/ 4741585 w 8115305"/>
              <a:gd name="connsiteY4565" fmla="*/ 41586 h 3192694"/>
              <a:gd name="connsiteX4566" fmla="*/ 3649687 w 8115305"/>
              <a:gd name="connsiteY4566" fmla="*/ 41585 h 3192694"/>
              <a:gd name="connsiteX4567" fmla="*/ 3667795 w 8115305"/>
              <a:gd name="connsiteY4567" fmla="*/ 44846 h 3192694"/>
              <a:gd name="connsiteX4568" fmla="*/ 3644436 w 8115305"/>
              <a:gd name="connsiteY4568" fmla="*/ 48285 h 3192694"/>
              <a:gd name="connsiteX4569" fmla="*/ 3625422 w 8115305"/>
              <a:gd name="connsiteY4569" fmla="*/ 45027 h 3192694"/>
              <a:gd name="connsiteX4570" fmla="*/ 3649687 w 8115305"/>
              <a:gd name="connsiteY4570" fmla="*/ 41585 h 3192694"/>
              <a:gd name="connsiteX4571" fmla="*/ 3550999 w 8115305"/>
              <a:gd name="connsiteY4571" fmla="*/ 40678 h 3192694"/>
              <a:gd name="connsiteX4572" fmla="*/ 3567116 w 8115305"/>
              <a:gd name="connsiteY4572" fmla="*/ 43756 h 3192694"/>
              <a:gd name="connsiteX4573" fmla="*/ 3546111 w 8115305"/>
              <a:gd name="connsiteY4573" fmla="*/ 46653 h 3192694"/>
              <a:gd name="connsiteX4574" fmla="*/ 3529994 w 8115305"/>
              <a:gd name="connsiteY4574" fmla="*/ 43756 h 3192694"/>
              <a:gd name="connsiteX4575" fmla="*/ 3550999 w 8115305"/>
              <a:gd name="connsiteY4575" fmla="*/ 40678 h 3192694"/>
              <a:gd name="connsiteX4576" fmla="*/ 4643080 w 8115305"/>
              <a:gd name="connsiteY4576" fmla="*/ 40317 h 3192694"/>
              <a:gd name="connsiteX4577" fmla="*/ 4662454 w 8115305"/>
              <a:gd name="connsiteY4577" fmla="*/ 43215 h 3192694"/>
              <a:gd name="connsiteX4578" fmla="*/ 4647968 w 8115305"/>
              <a:gd name="connsiteY4578" fmla="*/ 46112 h 3192694"/>
              <a:gd name="connsiteX4579" fmla="*/ 4627507 w 8115305"/>
              <a:gd name="connsiteY4579" fmla="*/ 43032 h 3192694"/>
              <a:gd name="connsiteX4580" fmla="*/ 4643080 w 8115305"/>
              <a:gd name="connsiteY4580" fmla="*/ 40317 h 3192694"/>
              <a:gd name="connsiteX4581" fmla="*/ 3454123 w 8115305"/>
              <a:gd name="connsiteY4581" fmla="*/ 39230 h 3192694"/>
              <a:gd name="connsiteX4582" fmla="*/ 3468609 w 8115305"/>
              <a:gd name="connsiteY4582" fmla="*/ 42128 h 3192694"/>
              <a:gd name="connsiteX4583" fmla="*/ 3447785 w 8115305"/>
              <a:gd name="connsiteY4583" fmla="*/ 44844 h 3192694"/>
              <a:gd name="connsiteX4584" fmla="*/ 3434204 w 8115305"/>
              <a:gd name="connsiteY4584" fmla="*/ 41766 h 3192694"/>
              <a:gd name="connsiteX4585" fmla="*/ 3454123 w 8115305"/>
              <a:gd name="connsiteY4585" fmla="*/ 39230 h 3192694"/>
              <a:gd name="connsiteX4586" fmla="*/ 4541494 w 8115305"/>
              <a:gd name="connsiteY4586" fmla="*/ 38506 h 3192694"/>
              <a:gd name="connsiteX4587" fmla="*/ 4563043 w 8115305"/>
              <a:gd name="connsiteY4587" fmla="*/ 41403 h 3192694"/>
              <a:gd name="connsiteX4588" fmla="*/ 4547289 w 8115305"/>
              <a:gd name="connsiteY4588" fmla="*/ 44483 h 3192694"/>
              <a:gd name="connsiteX4589" fmla="*/ 4526464 w 8115305"/>
              <a:gd name="connsiteY4589" fmla="*/ 41403 h 3192694"/>
              <a:gd name="connsiteX4590" fmla="*/ 4541494 w 8115305"/>
              <a:gd name="connsiteY4590" fmla="*/ 38506 h 3192694"/>
              <a:gd name="connsiteX4591" fmla="*/ 3352176 w 8115305"/>
              <a:gd name="connsiteY4591" fmla="*/ 38506 h 3192694"/>
              <a:gd name="connsiteX4592" fmla="*/ 3366480 w 8115305"/>
              <a:gd name="connsiteY4592" fmla="*/ 40861 h 3192694"/>
              <a:gd name="connsiteX4593" fmla="*/ 3348372 w 8115305"/>
              <a:gd name="connsiteY4593" fmla="*/ 43395 h 3192694"/>
              <a:gd name="connsiteX4594" fmla="*/ 3335698 w 8115305"/>
              <a:gd name="connsiteY4594" fmla="*/ 40861 h 3192694"/>
              <a:gd name="connsiteX4595" fmla="*/ 3352176 w 8115305"/>
              <a:gd name="connsiteY4595" fmla="*/ 38506 h 3192694"/>
              <a:gd name="connsiteX4596" fmla="*/ 4442988 w 8115305"/>
              <a:gd name="connsiteY4596" fmla="*/ 37240 h 3192694"/>
              <a:gd name="connsiteX4597" fmla="*/ 4465442 w 8115305"/>
              <a:gd name="connsiteY4597" fmla="*/ 40317 h 3192694"/>
              <a:gd name="connsiteX4598" fmla="*/ 4449144 w 8115305"/>
              <a:gd name="connsiteY4598" fmla="*/ 43395 h 3192694"/>
              <a:gd name="connsiteX4599" fmla="*/ 4426510 w 8115305"/>
              <a:gd name="connsiteY4599" fmla="*/ 40317 h 3192694"/>
              <a:gd name="connsiteX4600" fmla="*/ 4442988 w 8115305"/>
              <a:gd name="connsiteY4600" fmla="*/ 37240 h 3192694"/>
              <a:gd name="connsiteX4601" fmla="*/ 3257654 w 8115305"/>
              <a:gd name="connsiteY4601" fmla="*/ 37057 h 3192694"/>
              <a:gd name="connsiteX4602" fmla="*/ 3269062 w 8115305"/>
              <a:gd name="connsiteY4602" fmla="*/ 39230 h 3192694"/>
              <a:gd name="connsiteX4603" fmla="*/ 3252584 w 8115305"/>
              <a:gd name="connsiteY4603" fmla="*/ 41402 h 3192694"/>
              <a:gd name="connsiteX4604" fmla="*/ 3242080 w 8115305"/>
              <a:gd name="connsiteY4604" fmla="*/ 39230 h 3192694"/>
              <a:gd name="connsiteX4605" fmla="*/ 3257654 w 8115305"/>
              <a:gd name="connsiteY4605" fmla="*/ 37057 h 3192694"/>
              <a:gd name="connsiteX4606" fmla="*/ 3160777 w 8115305"/>
              <a:gd name="connsiteY4606" fmla="*/ 36516 h 3192694"/>
              <a:gd name="connsiteX4607" fmla="*/ 3170554 w 8115305"/>
              <a:gd name="connsiteY4607" fmla="*/ 37964 h 3192694"/>
              <a:gd name="connsiteX4608" fmla="*/ 3157878 w 8115305"/>
              <a:gd name="connsiteY4608" fmla="*/ 39774 h 3192694"/>
              <a:gd name="connsiteX4609" fmla="*/ 3148464 w 8115305"/>
              <a:gd name="connsiteY4609" fmla="*/ 38325 h 3192694"/>
              <a:gd name="connsiteX4610" fmla="*/ 3160777 w 8115305"/>
              <a:gd name="connsiteY4610" fmla="*/ 36516 h 3192694"/>
              <a:gd name="connsiteX4611" fmla="*/ 4346474 w 8115305"/>
              <a:gd name="connsiteY4611" fmla="*/ 35428 h 3192694"/>
              <a:gd name="connsiteX4612" fmla="*/ 4367479 w 8115305"/>
              <a:gd name="connsiteY4612" fmla="*/ 38688 h 3192694"/>
              <a:gd name="connsiteX4613" fmla="*/ 4347379 w 8115305"/>
              <a:gd name="connsiteY4613" fmla="*/ 41946 h 3192694"/>
              <a:gd name="connsiteX4614" fmla="*/ 4327098 w 8115305"/>
              <a:gd name="connsiteY4614" fmla="*/ 38507 h 3192694"/>
              <a:gd name="connsiteX4615" fmla="*/ 4346474 w 8115305"/>
              <a:gd name="connsiteY4615" fmla="*/ 35428 h 3192694"/>
              <a:gd name="connsiteX4616" fmla="*/ 4248873 w 8115305"/>
              <a:gd name="connsiteY4616" fmla="*/ 34342 h 3192694"/>
              <a:gd name="connsiteX4617" fmla="*/ 4269697 w 8115305"/>
              <a:gd name="connsiteY4617" fmla="*/ 37601 h 3192694"/>
              <a:gd name="connsiteX4618" fmla="*/ 4249778 w 8115305"/>
              <a:gd name="connsiteY4618" fmla="*/ 40861 h 3192694"/>
              <a:gd name="connsiteX4619" fmla="*/ 4229136 w 8115305"/>
              <a:gd name="connsiteY4619" fmla="*/ 37601 h 3192694"/>
              <a:gd name="connsiteX4620" fmla="*/ 4248873 w 8115305"/>
              <a:gd name="connsiteY4620" fmla="*/ 34342 h 3192694"/>
              <a:gd name="connsiteX4621" fmla="*/ 4148193 w 8115305"/>
              <a:gd name="connsiteY4621" fmla="*/ 32713 h 3192694"/>
              <a:gd name="connsiteX4622" fmla="*/ 4168474 w 8115305"/>
              <a:gd name="connsiteY4622" fmla="*/ 35791 h 3192694"/>
              <a:gd name="connsiteX4623" fmla="*/ 4148193 w 8115305"/>
              <a:gd name="connsiteY4623" fmla="*/ 39232 h 3192694"/>
              <a:gd name="connsiteX4624" fmla="*/ 4127732 w 8115305"/>
              <a:gd name="connsiteY4624" fmla="*/ 35611 h 3192694"/>
              <a:gd name="connsiteX4625" fmla="*/ 4148193 w 8115305"/>
              <a:gd name="connsiteY4625" fmla="*/ 32713 h 3192694"/>
              <a:gd name="connsiteX4626" fmla="*/ 4051497 w 8115305"/>
              <a:gd name="connsiteY4626" fmla="*/ 31625 h 3192694"/>
              <a:gd name="connsiteX4627" fmla="*/ 4071054 w 8115305"/>
              <a:gd name="connsiteY4627" fmla="*/ 34884 h 3192694"/>
              <a:gd name="connsiteX4628" fmla="*/ 4051317 w 8115305"/>
              <a:gd name="connsiteY4628" fmla="*/ 37961 h 3192694"/>
              <a:gd name="connsiteX4629" fmla="*/ 4030855 w 8115305"/>
              <a:gd name="connsiteY4629" fmla="*/ 34703 h 3192694"/>
              <a:gd name="connsiteX4630" fmla="*/ 4051497 w 8115305"/>
              <a:gd name="connsiteY4630" fmla="*/ 31625 h 3192694"/>
              <a:gd name="connsiteX4631" fmla="*/ 3954622 w 8115305"/>
              <a:gd name="connsiteY4631" fmla="*/ 29996 h 3192694"/>
              <a:gd name="connsiteX4632" fmla="*/ 3973816 w 8115305"/>
              <a:gd name="connsiteY4632" fmla="*/ 33254 h 3192694"/>
              <a:gd name="connsiteX4633" fmla="*/ 3952991 w 8115305"/>
              <a:gd name="connsiteY4633" fmla="*/ 36334 h 3192694"/>
              <a:gd name="connsiteX4634" fmla="*/ 3934883 w 8115305"/>
              <a:gd name="connsiteY4634" fmla="*/ 32893 h 3192694"/>
              <a:gd name="connsiteX4635" fmla="*/ 3954622 w 8115305"/>
              <a:gd name="connsiteY4635" fmla="*/ 29996 h 3192694"/>
              <a:gd name="connsiteX4636" fmla="*/ 4929907 w 8115305"/>
              <a:gd name="connsiteY4636" fmla="*/ 29995 h 3192694"/>
              <a:gd name="connsiteX4637" fmla="*/ 4942401 w 8115305"/>
              <a:gd name="connsiteY4637" fmla="*/ 31444 h 3192694"/>
              <a:gd name="connsiteX4638" fmla="*/ 4934253 w 8115305"/>
              <a:gd name="connsiteY4638" fmla="*/ 33075 h 3192694"/>
              <a:gd name="connsiteX4639" fmla="*/ 4922301 w 8115305"/>
              <a:gd name="connsiteY4639" fmla="*/ 31444 h 3192694"/>
              <a:gd name="connsiteX4640" fmla="*/ 4929907 w 8115305"/>
              <a:gd name="connsiteY4640" fmla="*/ 29995 h 3192694"/>
              <a:gd name="connsiteX4641" fmla="*/ 3857745 w 8115305"/>
              <a:gd name="connsiteY4641" fmla="*/ 29090 h 3192694"/>
              <a:gd name="connsiteX4642" fmla="*/ 3875853 w 8115305"/>
              <a:gd name="connsiteY4642" fmla="*/ 31987 h 3192694"/>
              <a:gd name="connsiteX4643" fmla="*/ 3857745 w 8115305"/>
              <a:gd name="connsiteY4643" fmla="*/ 34884 h 3192694"/>
              <a:gd name="connsiteX4644" fmla="*/ 3839637 w 8115305"/>
              <a:gd name="connsiteY4644" fmla="*/ 32168 h 3192694"/>
              <a:gd name="connsiteX4645" fmla="*/ 3857745 w 8115305"/>
              <a:gd name="connsiteY4645" fmla="*/ 29090 h 3192694"/>
              <a:gd name="connsiteX4646" fmla="*/ 4832125 w 8115305"/>
              <a:gd name="connsiteY4646" fmla="*/ 28185 h 3192694"/>
              <a:gd name="connsiteX4647" fmla="*/ 4844800 w 8115305"/>
              <a:gd name="connsiteY4647" fmla="*/ 29814 h 3192694"/>
              <a:gd name="connsiteX4648" fmla="*/ 4835384 w 8115305"/>
              <a:gd name="connsiteY4648" fmla="*/ 31626 h 3192694"/>
              <a:gd name="connsiteX4649" fmla="*/ 4822709 w 8115305"/>
              <a:gd name="connsiteY4649" fmla="*/ 29814 h 3192694"/>
              <a:gd name="connsiteX4650" fmla="*/ 4832125 w 8115305"/>
              <a:gd name="connsiteY4650" fmla="*/ 28185 h 3192694"/>
              <a:gd name="connsiteX4651" fmla="*/ 3762678 w 8115305"/>
              <a:gd name="connsiteY4651" fmla="*/ 27642 h 3192694"/>
              <a:gd name="connsiteX4652" fmla="*/ 3779520 w 8115305"/>
              <a:gd name="connsiteY4652" fmla="*/ 30539 h 3192694"/>
              <a:gd name="connsiteX4653" fmla="*/ 3760688 w 8115305"/>
              <a:gd name="connsiteY4653" fmla="*/ 33255 h 3192694"/>
              <a:gd name="connsiteX4654" fmla="*/ 3744570 w 8115305"/>
              <a:gd name="connsiteY4654" fmla="*/ 30539 h 3192694"/>
              <a:gd name="connsiteX4655" fmla="*/ 3762678 w 8115305"/>
              <a:gd name="connsiteY4655" fmla="*/ 27642 h 3192694"/>
              <a:gd name="connsiteX4656" fmla="*/ 3664174 w 8115305"/>
              <a:gd name="connsiteY4656" fmla="*/ 26738 h 3192694"/>
              <a:gd name="connsiteX4657" fmla="*/ 3679927 w 8115305"/>
              <a:gd name="connsiteY4657" fmla="*/ 29453 h 3192694"/>
              <a:gd name="connsiteX4658" fmla="*/ 3661819 w 8115305"/>
              <a:gd name="connsiteY4658" fmla="*/ 31989 h 3192694"/>
              <a:gd name="connsiteX4659" fmla="*/ 3646066 w 8115305"/>
              <a:gd name="connsiteY4659" fmla="*/ 29272 h 3192694"/>
              <a:gd name="connsiteX4660" fmla="*/ 3664174 w 8115305"/>
              <a:gd name="connsiteY4660" fmla="*/ 26738 h 3192694"/>
              <a:gd name="connsiteX4661" fmla="*/ 4734524 w 8115305"/>
              <a:gd name="connsiteY4661" fmla="*/ 26736 h 3192694"/>
              <a:gd name="connsiteX4662" fmla="*/ 4749734 w 8115305"/>
              <a:gd name="connsiteY4662" fmla="*/ 28728 h 3192694"/>
              <a:gd name="connsiteX4663" fmla="*/ 4739411 w 8115305"/>
              <a:gd name="connsiteY4663" fmla="*/ 30901 h 3192694"/>
              <a:gd name="connsiteX4664" fmla="*/ 4723115 w 8115305"/>
              <a:gd name="connsiteY4664" fmla="*/ 28728 h 3192694"/>
              <a:gd name="connsiteX4665" fmla="*/ 4734524 w 8115305"/>
              <a:gd name="connsiteY4665" fmla="*/ 26736 h 3192694"/>
              <a:gd name="connsiteX4666" fmla="*/ 3569830 w 8115305"/>
              <a:gd name="connsiteY4666" fmla="*/ 25832 h 3192694"/>
              <a:gd name="connsiteX4667" fmla="*/ 3583412 w 8115305"/>
              <a:gd name="connsiteY4667" fmla="*/ 28365 h 3192694"/>
              <a:gd name="connsiteX4668" fmla="*/ 3565304 w 8115305"/>
              <a:gd name="connsiteY4668" fmla="*/ 30719 h 3192694"/>
              <a:gd name="connsiteX4669" fmla="*/ 3551723 w 8115305"/>
              <a:gd name="connsiteY4669" fmla="*/ 28004 h 3192694"/>
              <a:gd name="connsiteX4670" fmla="*/ 3569830 w 8115305"/>
              <a:gd name="connsiteY4670" fmla="*/ 25832 h 3192694"/>
              <a:gd name="connsiteX4671" fmla="*/ 4637647 w 8115305"/>
              <a:gd name="connsiteY4671" fmla="*/ 25468 h 3192694"/>
              <a:gd name="connsiteX4672" fmla="*/ 4653399 w 8115305"/>
              <a:gd name="connsiteY4672" fmla="*/ 27824 h 3192694"/>
              <a:gd name="connsiteX4673" fmla="*/ 4641086 w 8115305"/>
              <a:gd name="connsiteY4673" fmla="*/ 29996 h 3192694"/>
              <a:gd name="connsiteX4674" fmla="*/ 4625334 w 8115305"/>
              <a:gd name="connsiteY4674" fmla="*/ 27641 h 3192694"/>
              <a:gd name="connsiteX4675" fmla="*/ 4637647 w 8115305"/>
              <a:gd name="connsiteY4675" fmla="*/ 25468 h 3192694"/>
              <a:gd name="connsiteX4676" fmla="*/ 3476397 w 8115305"/>
              <a:gd name="connsiteY4676" fmla="*/ 24564 h 3192694"/>
              <a:gd name="connsiteX4677" fmla="*/ 3487081 w 8115305"/>
              <a:gd name="connsiteY4677" fmla="*/ 26917 h 3192694"/>
              <a:gd name="connsiteX4678" fmla="*/ 3471508 w 8115305"/>
              <a:gd name="connsiteY4678" fmla="*/ 28729 h 3192694"/>
              <a:gd name="connsiteX4679" fmla="*/ 3459919 w 8115305"/>
              <a:gd name="connsiteY4679" fmla="*/ 26556 h 3192694"/>
              <a:gd name="connsiteX4680" fmla="*/ 3476397 w 8115305"/>
              <a:gd name="connsiteY4680" fmla="*/ 24564 h 3192694"/>
              <a:gd name="connsiteX4681" fmla="*/ 4539501 w 8115305"/>
              <a:gd name="connsiteY4681" fmla="*/ 23839 h 3192694"/>
              <a:gd name="connsiteX4682" fmla="*/ 4556704 w 8115305"/>
              <a:gd name="connsiteY4682" fmla="*/ 26012 h 3192694"/>
              <a:gd name="connsiteX4683" fmla="*/ 4544028 w 8115305"/>
              <a:gd name="connsiteY4683" fmla="*/ 28366 h 3192694"/>
              <a:gd name="connsiteX4684" fmla="*/ 4527732 w 8115305"/>
              <a:gd name="connsiteY4684" fmla="*/ 26374 h 3192694"/>
              <a:gd name="connsiteX4685" fmla="*/ 4539501 w 8115305"/>
              <a:gd name="connsiteY4685" fmla="*/ 23839 h 3192694"/>
              <a:gd name="connsiteX4686" fmla="*/ 3380605 w 8115305"/>
              <a:gd name="connsiteY4686" fmla="*/ 23658 h 3192694"/>
              <a:gd name="connsiteX4687" fmla="*/ 3391470 w 8115305"/>
              <a:gd name="connsiteY4687" fmla="*/ 25468 h 3192694"/>
              <a:gd name="connsiteX4688" fmla="*/ 3378432 w 8115305"/>
              <a:gd name="connsiteY4688" fmla="*/ 27460 h 3192694"/>
              <a:gd name="connsiteX4689" fmla="*/ 3366843 w 8115305"/>
              <a:gd name="connsiteY4689" fmla="*/ 25651 h 3192694"/>
              <a:gd name="connsiteX4690" fmla="*/ 3380605 w 8115305"/>
              <a:gd name="connsiteY4690" fmla="*/ 23658 h 3192694"/>
              <a:gd name="connsiteX4691" fmla="*/ 4441178 w 8115305"/>
              <a:gd name="connsiteY4691" fmla="*/ 22573 h 3192694"/>
              <a:gd name="connsiteX4692" fmla="*/ 4459286 w 8115305"/>
              <a:gd name="connsiteY4692" fmla="*/ 25107 h 3192694"/>
              <a:gd name="connsiteX4693" fmla="*/ 4443712 w 8115305"/>
              <a:gd name="connsiteY4693" fmla="*/ 27643 h 3192694"/>
              <a:gd name="connsiteX4694" fmla="*/ 4427234 w 8115305"/>
              <a:gd name="connsiteY4694" fmla="*/ 25107 h 3192694"/>
              <a:gd name="connsiteX4695" fmla="*/ 4441178 w 8115305"/>
              <a:gd name="connsiteY4695" fmla="*/ 22573 h 3192694"/>
              <a:gd name="connsiteX4696" fmla="*/ 3288436 w 8115305"/>
              <a:gd name="connsiteY4696" fmla="*/ 22391 h 3192694"/>
              <a:gd name="connsiteX4697" fmla="*/ 3295499 w 8115305"/>
              <a:gd name="connsiteY4697" fmla="*/ 24022 h 3192694"/>
              <a:gd name="connsiteX4698" fmla="*/ 3283730 w 8115305"/>
              <a:gd name="connsiteY4698" fmla="*/ 25471 h 3192694"/>
              <a:gd name="connsiteX4699" fmla="*/ 3275580 w 8115305"/>
              <a:gd name="connsiteY4699" fmla="*/ 24022 h 3192694"/>
              <a:gd name="connsiteX4700" fmla="*/ 3288436 w 8115305"/>
              <a:gd name="connsiteY4700" fmla="*/ 22391 h 3192694"/>
              <a:gd name="connsiteX4701" fmla="*/ 4344481 w 8115305"/>
              <a:gd name="connsiteY4701" fmla="*/ 20942 h 3192694"/>
              <a:gd name="connsiteX4702" fmla="*/ 4362589 w 8115305"/>
              <a:gd name="connsiteY4702" fmla="*/ 23476 h 3192694"/>
              <a:gd name="connsiteX4703" fmla="*/ 4348103 w 8115305"/>
              <a:gd name="connsiteY4703" fmla="*/ 26012 h 3192694"/>
              <a:gd name="connsiteX4704" fmla="*/ 4329995 w 8115305"/>
              <a:gd name="connsiteY4704" fmla="*/ 23476 h 3192694"/>
              <a:gd name="connsiteX4705" fmla="*/ 4344481 w 8115305"/>
              <a:gd name="connsiteY4705" fmla="*/ 20942 h 3192694"/>
              <a:gd name="connsiteX4706" fmla="*/ 4249416 w 8115305"/>
              <a:gd name="connsiteY4706" fmla="*/ 19856 h 3192694"/>
              <a:gd name="connsiteX4707" fmla="*/ 4267524 w 8115305"/>
              <a:gd name="connsiteY4707" fmla="*/ 22392 h 3192694"/>
              <a:gd name="connsiteX4708" fmla="*/ 4252494 w 8115305"/>
              <a:gd name="connsiteY4708" fmla="*/ 24926 h 3192694"/>
              <a:gd name="connsiteX4709" fmla="*/ 4234386 w 8115305"/>
              <a:gd name="connsiteY4709" fmla="*/ 22392 h 3192694"/>
              <a:gd name="connsiteX4710" fmla="*/ 4249416 w 8115305"/>
              <a:gd name="connsiteY4710" fmla="*/ 19856 h 3192694"/>
              <a:gd name="connsiteX4711" fmla="*/ 4155437 w 8115305"/>
              <a:gd name="connsiteY4711" fmla="*/ 18408 h 3192694"/>
              <a:gd name="connsiteX4712" fmla="*/ 4172096 w 8115305"/>
              <a:gd name="connsiteY4712" fmla="*/ 20942 h 3192694"/>
              <a:gd name="connsiteX4713" fmla="*/ 4155437 w 8115305"/>
              <a:gd name="connsiteY4713" fmla="*/ 23658 h 3192694"/>
              <a:gd name="connsiteX4714" fmla="*/ 4138958 w 8115305"/>
              <a:gd name="connsiteY4714" fmla="*/ 21124 h 3192694"/>
              <a:gd name="connsiteX4715" fmla="*/ 4155437 w 8115305"/>
              <a:gd name="connsiteY4715" fmla="*/ 18408 h 3192694"/>
              <a:gd name="connsiteX4716" fmla="*/ 4060191 w 8115305"/>
              <a:gd name="connsiteY4716" fmla="*/ 17320 h 3192694"/>
              <a:gd name="connsiteX4717" fmla="*/ 4077031 w 8115305"/>
              <a:gd name="connsiteY4717" fmla="*/ 19673 h 3192694"/>
              <a:gd name="connsiteX4718" fmla="*/ 4061277 w 8115305"/>
              <a:gd name="connsiteY4718" fmla="*/ 22390 h 3192694"/>
              <a:gd name="connsiteX4719" fmla="*/ 4044437 w 8115305"/>
              <a:gd name="connsiteY4719" fmla="*/ 19854 h 3192694"/>
              <a:gd name="connsiteX4720" fmla="*/ 4060191 w 8115305"/>
              <a:gd name="connsiteY4720" fmla="*/ 17320 h 3192694"/>
              <a:gd name="connsiteX4721" fmla="*/ 3965485 w 8115305"/>
              <a:gd name="connsiteY4721" fmla="*/ 15691 h 3192694"/>
              <a:gd name="connsiteX4722" fmla="*/ 3979610 w 8115305"/>
              <a:gd name="connsiteY4722" fmla="*/ 18227 h 3192694"/>
              <a:gd name="connsiteX4723" fmla="*/ 3962227 w 8115305"/>
              <a:gd name="connsiteY4723" fmla="*/ 20581 h 3192694"/>
              <a:gd name="connsiteX4724" fmla="*/ 3947377 w 8115305"/>
              <a:gd name="connsiteY4724" fmla="*/ 18045 h 3192694"/>
              <a:gd name="connsiteX4725" fmla="*/ 3965485 w 8115305"/>
              <a:gd name="connsiteY4725" fmla="*/ 15691 h 3192694"/>
              <a:gd name="connsiteX4726" fmla="*/ 3870239 w 8115305"/>
              <a:gd name="connsiteY4726" fmla="*/ 14966 h 3192694"/>
              <a:gd name="connsiteX4727" fmla="*/ 3883457 w 8115305"/>
              <a:gd name="connsiteY4727" fmla="*/ 16959 h 3192694"/>
              <a:gd name="connsiteX4728" fmla="*/ 3868971 w 8115305"/>
              <a:gd name="connsiteY4728" fmla="*/ 19312 h 3192694"/>
              <a:gd name="connsiteX4729" fmla="*/ 3854848 w 8115305"/>
              <a:gd name="connsiteY4729" fmla="*/ 17139 h 3192694"/>
              <a:gd name="connsiteX4730" fmla="*/ 3870239 w 8115305"/>
              <a:gd name="connsiteY4730" fmla="*/ 14966 h 3192694"/>
              <a:gd name="connsiteX4731" fmla="*/ 3776984 w 8115305"/>
              <a:gd name="connsiteY4731" fmla="*/ 13518 h 3192694"/>
              <a:gd name="connsiteX4732" fmla="*/ 3789480 w 8115305"/>
              <a:gd name="connsiteY4732" fmla="*/ 15691 h 3192694"/>
              <a:gd name="connsiteX4733" fmla="*/ 3774450 w 8115305"/>
              <a:gd name="connsiteY4733" fmla="*/ 17683 h 3192694"/>
              <a:gd name="connsiteX4734" fmla="*/ 3762137 w 8115305"/>
              <a:gd name="connsiteY4734" fmla="*/ 15510 h 3192694"/>
              <a:gd name="connsiteX4735" fmla="*/ 3776984 w 8115305"/>
              <a:gd name="connsiteY4735" fmla="*/ 13518 h 3192694"/>
              <a:gd name="connsiteX4736" fmla="*/ 3683547 w 8115305"/>
              <a:gd name="connsiteY4736" fmla="*/ 12613 h 3192694"/>
              <a:gd name="connsiteX4737" fmla="*/ 3695680 w 8115305"/>
              <a:gd name="connsiteY4737" fmla="*/ 14606 h 3192694"/>
              <a:gd name="connsiteX4738" fmla="*/ 3681557 w 8115305"/>
              <a:gd name="connsiteY4738" fmla="*/ 16596 h 3192694"/>
              <a:gd name="connsiteX4739" fmla="*/ 3669424 w 8115305"/>
              <a:gd name="connsiteY4739" fmla="*/ 14423 h 3192694"/>
              <a:gd name="connsiteX4740" fmla="*/ 3683547 w 8115305"/>
              <a:gd name="connsiteY4740" fmla="*/ 12613 h 3192694"/>
              <a:gd name="connsiteX4741" fmla="*/ 3593009 w 8115305"/>
              <a:gd name="connsiteY4741" fmla="*/ 11164 h 3192694"/>
              <a:gd name="connsiteX4742" fmla="*/ 3601883 w 8115305"/>
              <a:gd name="connsiteY4742" fmla="*/ 13155 h 3192694"/>
              <a:gd name="connsiteX4743" fmla="*/ 3587758 w 8115305"/>
              <a:gd name="connsiteY4743" fmla="*/ 14966 h 3192694"/>
              <a:gd name="connsiteX4744" fmla="*/ 3578161 w 8115305"/>
              <a:gd name="connsiteY4744" fmla="*/ 12974 h 3192694"/>
              <a:gd name="connsiteX4745" fmla="*/ 3593009 w 8115305"/>
              <a:gd name="connsiteY4745" fmla="*/ 11164 h 3192694"/>
              <a:gd name="connsiteX4746" fmla="*/ 4628592 w 8115305"/>
              <a:gd name="connsiteY4746" fmla="*/ 10982 h 3192694"/>
              <a:gd name="connsiteX4747" fmla="*/ 4640725 w 8115305"/>
              <a:gd name="connsiteY4747" fmla="*/ 12430 h 3192694"/>
              <a:gd name="connsiteX4748" fmla="*/ 4631853 w 8115305"/>
              <a:gd name="connsiteY4748" fmla="*/ 14061 h 3192694"/>
              <a:gd name="connsiteX4749" fmla="*/ 4620444 w 8115305"/>
              <a:gd name="connsiteY4749" fmla="*/ 12430 h 3192694"/>
              <a:gd name="connsiteX4750" fmla="*/ 4628592 w 8115305"/>
              <a:gd name="connsiteY4750" fmla="*/ 10982 h 3192694"/>
              <a:gd name="connsiteX4751" fmla="*/ 3498850 w 8115305"/>
              <a:gd name="connsiteY4751" fmla="*/ 10440 h 3192694"/>
              <a:gd name="connsiteX4752" fmla="*/ 3507542 w 8115305"/>
              <a:gd name="connsiteY4752" fmla="*/ 12069 h 3192694"/>
              <a:gd name="connsiteX4753" fmla="*/ 3495409 w 8115305"/>
              <a:gd name="connsiteY4753" fmla="*/ 13517 h 3192694"/>
              <a:gd name="connsiteX4754" fmla="*/ 3487442 w 8115305"/>
              <a:gd name="connsiteY4754" fmla="*/ 12069 h 3192694"/>
              <a:gd name="connsiteX4755" fmla="*/ 3498850 w 8115305"/>
              <a:gd name="connsiteY4755" fmla="*/ 10440 h 3192694"/>
              <a:gd name="connsiteX4756" fmla="*/ 4535155 w 8115305"/>
              <a:gd name="connsiteY4756" fmla="*/ 9897 h 3192694"/>
              <a:gd name="connsiteX4757" fmla="*/ 4547105 w 8115305"/>
              <a:gd name="connsiteY4757" fmla="*/ 11345 h 3192694"/>
              <a:gd name="connsiteX4758" fmla="*/ 4537689 w 8115305"/>
              <a:gd name="connsiteY4758" fmla="*/ 13157 h 3192694"/>
              <a:gd name="connsiteX4759" fmla="*/ 4525739 w 8115305"/>
              <a:gd name="connsiteY4759" fmla="*/ 11528 h 3192694"/>
              <a:gd name="connsiteX4760" fmla="*/ 4535155 w 8115305"/>
              <a:gd name="connsiteY4760" fmla="*/ 9897 h 3192694"/>
              <a:gd name="connsiteX4761" fmla="*/ 4441541 w 8115305"/>
              <a:gd name="connsiteY4761" fmla="*/ 8268 h 3192694"/>
              <a:gd name="connsiteX4762" fmla="*/ 4454035 w 8115305"/>
              <a:gd name="connsiteY4762" fmla="*/ 10077 h 3192694"/>
              <a:gd name="connsiteX4763" fmla="*/ 4441902 w 8115305"/>
              <a:gd name="connsiteY4763" fmla="*/ 11889 h 3192694"/>
              <a:gd name="connsiteX4764" fmla="*/ 4430133 w 8115305"/>
              <a:gd name="connsiteY4764" fmla="*/ 9897 h 3192694"/>
              <a:gd name="connsiteX4765" fmla="*/ 4441541 w 8115305"/>
              <a:gd name="connsiteY4765" fmla="*/ 8268 h 3192694"/>
              <a:gd name="connsiteX4766" fmla="*/ 4349190 w 8115305"/>
              <a:gd name="connsiteY4766" fmla="*/ 7182 h 3192694"/>
              <a:gd name="connsiteX4767" fmla="*/ 4360960 w 8115305"/>
              <a:gd name="connsiteY4767" fmla="*/ 8992 h 3192694"/>
              <a:gd name="connsiteX4768" fmla="*/ 4349008 w 8115305"/>
              <a:gd name="connsiteY4768" fmla="*/ 10803 h 3192694"/>
              <a:gd name="connsiteX4769" fmla="*/ 4336153 w 8115305"/>
              <a:gd name="connsiteY4769" fmla="*/ 8811 h 3192694"/>
              <a:gd name="connsiteX4770" fmla="*/ 4349190 w 8115305"/>
              <a:gd name="connsiteY4770" fmla="*/ 7182 h 3192694"/>
              <a:gd name="connsiteX4771" fmla="*/ 4251950 w 8115305"/>
              <a:gd name="connsiteY4771" fmla="*/ 5550 h 3192694"/>
              <a:gd name="connsiteX4772" fmla="*/ 4265349 w 8115305"/>
              <a:gd name="connsiteY4772" fmla="*/ 7360 h 3192694"/>
              <a:gd name="connsiteX4773" fmla="*/ 4253943 w 8115305"/>
              <a:gd name="connsiteY4773" fmla="*/ 9352 h 3192694"/>
              <a:gd name="connsiteX4774" fmla="*/ 4239637 w 8115305"/>
              <a:gd name="connsiteY4774" fmla="*/ 7360 h 3192694"/>
              <a:gd name="connsiteX4775" fmla="*/ 4251950 w 8115305"/>
              <a:gd name="connsiteY4775" fmla="*/ 5550 h 3192694"/>
              <a:gd name="connsiteX4776" fmla="*/ 4159421 w 8115305"/>
              <a:gd name="connsiteY4776" fmla="*/ 4645 h 3192694"/>
              <a:gd name="connsiteX4777" fmla="*/ 4171915 w 8115305"/>
              <a:gd name="connsiteY4777" fmla="*/ 6457 h 3192694"/>
              <a:gd name="connsiteX4778" fmla="*/ 4159963 w 8115305"/>
              <a:gd name="connsiteY4778" fmla="*/ 8447 h 3192694"/>
              <a:gd name="connsiteX4779" fmla="*/ 4146564 w 8115305"/>
              <a:gd name="connsiteY4779" fmla="*/ 6637 h 3192694"/>
              <a:gd name="connsiteX4780" fmla="*/ 4159421 w 8115305"/>
              <a:gd name="connsiteY4780" fmla="*/ 4645 h 3192694"/>
              <a:gd name="connsiteX4781" fmla="*/ 4067071 w 8115305"/>
              <a:gd name="connsiteY4781" fmla="*/ 3560 h 3192694"/>
              <a:gd name="connsiteX4782" fmla="*/ 4079203 w 8115305"/>
              <a:gd name="connsiteY4782" fmla="*/ 5550 h 3192694"/>
              <a:gd name="connsiteX4783" fmla="*/ 4065805 w 8115305"/>
              <a:gd name="connsiteY4783" fmla="*/ 7362 h 3192694"/>
              <a:gd name="connsiteX4784" fmla="*/ 4054577 w 8115305"/>
              <a:gd name="connsiteY4784" fmla="*/ 5189 h 3192694"/>
              <a:gd name="connsiteX4785" fmla="*/ 4067071 w 8115305"/>
              <a:gd name="connsiteY4785" fmla="*/ 3560 h 3192694"/>
              <a:gd name="connsiteX4786" fmla="*/ 3974722 w 8115305"/>
              <a:gd name="connsiteY4786" fmla="*/ 2292 h 3192694"/>
              <a:gd name="connsiteX4787" fmla="*/ 3987216 w 8115305"/>
              <a:gd name="connsiteY4787" fmla="*/ 4102 h 3192694"/>
              <a:gd name="connsiteX4788" fmla="*/ 3975627 w 8115305"/>
              <a:gd name="connsiteY4788" fmla="*/ 5734 h 3192694"/>
              <a:gd name="connsiteX4789" fmla="*/ 3963677 w 8115305"/>
              <a:gd name="connsiteY4789" fmla="*/ 4102 h 3192694"/>
              <a:gd name="connsiteX4790" fmla="*/ 3974722 w 8115305"/>
              <a:gd name="connsiteY4790" fmla="*/ 2292 h 3192694"/>
              <a:gd name="connsiteX4791" fmla="*/ 3882915 w 8115305"/>
              <a:gd name="connsiteY4791" fmla="*/ 1385 h 3192694"/>
              <a:gd name="connsiteX4792" fmla="*/ 3893780 w 8115305"/>
              <a:gd name="connsiteY4792" fmla="*/ 3014 h 3192694"/>
              <a:gd name="connsiteX4793" fmla="*/ 3883279 w 8115305"/>
              <a:gd name="connsiteY4793" fmla="*/ 4645 h 3192694"/>
              <a:gd name="connsiteX4794" fmla="*/ 3872595 w 8115305"/>
              <a:gd name="connsiteY4794" fmla="*/ 3014 h 3192694"/>
              <a:gd name="connsiteX4795" fmla="*/ 3882915 w 8115305"/>
              <a:gd name="connsiteY4795" fmla="*/ 1385 h 3192694"/>
              <a:gd name="connsiteX4796" fmla="*/ 3792013 w 8115305"/>
              <a:gd name="connsiteY4796" fmla="*/ 119 h 3192694"/>
              <a:gd name="connsiteX4797" fmla="*/ 3801792 w 8115305"/>
              <a:gd name="connsiteY4797" fmla="*/ 1568 h 3192694"/>
              <a:gd name="connsiteX4798" fmla="*/ 3791108 w 8115305"/>
              <a:gd name="connsiteY4798" fmla="*/ 3016 h 3192694"/>
              <a:gd name="connsiteX4799" fmla="*/ 3782236 w 8115305"/>
              <a:gd name="connsiteY4799" fmla="*/ 1385 h 3192694"/>
              <a:gd name="connsiteX4800" fmla="*/ 3792013 w 8115305"/>
              <a:gd name="connsiteY4800" fmla="*/ 119 h 3192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</a:cxnLst>
            <a:rect l="l" t="t" r="r" b="b"/>
            <a:pathLst>
              <a:path w="8115305" h="3192694">
                <a:moveTo>
                  <a:pt x="4234736" y="3069959"/>
                </a:moveTo>
                <a:cubicBezTo>
                  <a:pt x="4237818" y="3069761"/>
                  <a:pt x="4240909" y="3069814"/>
                  <a:pt x="4243983" y="3070105"/>
                </a:cubicBezTo>
                <a:cubicBezTo>
                  <a:pt x="4276710" y="3073689"/>
                  <a:pt x="4302218" y="3100108"/>
                  <a:pt x="4304644" y="3132937"/>
                </a:cubicBezTo>
                <a:cubicBezTo>
                  <a:pt x="4304946" y="3165640"/>
                  <a:pt x="4278683" y="3192386"/>
                  <a:pt x="4245983" y="3192694"/>
                </a:cubicBezTo>
                <a:cubicBezTo>
                  <a:pt x="4245557" y="3192694"/>
                  <a:pt x="4245133" y="3192694"/>
                  <a:pt x="4244707" y="3192694"/>
                </a:cubicBezTo>
                <a:cubicBezTo>
                  <a:pt x="4211007" y="3191914"/>
                  <a:pt x="4183034" y="3166419"/>
                  <a:pt x="4179158" y="3132937"/>
                </a:cubicBezTo>
                <a:cubicBezTo>
                  <a:pt x="4177112" y="3100199"/>
                  <a:pt x="4201996" y="3072006"/>
                  <a:pt x="4234736" y="3069959"/>
                </a:cubicBezTo>
                <a:close/>
                <a:moveTo>
                  <a:pt x="3636106" y="3007634"/>
                </a:moveTo>
                <a:cubicBezTo>
                  <a:pt x="3664050" y="3004664"/>
                  <a:pt x="3689114" y="3024890"/>
                  <a:pt x="3692089" y="3052849"/>
                </a:cubicBezTo>
                <a:cubicBezTo>
                  <a:pt x="3692414" y="3055874"/>
                  <a:pt x="3692462" y="3058915"/>
                  <a:pt x="3692239" y="3061957"/>
                </a:cubicBezTo>
                <a:cubicBezTo>
                  <a:pt x="3692241" y="3099549"/>
                  <a:pt x="3661925" y="3130114"/>
                  <a:pt x="3624337" y="3130405"/>
                </a:cubicBezTo>
                <a:cubicBezTo>
                  <a:pt x="3595397" y="3134987"/>
                  <a:pt x="3568215" y="3115248"/>
                  <a:pt x="3563624" y="3086312"/>
                </a:cubicBezTo>
                <a:cubicBezTo>
                  <a:pt x="3562734" y="3080700"/>
                  <a:pt x="3562751" y="3074995"/>
                  <a:pt x="3563675" y="3069381"/>
                </a:cubicBezTo>
                <a:cubicBezTo>
                  <a:pt x="3567035" y="3032532"/>
                  <a:pt x="3599197" y="3005117"/>
                  <a:pt x="3636106" y="3007634"/>
                </a:cubicBezTo>
                <a:close/>
                <a:moveTo>
                  <a:pt x="3062089" y="2969970"/>
                </a:moveTo>
                <a:cubicBezTo>
                  <a:pt x="3086535" y="2967200"/>
                  <a:pt x="3108593" y="2984783"/>
                  <a:pt x="3111357" y="3009227"/>
                </a:cubicBezTo>
                <a:cubicBezTo>
                  <a:pt x="3111870" y="3013773"/>
                  <a:pt x="3111682" y="3018354"/>
                  <a:pt x="3110798" y="3022844"/>
                </a:cubicBezTo>
                <a:cubicBezTo>
                  <a:pt x="3101979" y="3056343"/>
                  <a:pt x="3074210" y="3081496"/>
                  <a:pt x="3039999" y="3086947"/>
                </a:cubicBezTo>
                <a:cubicBezTo>
                  <a:pt x="3015313" y="3092017"/>
                  <a:pt x="2991187" y="3076135"/>
                  <a:pt x="2986109" y="3051437"/>
                </a:cubicBezTo>
                <a:cubicBezTo>
                  <a:pt x="2984459" y="3043433"/>
                  <a:pt x="2984997" y="3035104"/>
                  <a:pt x="2987666" y="3027371"/>
                </a:cubicBezTo>
                <a:cubicBezTo>
                  <a:pt x="2998983" y="2995229"/>
                  <a:pt x="3028132" y="2972759"/>
                  <a:pt x="3062089" y="2969970"/>
                </a:cubicBezTo>
                <a:close/>
                <a:moveTo>
                  <a:pt x="2514513" y="2932123"/>
                </a:moveTo>
                <a:cubicBezTo>
                  <a:pt x="2543302" y="2935925"/>
                  <a:pt x="2555616" y="2963992"/>
                  <a:pt x="2540768" y="2992965"/>
                </a:cubicBezTo>
                <a:cubicBezTo>
                  <a:pt x="2523221" y="3024454"/>
                  <a:pt x="2490591" y="3044608"/>
                  <a:pt x="2454575" y="3046203"/>
                </a:cubicBezTo>
                <a:cubicBezTo>
                  <a:pt x="2418360" y="3044752"/>
                  <a:pt x="2405866" y="3011436"/>
                  <a:pt x="2427052" y="2978659"/>
                </a:cubicBezTo>
                <a:cubicBezTo>
                  <a:pt x="2446625" y="2949533"/>
                  <a:pt x="2479419" y="2932079"/>
                  <a:pt x="2514513" y="2932123"/>
                </a:cubicBezTo>
                <a:close/>
                <a:moveTo>
                  <a:pt x="6417275" y="2735474"/>
                </a:moveTo>
                <a:cubicBezTo>
                  <a:pt x="6456043" y="2736080"/>
                  <a:pt x="6492350" y="2754600"/>
                  <a:pt x="6515600" y="2785632"/>
                </a:cubicBezTo>
                <a:cubicBezTo>
                  <a:pt x="6539683" y="2817501"/>
                  <a:pt x="6530811" y="2839955"/>
                  <a:pt x="6494052" y="2839955"/>
                </a:cubicBezTo>
                <a:cubicBezTo>
                  <a:pt x="6454342" y="2837402"/>
                  <a:pt x="6418132" y="2816347"/>
                  <a:pt x="6396270" y="2783098"/>
                </a:cubicBezTo>
                <a:cubicBezTo>
                  <a:pt x="6378162" y="2753582"/>
                  <a:pt x="6385588" y="2737284"/>
                  <a:pt x="6417275" y="2735474"/>
                </a:cubicBezTo>
                <a:close/>
                <a:moveTo>
                  <a:pt x="5858834" y="2681512"/>
                </a:moveTo>
                <a:cubicBezTo>
                  <a:pt x="5894879" y="2683626"/>
                  <a:pt x="5927520" y="2703507"/>
                  <a:pt x="5945932" y="2734569"/>
                </a:cubicBezTo>
                <a:cubicBezTo>
                  <a:pt x="5966576" y="2768973"/>
                  <a:pt x="5952632" y="2792514"/>
                  <a:pt x="5911889" y="2790702"/>
                </a:cubicBezTo>
                <a:cubicBezTo>
                  <a:pt x="5875067" y="2788791"/>
                  <a:pt x="5841728" y="2768340"/>
                  <a:pt x="5823343" y="2736379"/>
                </a:cubicBezTo>
                <a:cubicBezTo>
                  <a:pt x="5804511" y="2702156"/>
                  <a:pt x="5818997" y="2680246"/>
                  <a:pt x="5858834" y="2681512"/>
                </a:cubicBezTo>
                <a:close/>
                <a:moveTo>
                  <a:pt x="5293689" y="2641494"/>
                </a:moveTo>
                <a:cubicBezTo>
                  <a:pt x="5329180" y="2642038"/>
                  <a:pt x="5378433" y="2674995"/>
                  <a:pt x="5388030" y="2704872"/>
                </a:cubicBezTo>
                <a:cubicBezTo>
                  <a:pt x="5394691" y="2730523"/>
                  <a:pt x="5379294" y="2756716"/>
                  <a:pt x="5353643" y="2763376"/>
                </a:cubicBezTo>
                <a:cubicBezTo>
                  <a:pt x="5347134" y="2765066"/>
                  <a:pt x="5340341" y="2765370"/>
                  <a:pt x="5333707" y="2764266"/>
                </a:cubicBezTo>
                <a:cubicBezTo>
                  <a:pt x="5295862" y="2761005"/>
                  <a:pt x="5248782" y="2724790"/>
                  <a:pt x="5243168" y="2694551"/>
                </a:cubicBezTo>
                <a:cubicBezTo>
                  <a:pt x="5240109" y="2668429"/>
                  <a:pt x="5258804" y="2644770"/>
                  <a:pt x="5284927" y="2641709"/>
                </a:cubicBezTo>
                <a:cubicBezTo>
                  <a:pt x="5287836" y="2641369"/>
                  <a:pt x="5290769" y="2641296"/>
                  <a:pt x="5293689" y="2641494"/>
                </a:cubicBezTo>
                <a:close/>
                <a:moveTo>
                  <a:pt x="4759512" y="2591153"/>
                </a:moveTo>
                <a:cubicBezTo>
                  <a:pt x="4798625" y="2589705"/>
                  <a:pt x="4841721" y="2619945"/>
                  <a:pt x="4849327" y="2654892"/>
                </a:cubicBezTo>
                <a:cubicBezTo>
                  <a:pt x="4856389" y="2687306"/>
                  <a:pt x="4831219" y="2716098"/>
                  <a:pt x="4792650" y="2717366"/>
                </a:cubicBezTo>
                <a:cubicBezTo>
                  <a:pt x="4750820" y="2718632"/>
                  <a:pt x="4707362" y="2686945"/>
                  <a:pt x="4702111" y="2651271"/>
                </a:cubicBezTo>
                <a:cubicBezTo>
                  <a:pt x="4696677" y="2619401"/>
                  <a:pt x="4722753" y="2592241"/>
                  <a:pt x="4759512" y="2591153"/>
                </a:cubicBezTo>
                <a:close/>
                <a:moveTo>
                  <a:pt x="4245432" y="2559828"/>
                </a:moveTo>
                <a:cubicBezTo>
                  <a:pt x="4287081" y="2559104"/>
                  <a:pt x="4322028" y="2586266"/>
                  <a:pt x="4324925" y="2621938"/>
                </a:cubicBezTo>
                <a:cubicBezTo>
                  <a:pt x="4327823" y="2658153"/>
                  <a:pt x="4295409" y="2686945"/>
                  <a:pt x="4252494" y="2685496"/>
                </a:cubicBezTo>
                <a:cubicBezTo>
                  <a:pt x="4215868" y="2686713"/>
                  <a:pt x="4183884" y="2660895"/>
                  <a:pt x="4177346" y="2624835"/>
                </a:cubicBezTo>
                <a:cubicBezTo>
                  <a:pt x="4173544" y="2588620"/>
                  <a:pt x="4203785" y="2560552"/>
                  <a:pt x="4245432" y="2559828"/>
                </a:cubicBezTo>
                <a:close/>
                <a:moveTo>
                  <a:pt x="3742036" y="2514196"/>
                </a:moveTo>
                <a:cubicBezTo>
                  <a:pt x="3784590" y="2513472"/>
                  <a:pt x="3814468" y="2538279"/>
                  <a:pt x="3812295" y="2573589"/>
                </a:cubicBezTo>
                <a:cubicBezTo>
                  <a:pt x="3810122" y="2608900"/>
                  <a:pt x="3776440" y="2637691"/>
                  <a:pt x="3733525" y="2638416"/>
                </a:cubicBezTo>
                <a:cubicBezTo>
                  <a:pt x="3689523" y="2638416"/>
                  <a:pt x="3659826" y="2612702"/>
                  <a:pt x="3663267" y="2576486"/>
                </a:cubicBezTo>
                <a:cubicBezTo>
                  <a:pt x="3666708" y="2540271"/>
                  <a:pt x="3699483" y="2514920"/>
                  <a:pt x="3742036" y="2514196"/>
                </a:cubicBezTo>
                <a:close/>
                <a:moveTo>
                  <a:pt x="3249687" y="2485950"/>
                </a:moveTo>
                <a:cubicBezTo>
                  <a:pt x="3291697" y="2485950"/>
                  <a:pt x="3317048" y="2509670"/>
                  <a:pt x="3309805" y="2544256"/>
                </a:cubicBezTo>
                <a:cubicBezTo>
                  <a:pt x="3298237" y="2582998"/>
                  <a:pt x="3262031" y="2609093"/>
                  <a:pt x="3221619" y="2607815"/>
                </a:cubicBezTo>
                <a:cubicBezTo>
                  <a:pt x="3177800" y="2607815"/>
                  <a:pt x="3152629" y="2582645"/>
                  <a:pt x="3161865" y="2547154"/>
                </a:cubicBezTo>
                <a:cubicBezTo>
                  <a:pt x="3174651" y="2509779"/>
                  <a:pt x="3210196" y="2485007"/>
                  <a:pt x="3249687" y="2485950"/>
                </a:cubicBezTo>
                <a:close/>
                <a:moveTo>
                  <a:pt x="2772383" y="2443758"/>
                </a:moveTo>
                <a:cubicBezTo>
                  <a:pt x="2812581" y="2443758"/>
                  <a:pt x="2834131" y="2468745"/>
                  <a:pt x="2820550" y="2501702"/>
                </a:cubicBezTo>
                <a:cubicBezTo>
                  <a:pt x="2801380" y="2538570"/>
                  <a:pt x="2762858" y="2561274"/>
                  <a:pt x="2721318" y="2560191"/>
                </a:cubicBezTo>
                <a:cubicBezTo>
                  <a:pt x="2683835" y="2558742"/>
                  <a:pt x="2665003" y="2534477"/>
                  <a:pt x="2676955" y="2503695"/>
                </a:cubicBezTo>
                <a:cubicBezTo>
                  <a:pt x="2695097" y="2467491"/>
                  <a:pt x="2731894" y="2444389"/>
                  <a:pt x="2772383" y="2443758"/>
                </a:cubicBezTo>
                <a:close/>
                <a:moveTo>
                  <a:pt x="2285460" y="2416958"/>
                </a:moveTo>
                <a:cubicBezTo>
                  <a:pt x="2319863" y="2417863"/>
                  <a:pt x="2336341" y="2441765"/>
                  <a:pt x="2321674" y="2470196"/>
                </a:cubicBezTo>
                <a:cubicBezTo>
                  <a:pt x="2297952" y="2506012"/>
                  <a:pt x="2258315" y="2528089"/>
                  <a:pt x="2215381" y="2529407"/>
                </a:cubicBezTo>
                <a:cubicBezTo>
                  <a:pt x="2179528" y="2528502"/>
                  <a:pt x="2163773" y="2502970"/>
                  <a:pt x="2180251" y="2473998"/>
                </a:cubicBezTo>
                <a:cubicBezTo>
                  <a:pt x="2204388" y="2439489"/>
                  <a:pt x="2243373" y="2418357"/>
                  <a:pt x="2285460" y="2416958"/>
                </a:cubicBezTo>
                <a:close/>
                <a:moveTo>
                  <a:pt x="1830592" y="2376760"/>
                </a:moveTo>
                <a:cubicBezTo>
                  <a:pt x="1863367" y="2378028"/>
                  <a:pt x="1876223" y="2402835"/>
                  <a:pt x="1857029" y="2429454"/>
                </a:cubicBezTo>
                <a:cubicBezTo>
                  <a:pt x="1830048" y="2460350"/>
                  <a:pt x="1792294" y="2479781"/>
                  <a:pt x="1751460" y="2483777"/>
                </a:cubicBezTo>
                <a:cubicBezTo>
                  <a:pt x="1712347" y="2485045"/>
                  <a:pt x="1699310" y="2456253"/>
                  <a:pt x="1724660" y="2426376"/>
                </a:cubicBezTo>
                <a:cubicBezTo>
                  <a:pt x="1752619" y="2397297"/>
                  <a:pt x="1790356" y="2379619"/>
                  <a:pt x="1830592" y="2376760"/>
                </a:cubicBezTo>
                <a:close/>
                <a:moveTo>
                  <a:pt x="7166577" y="2374043"/>
                </a:moveTo>
                <a:cubicBezTo>
                  <a:pt x="7203498" y="2376370"/>
                  <a:pt x="7238392" y="2391702"/>
                  <a:pt x="7265083" y="2417321"/>
                </a:cubicBezTo>
                <a:cubicBezTo>
                  <a:pt x="7292605" y="2443396"/>
                  <a:pt x="7288623" y="2460055"/>
                  <a:pt x="7254580" y="2459511"/>
                </a:cubicBezTo>
                <a:cubicBezTo>
                  <a:pt x="7217079" y="2457207"/>
                  <a:pt x="7181697" y="2441381"/>
                  <a:pt x="7154988" y="2414967"/>
                </a:cubicBezTo>
                <a:cubicBezTo>
                  <a:pt x="7128913" y="2389434"/>
                  <a:pt x="7133620" y="2373499"/>
                  <a:pt x="7166577" y="2374043"/>
                </a:cubicBezTo>
                <a:close/>
                <a:moveTo>
                  <a:pt x="1372644" y="2354307"/>
                </a:moveTo>
                <a:cubicBezTo>
                  <a:pt x="1401433" y="2354307"/>
                  <a:pt x="1410850" y="2377848"/>
                  <a:pt x="1390751" y="2400843"/>
                </a:cubicBezTo>
                <a:cubicBezTo>
                  <a:pt x="1360547" y="2430806"/>
                  <a:pt x="1320566" y="2448872"/>
                  <a:pt x="1278120" y="2451726"/>
                </a:cubicBezTo>
                <a:cubicBezTo>
                  <a:pt x="1249691" y="2449555"/>
                  <a:pt x="1245164" y="2423480"/>
                  <a:pt x="1268342" y="2400119"/>
                </a:cubicBezTo>
                <a:cubicBezTo>
                  <a:pt x="1297441" y="2374293"/>
                  <a:pt x="1333928" y="2358267"/>
                  <a:pt x="1372644" y="2354307"/>
                </a:cubicBezTo>
                <a:close/>
                <a:moveTo>
                  <a:pt x="6638192" y="2339640"/>
                </a:moveTo>
                <a:cubicBezTo>
                  <a:pt x="6679314" y="2343607"/>
                  <a:pt x="6717993" y="2360976"/>
                  <a:pt x="6748287" y="2389074"/>
                </a:cubicBezTo>
                <a:cubicBezTo>
                  <a:pt x="6771464" y="2414244"/>
                  <a:pt x="6760961" y="2441224"/>
                  <a:pt x="6728006" y="2440138"/>
                </a:cubicBezTo>
                <a:cubicBezTo>
                  <a:pt x="6686232" y="2434768"/>
                  <a:pt x="6647444" y="2415656"/>
                  <a:pt x="6617730" y="2385815"/>
                </a:cubicBezTo>
                <a:cubicBezTo>
                  <a:pt x="6600708" y="2363723"/>
                  <a:pt x="6611212" y="2340545"/>
                  <a:pt x="6638192" y="2339640"/>
                </a:cubicBezTo>
                <a:close/>
                <a:moveTo>
                  <a:pt x="938235" y="2321713"/>
                </a:moveTo>
                <a:cubicBezTo>
                  <a:pt x="967025" y="2323342"/>
                  <a:pt x="967932" y="2340545"/>
                  <a:pt x="939684" y="2365535"/>
                </a:cubicBezTo>
                <a:cubicBezTo>
                  <a:pt x="912485" y="2389817"/>
                  <a:pt x="877445" y="2403505"/>
                  <a:pt x="840995" y="2404104"/>
                </a:cubicBezTo>
                <a:cubicBezTo>
                  <a:pt x="810936" y="2402474"/>
                  <a:pt x="810936" y="2384547"/>
                  <a:pt x="840995" y="2359377"/>
                </a:cubicBezTo>
                <a:cubicBezTo>
                  <a:pt x="867941" y="2335729"/>
                  <a:pt x="902381" y="2322386"/>
                  <a:pt x="938235" y="2321713"/>
                </a:cubicBezTo>
                <a:close/>
                <a:moveTo>
                  <a:pt x="6137149" y="2295999"/>
                </a:moveTo>
                <a:cubicBezTo>
                  <a:pt x="6178825" y="2297373"/>
                  <a:pt x="6217890" y="2316643"/>
                  <a:pt x="6244347" y="2348873"/>
                </a:cubicBezTo>
                <a:cubicBezTo>
                  <a:pt x="6268067" y="2380019"/>
                  <a:pt x="6256297" y="2403197"/>
                  <a:pt x="6216099" y="2403197"/>
                </a:cubicBezTo>
                <a:cubicBezTo>
                  <a:pt x="6173637" y="2402028"/>
                  <a:pt x="6133864" y="2382140"/>
                  <a:pt x="6107453" y="2348873"/>
                </a:cubicBezTo>
                <a:cubicBezTo>
                  <a:pt x="6085541" y="2318452"/>
                  <a:pt x="6098217" y="2296179"/>
                  <a:pt x="6137149" y="2295999"/>
                </a:cubicBezTo>
                <a:close/>
                <a:moveTo>
                  <a:pt x="5654577" y="2269199"/>
                </a:moveTo>
                <a:cubicBezTo>
                  <a:pt x="5696528" y="2267522"/>
                  <a:pt x="5736274" y="2288014"/>
                  <a:pt x="5759241" y="2323161"/>
                </a:cubicBezTo>
                <a:cubicBezTo>
                  <a:pt x="5779883" y="2357747"/>
                  <a:pt x="5763767" y="2380018"/>
                  <a:pt x="5717774" y="2379294"/>
                </a:cubicBezTo>
                <a:cubicBezTo>
                  <a:pt x="5675114" y="2379978"/>
                  <a:pt x="5635475" y="2357348"/>
                  <a:pt x="5614379" y="2320264"/>
                </a:cubicBezTo>
                <a:cubicBezTo>
                  <a:pt x="5599349" y="2289299"/>
                  <a:pt x="5614379" y="2270106"/>
                  <a:pt x="5654577" y="2269199"/>
                </a:cubicBezTo>
                <a:close/>
                <a:moveTo>
                  <a:pt x="5185950" y="2238598"/>
                </a:moveTo>
                <a:cubicBezTo>
                  <a:pt x="5225243" y="2239503"/>
                  <a:pt x="5277394" y="2269199"/>
                  <a:pt x="5289163" y="2299984"/>
                </a:cubicBezTo>
                <a:cubicBezTo>
                  <a:pt x="5301476" y="2330948"/>
                  <a:pt x="5272867" y="2361731"/>
                  <a:pt x="5231762" y="2360645"/>
                </a:cubicBezTo>
                <a:cubicBezTo>
                  <a:pt x="5190657" y="2359558"/>
                  <a:pt x="5138145" y="2327327"/>
                  <a:pt x="5127642" y="2296723"/>
                </a:cubicBezTo>
                <a:cubicBezTo>
                  <a:pt x="5117140" y="2266122"/>
                  <a:pt x="5146654" y="2237693"/>
                  <a:pt x="5185950" y="2238598"/>
                </a:cubicBezTo>
                <a:close/>
                <a:moveTo>
                  <a:pt x="4724020" y="2200570"/>
                </a:moveTo>
                <a:cubicBezTo>
                  <a:pt x="4767479" y="2202382"/>
                  <a:pt x="4806050" y="2228457"/>
                  <a:pt x="4814559" y="2259059"/>
                </a:cubicBezTo>
                <a:cubicBezTo>
                  <a:pt x="4825607" y="2292921"/>
                  <a:pt x="4795185" y="2322978"/>
                  <a:pt x="4749554" y="2322798"/>
                </a:cubicBezTo>
                <a:cubicBezTo>
                  <a:pt x="4703740" y="2322798"/>
                  <a:pt x="4659015" y="2292377"/>
                  <a:pt x="4652857" y="2258515"/>
                </a:cubicBezTo>
                <a:cubicBezTo>
                  <a:pt x="4646702" y="2224653"/>
                  <a:pt x="4680562" y="2198760"/>
                  <a:pt x="4724020" y="2200570"/>
                </a:cubicBezTo>
                <a:close/>
                <a:moveTo>
                  <a:pt x="4268610" y="2176668"/>
                </a:moveTo>
                <a:cubicBezTo>
                  <a:pt x="4313154" y="2176668"/>
                  <a:pt x="4351181" y="2202382"/>
                  <a:pt x="4355164" y="2235880"/>
                </a:cubicBezTo>
                <a:cubicBezTo>
                  <a:pt x="4359148" y="2269379"/>
                  <a:pt x="4325467" y="2297808"/>
                  <a:pt x="4279111" y="2297808"/>
                </a:cubicBezTo>
                <a:cubicBezTo>
                  <a:pt x="4232755" y="2297808"/>
                  <a:pt x="4194367" y="2270284"/>
                  <a:pt x="4192377" y="2236061"/>
                </a:cubicBezTo>
                <a:cubicBezTo>
                  <a:pt x="4190384" y="2201838"/>
                  <a:pt x="4224246" y="2176668"/>
                  <a:pt x="4268610" y="2176668"/>
                </a:cubicBezTo>
                <a:close/>
                <a:moveTo>
                  <a:pt x="3815916" y="2141540"/>
                </a:moveTo>
                <a:cubicBezTo>
                  <a:pt x="3861186" y="2142989"/>
                  <a:pt x="3890883" y="2168701"/>
                  <a:pt x="3887079" y="2202926"/>
                </a:cubicBezTo>
                <a:cubicBezTo>
                  <a:pt x="3883277" y="2237693"/>
                  <a:pt x="3847061" y="2261956"/>
                  <a:pt x="3798896" y="2261232"/>
                </a:cubicBezTo>
                <a:cubicBezTo>
                  <a:pt x="3748011" y="2261232"/>
                  <a:pt x="3717048" y="2231716"/>
                  <a:pt x="3725377" y="2194415"/>
                </a:cubicBezTo>
                <a:cubicBezTo>
                  <a:pt x="3732981" y="2161277"/>
                  <a:pt x="3770647" y="2140092"/>
                  <a:pt x="3815916" y="2141540"/>
                </a:cubicBezTo>
                <a:close/>
                <a:moveTo>
                  <a:pt x="3375717" y="2118906"/>
                </a:moveTo>
                <a:cubicBezTo>
                  <a:pt x="3421529" y="2118906"/>
                  <a:pt x="3449597" y="2140816"/>
                  <a:pt x="3443983" y="2173229"/>
                </a:cubicBezTo>
                <a:cubicBezTo>
                  <a:pt x="3437827" y="2209444"/>
                  <a:pt x="3395998" y="2236968"/>
                  <a:pt x="3345477" y="2235882"/>
                </a:cubicBezTo>
                <a:cubicBezTo>
                  <a:pt x="3298216" y="2235882"/>
                  <a:pt x="3273046" y="2209988"/>
                  <a:pt x="3282281" y="2175402"/>
                </a:cubicBezTo>
                <a:cubicBezTo>
                  <a:pt x="3291517" y="2140816"/>
                  <a:pt x="3330086" y="2118906"/>
                  <a:pt x="3375717" y="2118906"/>
                </a:cubicBezTo>
                <a:close/>
                <a:moveTo>
                  <a:pt x="7761054" y="2097357"/>
                </a:moveTo>
                <a:cubicBezTo>
                  <a:pt x="7795296" y="2098252"/>
                  <a:pt x="7828523" y="2109141"/>
                  <a:pt x="7856663" y="2128683"/>
                </a:cubicBezTo>
                <a:cubicBezTo>
                  <a:pt x="7887808" y="2149326"/>
                  <a:pt x="7890344" y="2164898"/>
                  <a:pt x="7862277" y="2164898"/>
                </a:cubicBezTo>
                <a:cubicBezTo>
                  <a:pt x="7827293" y="2163092"/>
                  <a:pt x="7793612" y="2151068"/>
                  <a:pt x="7765400" y="2130314"/>
                </a:cubicBezTo>
                <a:cubicBezTo>
                  <a:pt x="7739144" y="2110938"/>
                  <a:pt x="7738239" y="2099893"/>
                  <a:pt x="7761054" y="2097357"/>
                </a:cubicBezTo>
                <a:close/>
                <a:moveTo>
                  <a:pt x="2955435" y="2086854"/>
                </a:moveTo>
                <a:cubicBezTo>
                  <a:pt x="2997988" y="2086854"/>
                  <a:pt x="3022795" y="2112385"/>
                  <a:pt x="3009938" y="2143531"/>
                </a:cubicBezTo>
                <a:cubicBezTo>
                  <a:pt x="2996901" y="2175400"/>
                  <a:pt x="2950908" y="2200934"/>
                  <a:pt x="2906543" y="2200209"/>
                </a:cubicBezTo>
                <a:cubicBezTo>
                  <a:pt x="2862200" y="2199485"/>
                  <a:pt x="2838840" y="2173227"/>
                  <a:pt x="2852964" y="2141177"/>
                </a:cubicBezTo>
                <a:cubicBezTo>
                  <a:pt x="2867087" y="2109127"/>
                  <a:pt x="2912881" y="2086854"/>
                  <a:pt x="2955435" y="2086854"/>
                </a:cubicBezTo>
                <a:close/>
                <a:moveTo>
                  <a:pt x="7293329" y="2068385"/>
                </a:moveTo>
                <a:cubicBezTo>
                  <a:pt x="7332786" y="2071480"/>
                  <a:pt x="7370741" y="2084839"/>
                  <a:pt x="7403424" y="2107136"/>
                </a:cubicBezTo>
                <a:cubicBezTo>
                  <a:pt x="7430586" y="2127597"/>
                  <a:pt x="7428957" y="2150412"/>
                  <a:pt x="7399983" y="2150595"/>
                </a:cubicBezTo>
                <a:cubicBezTo>
                  <a:pt x="7362682" y="2146661"/>
                  <a:pt x="7326866" y="2133873"/>
                  <a:pt x="7295502" y="2113292"/>
                </a:cubicBezTo>
                <a:cubicBezTo>
                  <a:pt x="7267617" y="2093192"/>
                  <a:pt x="7266710" y="2070197"/>
                  <a:pt x="7293329" y="2068385"/>
                </a:cubicBezTo>
                <a:close/>
                <a:moveTo>
                  <a:pt x="2535537" y="2065125"/>
                </a:moveTo>
                <a:cubicBezTo>
                  <a:pt x="2577540" y="2065849"/>
                  <a:pt x="2599454" y="2091200"/>
                  <a:pt x="2581348" y="2121260"/>
                </a:cubicBezTo>
                <a:cubicBezTo>
                  <a:pt x="2563238" y="2151862"/>
                  <a:pt x="2510908" y="2177756"/>
                  <a:pt x="2468898" y="2175583"/>
                </a:cubicBezTo>
                <a:cubicBezTo>
                  <a:pt x="2426890" y="2173410"/>
                  <a:pt x="2408780" y="2145162"/>
                  <a:pt x="2430146" y="2115283"/>
                </a:cubicBezTo>
                <a:cubicBezTo>
                  <a:pt x="2456605" y="2084415"/>
                  <a:pt x="2494903" y="2066193"/>
                  <a:pt x="2535537" y="2065125"/>
                </a:cubicBezTo>
                <a:close/>
                <a:moveTo>
                  <a:pt x="2132635" y="2034704"/>
                </a:moveTo>
                <a:cubicBezTo>
                  <a:pt x="2168853" y="2034704"/>
                  <a:pt x="2186958" y="2058969"/>
                  <a:pt x="2170120" y="2084862"/>
                </a:cubicBezTo>
                <a:cubicBezTo>
                  <a:pt x="2153279" y="2110756"/>
                  <a:pt x="2093340" y="2141540"/>
                  <a:pt x="2052781" y="2141177"/>
                </a:cubicBezTo>
                <a:cubicBezTo>
                  <a:pt x="2015477" y="2141177"/>
                  <a:pt x="1998456" y="2115282"/>
                  <a:pt x="2016563" y="2089027"/>
                </a:cubicBezTo>
                <a:cubicBezTo>
                  <a:pt x="2034672" y="2062771"/>
                  <a:pt x="2093704" y="2034704"/>
                  <a:pt x="2132635" y="2034704"/>
                </a:cubicBezTo>
                <a:close/>
                <a:moveTo>
                  <a:pt x="6833392" y="2031986"/>
                </a:moveTo>
                <a:cubicBezTo>
                  <a:pt x="6873537" y="2033773"/>
                  <a:pt x="6911890" y="2049237"/>
                  <a:pt x="6942039" y="2075808"/>
                </a:cubicBezTo>
                <a:cubicBezTo>
                  <a:pt x="6974089" y="2104600"/>
                  <a:pt x="6967390" y="2123069"/>
                  <a:pt x="6923931" y="2121801"/>
                </a:cubicBezTo>
                <a:cubicBezTo>
                  <a:pt x="6883550" y="2119790"/>
                  <a:pt x="6845145" y="2103783"/>
                  <a:pt x="6815285" y="2076532"/>
                </a:cubicBezTo>
                <a:cubicBezTo>
                  <a:pt x="6785227" y="2048284"/>
                  <a:pt x="6793011" y="2030901"/>
                  <a:pt x="6833392" y="2031986"/>
                </a:cubicBezTo>
                <a:close/>
                <a:moveTo>
                  <a:pt x="1711085" y="2017320"/>
                </a:moveTo>
                <a:cubicBezTo>
                  <a:pt x="1745311" y="2017864"/>
                  <a:pt x="1758165" y="2040317"/>
                  <a:pt x="1737524" y="2064581"/>
                </a:cubicBezTo>
                <a:cubicBezTo>
                  <a:pt x="1707084" y="2093785"/>
                  <a:pt x="1667483" y="2111570"/>
                  <a:pt x="1625435" y="2114921"/>
                </a:cubicBezTo>
                <a:cubicBezTo>
                  <a:pt x="1589221" y="2116189"/>
                  <a:pt x="1573830" y="2093916"/>
                  <a:pt x="1594293" y="2068746"/>
                </a:cubicBezTo>
                <a:cubicBezTo>
                  <a:pt x="1625817" y="2038178"/>
                  <a:pt x="1667247" y="2019932"/>
                  <a:pt x="1711085" y="2017320"/>
                </a:cubicBezTo>
                <a:close/>
                <a:moveTo>
                  <a:pt x="6383959" y="2006094"/>
                </a:moveTo>
                <a:cubicBezTo>
                  <a:pt x="6427525" y="2008681"/>
                  <a:pt x="6468992" y="2025690"/>
                  <a:pt x="6501838" y="2054442"/>
                </a:cubicBezTo>
                <a:cubicBezTo>
                  <a:pt x="6524474" y="2078164"/>
                  <a:pt x="6515783" y="2102791"/>
                  <a:pt x="6483731" y="2105325"/>
                </a:cubicBezTo>
                <a:cubicBezTo>
                  <a:pt x="6439204" y="2103433"/>
                  <a:pt x="6396566" y="2086738"/>
                  <a:pt x="6362590" y="2057883"/>
                </a:cubicBezTo>
                <a:cubicBezTo>
                  <a:pt x="6337240" y="2033074"/>
                  <a:pt x="6348648" y="2007181"/>
                  <a:pt x="6383959" y="2006094"/>
                </a:cubicBezTo>
                <a:close/>
                <a:moveTo>
                  <a:pt x="1317960" y="1992152"/>
                </a:moveTo>
                <a:cubicBezTo>
                  <a:pt x="1353090" y="1992152"/>
                  <a:pt x="1360696" y="2010260"/>
                  <a:pt x="1336069" y="2033801"/>
                </a:cubicBezTo>
                <a:cubicBezTo>
                  <a:pt x="1306209" y="2060199"/>
                  <a:pt x="1268146" y="2075486"/>
                  <a:pt x="1228328" y="2077077"/>
                </a:cubicBezTo>
                <a:cubicBezTo>
                  <a:pt x="1192111" y="2077077"/>
                  <a:pt x="1185412" y="2058969"/>
                  <a:pt x="1212031" y="2034162"/>
                </a:cubicBezTo>
                <a:cubicBezTo>
                  <a:pt x="1241636" y="2008678"/>
                  <a:pt x="1278938" y="1993884"/>
                  <a:pt x="1317960" y="1992152"/>
                </a:cubicBezTo>
                <a:close/>
                <a:moveTo>
                  <a:pt x="925203" y="1974044"/>
                </a:moveTo>
                <a:cubicBezTo>
                  <a:pt x="953994" y="1974044"/>
                  <a:pt x="959609" y="1992152"/>
                  <a:pt x="936792" y="2011708"/>
                </a:cubicBezTo>
                <a:cubicBezTo>
                  <a:pt x="904489" y="2036468"/>
                  <a:pt x="865520" y="2050973"/>
                  <a:pt x="824886" y="2053357"/>
                </a:cubicBezTo>
                <a:cubicBezTo>
                  <a:pt x="796999" y="2051908"/>
                  <a:pt x="795733" y="2031989"/>
                  <a:pt x="821808" y="2011889"/>
                </a:cubicBezTo>
                <a:cubicBezTo>
                  <a:pt x="852338" y="1990389"/>
                  <a:pt x="888010" y="1977335"/>
                  <a:pt x="925203" y="1974044"/>
                </a:cubicBezTo>
                <a:close/>
                <a:moveTo>
                  <a:pt x="5943035" y="1972776"/>
                </a:moveTo>
                <a:cubicBezTo>
                  <a:pt x="5986124" y="1973460"/>
                  <a:pt x="6027070" y="1991709"/>
                  <a:pt x="6056388" y="2023297"/>
                </a:cubicBezTo>
                <a:cubicBezTo>
                  <a:pt x="6079566" y="2052630"/>
                  <a:pt x="6064175" y="2076171"/>
                  <a:pt x="6021802" y="2076352"/>
                </a:cubicBezTo>
                <a:cubicBezTo>
                  <a:pt x="5977767" y="2075755"/>
                  <a:pt x="5936022" y="2056624"/>
                  <a:pt x="5906819" y="2023658"/>
                </a:cubicBezTo>
                <a:cubicBezTo>
                  <a:pt x="5885995" y="1995049"/>
                  <a:pt x="5902473" y="1972776"/>
                  <a:pt x="5943035" y="1972776"/>
                </a:cubicBezTo>
                <a:close/>
                <a:moveTo>
                  <a:pt x="5524383" y="1950322"/>
                </a:moveTo>
                <a:cubicBezTo>
                  <a:pt x="5571283" y="1952314"/>
                  <a:pt x="5614198" y="1975673"/>
                  <a:pt x="5630676" y="2007181"/>
                </a:cubicBezTo>
                <a:cubicBezTo>
                  <a:pt x="5647155" y="2038870"/>
                  <a:pt x="5624338" y="2060056"/>
                  <a:pt x="5575265" y="2057883"/>
                </a:cubicBezTo>
                <a:cubicBezTo>
                  <a:pt x="5526195" y="2055710"/>
                  <a:pt x="5483097" y="2030903"/>
                  <a:pt x="5468250" y="1998670"/>
                </a:cubicBezTo>
                <a:cubicBezTo>
                  <a:pt x="5453400" y="1966439"/>
                  <a:pt x="5477483" y="1948332"/>
                  <a:pt x="5524383" y="1950322"/>
                </a:cubicBezTo>
                <a:close/>
                <a:moveTo>
                  <a:pt x="546202" y="1950322"/>
                </a:moveTo>
                <a:cubicBezTo>
                  <a:pt x="575355" y="1950322"/>
                  <a:pt x="574994" y="1964989"/>
                  <a:pt x="545115" y="1985089"/>
                </a:cubicBezTo>
                <a:cubicBezTo>
                  <a:pt x="518515" y="2003489"/>
                  <a:pt x="487261" y="2014033"/>
                  <a:pt x="454939" y="2015510"/>
                </a:cubicBezTo>
                <a:cubicBezTo>
                  <a:pt x="425062" y="2015510"/>
                  <a:pt x="426328" y="2000480"/>
                  <a:pt x="457473" y="1979294"/>
                </a:cubicBezTo>
                <a:cubicBezTo>
                  <a:pt x="483893" y="1961804"/>
                  <a:pt x="514549" y="1951791"/>
                  <a:pt x="546202" y="1950322"/>
                </a:cubicBezTo>
                <a:close/>
                <a:moveTo>
                  <a:pt x="162318" y="1934388"/>
                </a:moveTo>
                <a:cubicBezTo>
                  <a:pt x="184952" y="1934388"/>
                  <a:pt x="185313" y="1946701"/>
                  <a:pt x="163404" y="1961731"/>
                </a:cubicBezTo>
                <a:cubicBezTo>
                  <a:pt x="137256" y="1978210"/>
                  <a:pt x="107740" y="1988607"/>
                  <a:pt x="77030" y="1992152"/>
                </a:cubicBezTo>
                <a:cubicBezTo>
                  <a:pt x="49143" y="1993781"/>
                  <a:pt x="49506" y="1978934"/>
                  <a:pt x="77030" y="1961731"/>
                </a:cubicBezTo>
                <a:cubicBezTo>
                  <a:pt x="102997" y="1946220"/>
                  <a:pt x="132167" y="1936865"/>
                  <a:pt x="162318" y="1934388"/>
                </a:cubicBezTo>
                <a:close/>
                <a:moveTo>
                  <a:pt x="5080200" y="1916643"/>
                </a:moveTo>
                <a:cubicBezTo>
                  <a:pt x="5122752" y="1916279"/>
                  <a:pt x="5174360" y="1942174"/>
                  <a:pt x="5188846" y="1970785"/>
                </a:cubicBezTo>
                <a:cubicBezTo>
                  <a:pt x="5203694" y="1999575"/>
                  <a:pt x="5177438" y="2029455"/>
                  <a:pt x="5134523" y="2031627"/>
                </a:cubicBezTo>
                <a:cubicBezTo>
                  <a:pt x="5091607" y="2033800"/>
                  <a:pt x="5031128" y="2003379"/>
                  <a:pt x="5019539" y="1972415"/>
                </a:cubicBezTo>
                <a:cubicBezTo>
                  <a:pt x="5007950" y="1941450"/>
                  <a:pt x="5037646" y="1917004"/>
                  <a:pt x="5080200" y="1916643"/>
                </a:cubicBezTo>
                <a:close/>
                <a:moveTo>
                  <a:pt x="4671688" y="1896180"/>
                </a:moveTo>
                <a:cubicBezTo>
                  <a:pt x="4718044" y="1895999"/>
                  <a:pt x="4765306" y="1922255"/>
                  <a:pt x="4774359" y="1953220"/>
                </a:cubicBezTo>
                <a:cubicBezTo>
                  <a:pt x="4783595" y="1984909"/>
                  <a:pt x="4749189" y="2013157"/>
                  <a:pt x="4701928" y="2012252"/>
                </a:cubicBezTo>
                <a:cubicBezTo>
                  <a:pt x="4654667" y="2011347"/>
                  <a:pt x="4605595" y="1981648"/>
                  <a:pt x="4601068" y="1950505"/>
                </a:cubicBezTo>
                <a:cubicBezTo>
                  <a:pt x="4596542" y="1919358"/>
                  <a:pt x="4629316" y="1896180"/>
                  <a:pt x="4671688" y="1896180"/>
                </a:cubicBezTo>
                <a:close/>
                <a:moveTo>
                  <a:pt x="4280199" y="1867207"/>
                </a:moveTo>
                <a:cubicBezTo>
                  <a:pt x="4326555" y="1870285"/>
                  <a:pt x="4363314" y="1896903"/>
                  <a:pt x="4363675" y="1928229"/>
                </a:cubicBezTo>
                <a:cubicBezTo>
                  <a:pt x="4364038" y="1959557"/>
                  <a:pt x="4325287" y="1984908"/>
                  <a:pt x="4276216" y="1982915"/>
                </a:cubicBezTo>
                <a:cubicBezTo>
                  <a:pt x="4227505" y="1980923"/>
                  <a:pt x="4189479" y="1953399"/>
                  <a:pt x="4189660" y="1921530"/>
                </a:cubicBezTo>
                <a:cubicBezTo>
                  <a:pt x="4189841" y="1889660"/>
                  <a:pt x="4230585" y="1865034"/>
                  <a:pt x="4280199" y="1867207"/>
                </a:cubicBezTo>
                <a:close/>
                <a:moveTo>
                  <a:pt x="3878389" y="1849824"/>
                </a:moveTo>
                <a:cubicBezTo>
                  <a:pt x="3924201" y="1850909"/>
                  <a:pt x="3960780" y="1874087"/>
                  <a:pt x="3959873" y="1905052"/>
                </a:cubicBezTo>
                <a:cubicBezTo>
                  <a:pt x="3958968" y="1936741"/>
                  <a:pt x="3920579" y="1962272"/>
                  <a:pt x="3871870" y="1962997"/>
                </a:cubicBezTo>
                <a:cubicBezTo>
                  <a:pt x="3820444" y="1962997"/>
                  <a:pt x="3782599" y="1936378"/>
                  <a:pt x="3787850" y="1903060"/>
                </a:cubicBezTo>
                <a:cubicBezTo>
                  <a:pt x="3792739" y="1872458"/>
                  <a:pt x="3832576" y="1848737"/>
                  <a:pt x="3878389" y="1849824"/>
                </a:cubicBezTo>
                <a:close/>
                <a:moveTo>
                  <a:pt x="7838916" y="1838961"/>
                </a:moveTo>
                <a:cubicBezTo>
                  <a:pt x="7870044" y="1841284"/>
                  <a:pt x="7900121" y="1851166"/>
                  <a:pt x="7926557" y="1867751"/>
                </a:cubicBezTo>
                <a:cubicBezTo>
                  <a:pt x="7956798" y="1885859"/>
                  <a:pt x="7956617" y="1899079"/>
                  <a:pt x="7926557" y="1897992"/>
                </a:cubicBezTo>
                <a:cubicBezTo>
                  <a:pt x="7894832" y="1895654"/>
                  <a:pt x="7864158" y="1885515"/>
                  <a:pt x="7837287" y="1868476"/>
                </a:cubicBezTo>
                <a:cubicBezTo>
                  <a:pt x="7808134" y="1850368"/>
                  <a:pt x="7809039" y="1837874"/>
                  <a:pt x="7838916" y="1838961"/>
                </a:cubicBezTo>
                <a:close/>
                <a:moveTo>
                  <a:pt x="3488708" y="1823388"/>
                </a:moveTo>
                <a:cubicBezTo>
                  <a:pt x="3538685" y="1823388"/>
                  <a:pt x="3571823" y="1846929"/>
                  <a:pt x="3564036" y="1879521"/>
                </a:cubicBezTo>
                <a:cubicBezTo>
                  <a:pt x="3556251" y="1912117"/>
                  <a:pt x="3514422" y="1934570"/>
                  <a:pt x="3465169" y="1934207"/>
                </a:cubicBezTo>
                <a:cubicBezTo>
                  <a:pt x="3416096" y="1934207"/>
                  <a:pt x="3385314" y="1909400"/>
                  <a:pt x="3392738" y="1877711"/>
                </a:cubicBezTo>
                <a:cubicBezTo>
                  <a:pt x="3400161" y="1846022"/>
                  <a:pt x="3441810" y="1823388"/>
                  <a:pt x="3488708" y="1823388"/>
                </a:cubicBezTo>
                <a:close/>
                <a:moveTo>
                  <a:pt x="7411935" y="1814152"/>
                </a:moveTo>
                <a:cubicBezTo>
                  <a:pt x="7450687" y="1816950"/>
                  <a:pt x="7488007" y="1830013"/>
                  <a:pt x="7520040" y="1851997"/>
                </a:cubicBezTo>
                <a:cubicBezTo>
                  <a:pt x="7548288" y="1872821"/>
                  <a:pt x="7543035" y="1888212"/>
                  <a:pt x="7507907" y="1886583"/>
                </a:cubicBezTo>
                <a:cubicBezTo>
                  <a:pt x="7471167" y="1883161"/>
                  <a:pt x="7435838" y="1870720"/>
                  <a:pt x="7405055" y="1850367"/>
                </a:cubicBezTo>
                <a:cubicBezTo>
                  <a:pt x="7376444" y="1829906"/>
                  <a:pt x="7379705" y="1814152"/>
                  <a:pt x="7411935" y="1814152"/>
                </a:cubicBezTo>
                <a:close/>
                <a:moveTo>
                  <a:pt x="3095951" y="1805824"/>
                </a:moveTo>
                <a:cubicBezTo>
                  <a:pt x="3141582" y="1805641"/>
                  <a:pt x="3170374" y="1827553"/>
                  <a:pt x="3160776" y="1857250"/>
                </a:cubicBezTo>
                <a:cubicBezTo>
                  <a:pt x="3151179" y="1887671"/>
                  <a:pt x="3106452" y="1913202"/>
                  <a:pt x="3058106" y="1914651"/>
                </a:cubicBezTo>
                <a:cubicBezTo>
                  <a:pt x="3006861" y="1916280"/>
                  <a:pt x="2977164" y="1890748"/>
                  <a:pt x="2991470" y="1858516"/>
                </a:cubicBezTo>
                <a:cubicBezTo>
                  <a:pt x="3005773" y="1826285"/>
                  <a:pt x="3050319" y="1806004"/>
                  <a:pt x="3095951" y="1805824"/>
                </a:cubicBezTo>
                <a:close/>
                <a:moveTo>
                  <a:pt x="6991472" y="1791155"/>
                </a:moveTo>
                <a:cubicBezTo>
                  <a:pt x="7033790" y="1793767"/>
                  <a:pt x="7074695" y="1807441"/>
                  <a:pt x="7110078" y="1830811"/>
                </a:cubicBezTo>
                <a:cubicBezTo>
                  <a:pt x="7138870" y="1852178"/>
                  <a:pt x="7134161" y="1874270"/>
                  <a:pt x="7100299" y="1874451"/>
                </a:cubicBezTo>
                <a:cubicBezTo>
                  <a:pt x="7057149" y="1871375"/>
                  <a:pt x="7015665" y="1856465"/>
                  <a:pt x="6980427" y="1831353"/>
                </a:cubicBezTo>
                <a:cubicBezTo>
                  <a:pt x="6957430" y="1811979"/>
                  <a:pt x="6962319" y="1792603"/>
                  <a:pt x="6991472" y="1791155"/>
                </a:cubicBezTo>
                <a:close/>
                <a:moveTo>
                  <a:pt x="2720782" y="1789345"/>
                </a:moveTo>
                <a:cubicBezTo>
                  <a:pt x="2764600" y="1789345"/>
                  <a:pt x="2790315" y="1813247"/>
                  <a:pt x="2775104" y="1841495"/>
                </a:cubicBezTo>
                <a:cubicBezTo>
                  <a:pt x="2759893" y="1869744"/>
                  <a:pt x="2704661" y="1895819"/>
                  <a:pt x="2659937" y="1895819"/>
                </a:cubicBezTo>
                <a:cubicBezTo>
                  <a:pt x="2618107" y="1894733"/>
                  <a:pt x="2594751" y="1870287"/>
                  <a:pt x="2609240" y="1843307"/>
                </a:cubicBezTo>
                <a:cubicBezTo>
                  <a:pt x="2623722" y="1816325"/>
                  <a:pt x="2676960" y="1789708"/>
                  <a:pt x="2720782" y="1789345"/>
                </a:cubicBezTo>
                <a:close/>
                <a:moveTo>
                  <a:pt x="2355367" y="1765623"/>
                </a:moveTo>
                <a:cubicBezTo>
                  <a:pt x="2395385" y="1765080"/>
                  <a:pt x="2418380" y="1787172"/>
                  <a:pt x="2402623" y="1812342"/>
                </a:cubicBezTo>
                <a:cubicBezTo>
                  <a:pt x="2387054" y="1838054"/>
                  <a:pt x="2332730" y="1863949"/>
                  <a:pt x="2289089" y="1866666"/>
                </a:cubicBezTo>
                <a:cubicBezTo>
                  <a:pt x="2245450" y="1869380"/>
                  <a:pt x="2220642" y="1842400"/>
                  <a:pt x="2241469" y="1815057"/>
                </a:cubicBezTo>
                <a:cubicBezTo>
                  <a:pt x="2262289" y="1787716"/>
                  <a:pt x="2315347" y="1766167"/>
                  <a:pt x="2355367" y="1765623"/>
                </a:cubicBezTo>
                <a:close/>
                <a:moveTo>
                  <a:pt x="6583144" y="1762726"/>
                </a:moveTo>
                <a:cubicBezTo>
                  <a:pt x="6625245" y="1763912"/>
                  <a:pt x="6665771" y="1779073"/>
                  <a:pt x="6698310" y="1805821"/>
                </a:cubicBezTo>
                <a:cubicBezTo>
                  <a:pt x="6729094" y="1832984"/>
                  <a:pt x="6718410" y="1852360"/>
                  <a:pt x="6672597" y="1850548"/>
                </a:cubicBezTo>
                <a:cubicBezTo>
                  <a:pt x="6629827" y="1848635"/>
                  <a:pt x="6588994" y="1832151"/>
                  <a:pt x="6556888" y="1803831"/>
                </a:cubicBezTo>
                <a:cubicBezTo>
                  <a:pt x="6532081" y="1778841"/>
                  <a:pt x="6542946" y="1762182"/>
                  <a:pt x="6583144" y="1762726"/>
                </a:cubicBezTo>
                <a:close/>
                <a:moveTo>
                  <a:pt x="1988498" y="1752586"/>
                </a:moveTo>
                <a:cubicBezTo>
                  <a:pt x="2031232" y="1752586"/>
                  <a:pt x="2045903" y="1769606"/>
                  <a:pt x="2024715" y="1796044"/>
                </a:cubicBezTo>
                <a:cubicBezTo>
                  <a:pt x="1994982" y="1826687"/>
                  <a:pt x="1954059" y="1843885"/>
                  <a:pt x="1911358" y="1843668"/>
                </a:cubicBezTo>
                <a:cubicBezTo>
                  <a:pt x="1866814" y="1843668"/>
                  <a:pt x="1853052" y="1825560"/>
                  <a:pt x="1877134" y="1798398"/>
                </a:cubicBezTo>
                <a:cubicBezTo>
                  <a:pt x="1906778" y="1769068"/>
                  <a:pt x="1946793" y="1752605"/>
                  <a:pt x="1988498" y="1752586"/>
                </a:cubicBezTo>
                <a:close/>
                <a:moveTo>
                  <a:pt x="6167934" y="1742082"/>
                </a:moveTo>
                <a:cubicBezTo>
                  <a:pt x="6210788" y="1743314"/>
                  <a:pt x="6252138" y="1758152"/>
                  <a:pt x="6285994" y="1784455"/>
                </a:cubicBezTo>
                <a:cubicBezTo>
                  <a:pt x="6314244" y="1809806"/>
                  <a:pt x="6303017" y="1835881"/>
                  <a:pt x="6262636" y="1837147"/>
                </a:cubicBezTo>
                <a:cubicBezTo>
                  <a:pt x="6218801" y="1835980"/>
                  <a:pt x="6176561" y="1820457"/>
                  <a:pt x="6142400" y="1792964"/>
                </a:cubicBezTo>
                <a:cubicBezTo>
                  <a:pt x="6116144" y="1767976"/>
                  <a:pt x="6129001" y="1743169"/>
                  <a:pt x="6167934" y="1742082"/>
                </a:cubicBezTo>
                <a:close/>
                <a:moveTo>
                  <a:pt x="1639746" y="1729769"/>
                </a:moveTo>
                <a:cubicBezTo>
                  <a:pt x="1678132" y="1729769"/>
                  <a:pt x="1688092" y="1747877"/>
                  <a:pt x="1663466" y="1771418"/>
                </a:cubicBezTo>
                <a:cubicBezTo>
                  <a:pt x="1632173" y="1798940"/>
                  <a:pt x="1592140" y="1814468"/>
                  <a:pt x="1550476" y="1815238"/>
                </a:cubicBezTo>
                <a:cubicBezTo>
                  <a:pt x="1509190" y="1815238"/>
                  <a:pt x="1497781" y="1798759"/>
                  <a:pt x="1522587" y="1774133"/>
                </a:cubicBezTo>
                <a:cubicBezTo>
                  <a:pt x="1554911" y="1745535"/>
                  <a:pt x="1596592" y="1729755"/>
                  <a:pt x="1639746" y="1729769"/>
                </a:cubicBezTo>
                <a:close/>
                <a:moveTo>
                  <a:pt x="1282656" y="1715102"/>
                </a:moveTo>
                <a:cubicBezTo>
                  <a:pt x="1317241" y="1715102"/>
                  <a:pt x="1325391" y="1735383"/>
                  <a:pt x="1298590" y="1756751"/>
                </a:cubicBezTo>
                <a:cubicBezTo>
                  <a:pt x="1265057" y="1779737"/>
                  <a:pt x="1225978" y="1793362"/>
                  <a:pt x="1185417" y="1796225"/>
                </a:cubicBezTo>
                <a:cubicBezTo>
                  <a:pt x="1149201" y="1796225"/>
                  <a:pt x="1142682" y="1774858"/>
                  <a:pt x="1171112" y="1753310"/>
                </a:cubicBezTo>
                <a:cubicBezTo>
                  <a:pt x="1204341" y="1731096"/>
                  <a:pt x="1242783" y="1717929"/>
                  <a:pt x="1282656" y="1715102"/>
                </a:cubicBezTo>
                <a:close/>
                <a:moveTo>
                  <a:pt x="5774090" y="1714559"/>
                </a:moveTo>
                <a:cubicBezTo>
                  <a:pt x="5814471" y="1713835"/>
                  <a:pt x="5870967" y="1735564"/>
                  <a:pt x="5893240" y="1762727"/>
                </a:cubicBezTo>
                <a:cubicBezTo>
                  <a:pt x="5915874" y="1790612"/>
                  <a:pt x="5896679" y="1814514"/>
                  <a:pt x="5850867" y="1814153"/>
                </a:cubicBezTo>
                <a:cubicBezTo>
                  <a:pt x="5805054" y="1813790"/>
                  <a:pt x="5750187" y="1789526"/>
                  <a:pt x="5732080" y="1761639"/>
                </a:cubicBezTo>
                <a:cubicBezTo>
                  <a:pt x="5713972" y="1733754"/>
                  <a:pt x="5733709" y="1715283"/>
                  <a:pt x="5774090" y="1714559"/>
                </a:cubicBezTo>
                <a:close/>
                <a:moveTo>
                  <a:pt x="5395276" y="1697538"/>
                </a:moveTo>
                <a:cubicBezTo>
                  <a:pt x="5442898" y="1697538"/>
                  <a:pt x="5490341" y="1718543"/>
                  <a:pt x="5508629" y="1748059"/>
                </a:cubicBezTo>
                <a:cubicBezTo>
                  <a:pt x="5526918" y="1777575"/>
                  <a:pt x="5503740" y="1799665"/>
                  <a:pt x="5453221" y="1798580"/>
                </a:cubicBezTo>
                <a:cubicBezTo>
                  <a:pt x="5403785" y="1797673"/>
                  <a:pt x="5355619" y="1773953"/>
                  <a:pt x="5340953" y="1744257"/>
                </a:cubicBezTo>
                <a:cubicBezTo>
                  <a:pt x="5327552" y="1716914"/>
                  <a:pt x="5350369" y="1697538"/>
                  <a:pt x="5395276" y="1697538"/>
                </a:cubicBezTo>
                <a:close/>
                <a:moveTo>
                  <a:pt x="927562" y="1695185"/>
                </a:moveTo>
                <a:cubicBezTo>
                  <a:pt x="959073" y="1695185"/>
                  <a:pt x="963779" y="1707859"/>
                  <a:pt x="938428" y="1727418"/>
                </a:cubicBezTo>
                <a:cubicBezTo>
                  <a:pt x="907626" y="1750651"/>
                  <a:pt x="870506" y="1763976"/>
                  <a:pt x="831953" y="1765624"/>
                </a:cubicBezTo>
                <a:cubicBezTo>
                  <a:pt x="795738" y="1765624"/>
                  <a:pt x="791392" y="1752225"/>
                  <a:pt x="821813" y="1729408"/>
                </a:cubicBezTo>
                <a:cubicBezTo>
                  <a:pt x="852903" y="1707781"/>
                  <a:pt x="889700" y="1695871"/>
                  <a:pt x="927562" y="1695185"/>
                </a:cubicBezTo>
                <a:close/>
                <a:moveTo>
                  <a:pt x="579889" y="1683596"/>
                </a:moveTo>
                <a:cubicBezTo>
                  <a:pt x="604516" y="1683596"/>
                  <a:pt x="605784" y="1698806"/>
                  <a:pt x="582243" y="1714198"/>
                </a:cubicBezTo>
                <a:cubicBezTo>
                  <a:pt x="552421" y="1731853"/>
                  <a:pt x="518994" y="1742560"/>
                  <a:pt x="484461" y="1745526"/>
                </a:cubicBezTo>
                <a:cubicBezTo>
                  <a:pt x="457662" y="1745526"/>
                  <a:pt x="454222" y="1731944"/>
                  <a:pt x="477037" y="1716190"/>
                </a:cubicBezTo>
                <a:cubicBezTo>
                  <a:pt x="508165" y="1697113"/>
                  <a:pt x="543457" y="1685925"/>
                  <a:pt x="579889" y="1683596"/>
                </a:cubicBezTo>
                <a:close/>
                <a:moveTo>
                  <a:pt x="5012657" y="1670919"/>
                </a:moveTo>
                <a:cubicBezTo>
                  <a:pt x="5056116" y="1669471"/>
                  <a:pt x="5110439" y="1692468"/>
                  <a:pt x="5125650" y="1721077"/>
                </a:cubicBezTo>
                <a:cubicBezTo>
                  <a:pt x="5140860" y="1749688"/>
                  <a:pt x="5112612" y="1776125"/>
                  <a:pt x="5063903" y="1776488"/>
                </a:cubicBezTo>
                <a:cubicBezTo>
                  <a:pt x="5015374" y="1776488"/>
                  <a:pt x="4963404" y="1750956"/>
                  <a:pt x="4952179" y="1722165"/>
                </a:cubicBezTo>
                <a:cubicBezTo>
                  <a:pt x="4940951" y="1693373"/>
                  <a:pt x="4969199" y="1672368"/>
                  <a:pt x="5012657" y="1670919"/>
                </a:cubicBezTo>
                <a:close/>
                <a:moveTo>
                  <a:pt x="241809" y="1666212"/>
                </a:moveTo>
                <a:cubicBezTo>
                  <a:pt x="266979" y="1666212"/>
                  <a:pt x="267884" y="1675084"/>
                  <a:pt x="243620" y="1689753"/>
                </a:cubicBezTo>
                <a:cubicBezTo>
                  <a:pt x="218541" y="1704861"/>
                  <a:pt x="190111" y="1713568"/>
                  <a:pt x="160867" y="1715104"/>
                </a:cubicBezTo>
                <a:cubicBezTo>
                  <a:pt x="135155" y="1715104"/>
                  <a:pt x="134791" y="1706049"/>
                  <a:pt x="159962" y="1691201"/>
                </a:cubicBezTo>
                <a:cubicBezTo>
                  <a:pt x="184788" y="1676305"/>
                  <a:pt x="212891" y="1667725"/>
                  <a:pt x="241809" y="1666212"/>
                </a:cubicBezTo>
                <a:close/>
                <a:moveTo>
                  <a:pt x="4647061" y="1653175"/>
                </a:moveTo>
                <a:cubicBezTo>
                  <a:pt x="4694866" y="1652088"/>
                  <a:pt x="4744843" y="1677619"/>
                  <a:pt x="4754259" y="1706411"/>
                </a:cubicBezTo>
                <a:cubicBezTo>
                  <a:pt x="4763675" y="1735203"/>
                  <a:pt x="4728728" y="1760734"/>
                  <a:pt x="4681828" y="1761821"/>
                </a:cubicBezTo>
                <a:cubicBezTo>
                  <a:pt x="4635835" y="1762907"/>
                  <a:pt x="4585314" y="1738280"/>
                  <a:pt x="4574630" y="1710032"/>
                </a:cubicBezTo>
                <a:cubicBezTo>
                  <a:pt x="4563948" y="1681784"/>
                  <a:pt x="4599257" y="1654261"/>
                  <a:pt x="4647061" y="1653175"/>
                </a:cubicBezTo>
                <a:close/>
                <a:moveTo>
                  <a:pt x="7909176" y="1635065"/>
                </a:moveTo>
                <a:cubicBezTo>
                  <a:pt x="7940230" y="1636888"/>
                  <a:pt x="7970380" y="1646074"/>
                  <a:pt x="7997179" y="1661864"/>
                </a:cubicBezTo>
                <a:cubicBezTo>
                  <a:pt x="8019996" y="1675626"/>
                  <a:pt x="8019089" y="1684680"/>
                  <a:pt x="7994463" y="1684500"/>
                </a:cubicBezTo>
                <a:cubicBezTo>
                  <a:pt x="7962865" y="1682785"/>
                  <a:pt x="7932172" y="1673400"/>
                  <a:pt x="7905011" y="1657157"/>
                </a:cubicBezTo>
                <a:cubicBezTo>
                  <a:pt x="7883825" y="1643576"/>
                  <a:pt x="7885274" y="1634884"/>
                  <a:pt x="7909176" y="1635065"/>
                </a:cubicBezTo>
                <a:close/>
                <a:moveTo>
                  <a:pt x="4275672" y="1629997"/>
                </a:moveTo>
                <a:cubicBezTo>
                  <a:pt x="4323296" y="1629997"/>
                  <a:pt x="4368023" y="1656253"/>
                  <a:pt x="4370016" y="1684320"/>
                </a:cubicBezTo>
                <a:cubicBezTo>
                  <a:pt x="4372006" y="1712388"/>
                  <a:pt x="4329272" y="1739548"/>
                  <a:pt x="4279477" y="1737556"/>
                </a:cubicBezTo>
                <a:cubicBezTo>
                  <a:pt x="4229680" y="1735566"/>
                  <a:pt x="4190204" y="1709671"/>
                  <a:pt x="4188938" y="1681967"/>
                </a:cubicBezTo>
                <a:cubicBezTo>
                  <a:pt x="4187670" y="1654262"/>
                  <a:pt x="4229136" y="1629997"/>
                  <a:pt x="4275672" y="1629997"/>
                </a:cubicBezTo>
                <a:close/>
                <a:moveTo>
                  <a:pt x="3919673" y="1614604"/>
                </a:moveTo>
                <a:cubicBezTo>
                  <a:pt x="3967116" y="1614967"/>
                  <a:pt x="4006773" y="1639230"/>
                  <a:pt x="4005685" y="1667659"/>
                </a:cubicBezTo>
                <a:cubicBezTo>
                  <a:pt x="4004600" y="1696089"/>
                  <a:pt x="3961141" y="1721982"/>
                  <a:pt x="3911164" y="1721982"/>
                </a:cubicBezTo>
                <a:cubicBezTo>
                  <a:pt x="3861186" y="1721982"/>
                  <a:pt x="3821891" y="1695726"/>
                  <a:pt x="3825332" y="1666210"/>
                </a:cubicBezTo>
                <a:cubicBezTo>
                  <a:pt x="3828773" y="1637781"/>
                  <a:pt x="3872232" y="1614242"/>
                  <a:pt x="3919673" y="1614604"/>
                </a:cubicBezTo>
                <a:close/>
                <a:moveTo>
                  <a:pt x="7508630" y="1606817"/>
                </a:moveTo>
                <a:cubicBezTo>
                  <a:pt x="7544085" y="1608920"/>
                  <a:pt x="7578490" y="1619743"/>
                  <a:pt x="7608767" y="1638325"/>
                </a:cubicBezTo>
                <a:cubicBezTo>
                  <a:pt x="7636291" y="1656433"/>
                  <a:pt x="7633211" y="1668566"/>
                  <a:pt x="7600980" y="1667841"/>
                </a:cubicBezTo>
                <a:cubicBezTo>
                  <a:pt x="7565073" y="1665636"/>
                  <a:pt x="7530270" y="1654494"/>
                  <a:pt x="7499757" y="1635428"/>
                </a:cubicBezTo>
                <a:cubicBezTo>
                  <a:pt x="7473502" y="1617321"/>
                  <a:pt x="7477304" y="1605912"/>
                  <a:pt x="7508630" y="1606817"/>
                </a:cubicBezTo>
                <a:close/>
                <a:moveTo>
                  <a:pt x="3570918" y="1593419"/>
                </a:moveTo>
                <a:cubicBezTo>
                  <a:pt x="3618361" y="1593782"/>
                  <a:pt x="3653128" y="1617321"/>
                  <a:pt x="3647514" y="1645208"/>
                </a:cubicBezTo>
                <a:cubicBezTo>
                  <a:pt x="3641539" y="1673999"/>
                  <a:pt x="3594276" y="1698626"/>
                  <a:pt x="3545023" y="1698082"/>
                </a:cubicBezTo>
                <a:cubicBezTo>
                  <a:pt x="3495770" y="1697538"/>
                  <a:pt x="3461003" y="1672007"/>
                  <a:pt x="3469153" y="1643759"/>
                </a:cubicBezTo>
                <a:cubicBezTo>
                  <a:pt x="3477301" y="1615511"/>
                  <a:pt x="3523477" y="1593057"/>
                  <a:pt x="3570918" y="1593419"/>
                </a:cubicBezTo>
                <a:close/>
                <a:moveTo>
                  <a:pt x="7113881" y="1586358"/>
                </a:moveTo>
                <a:cubicBezTo>
                  <a:pt x="7152705" y="1589466"/>
                  <a:pt x="7190314" y="1601420"/>
                  <a:pt x="7223796" y="1621305"/>
                </a:cubicBezTo>
                <a:cubicBezTo>
                  <a:pt x="7252768" y="1640500"/>
                  <a:pt x="7247698" y="1659332"/>
                  <a:pt x="7213475" y="1658788"/>
                </a:cubicBezTo>
                <a:cubicBezTo>
                  <a:pt x="7173945" y="1655492"/>
                  <a:pt x="7135701" y="1643097"/>
                  <a:pt x="7101750" y="1622573"/>
                </a:cubicBezTo>
                <a:cubicBezTo>
                  <a:pt x="7074407" y="1603561"/>
                  <a:pt x="7080743" y="1586358"/>
                  <a:pt x="7113881" y="1586358"/>
                </a:cubicBezTo>
                <a:close/>
                <a:moveTo>
                  <a:pt x="3224336" y="1578932"/>
                </a:moveTo>
                <a:cubicBezTo>
                  <a:pt x="3267976" y="1578932"/>
                  <a:pt x="3303467" y="1603015"/>
                  <a:pt x="3293326" y="1629997"/>
                </a:cubicBezTo>
                <a:cubicBezTo>
                  <a:pt x="3282823" y="1658062"/>
                  <a:pt x="3230131" y="1683052"/>
                  <a:pt x="3182326" y="1681965"/>
                </a:cubicBezTo>
                <a:cubicBezTo>
                  <a:pt x="3134522" y="1680879"/>
                  <a:pt x="3104101" y="1654080"/>
                  <a:pt x="3118405" y="1626556"/>
                </a:cubicBezTo>
                <a:cubicBezTo>
                  <a:pt x="3132710" y="1599032"/>
                  <a:pt x="3180695" y="1578932"/>
                  <a:pt x="3224336" y="1578932"/>
                </a:cubicBezTo>
                <a:close/>
                <a:moveTo>
                  <a:pt x="6730541" y="1562636"/>
                </a:moveTo>
                <a:cubicBezTo>
                  <a:pt x="6771482" y="1562805"/>
                  <a:pt x="6811392" y="1575436"/>
                  <a:pt x="6844982" y="1598851"/>
                </a:cubicBezTo>
                <a:cubicBezTo>
                  <a:pt x="6875946" y="1621849"/>
                  <a:pt x="6870876" y="1638325"/>
                  <a:pt x="6831764" y="1639052"/>
                </a:cubicBezTo>
                <a:cubicBezTo>
                  <a:pt x="6789989" y="1638892"/>
                  <a:pt x="6749283" y="1625727"/>
                  <a:pt x="6715330" y="1601387"/>
                </a:cubicBezTo>
                <a:cubicBezTo>
                  <a:pt x="6686358" y="1578751"/>
                  <a:pt x="6692696" y="1563180"/>
                  <a:pt x="6730541" y="1562636"/>
                </a:cubicBezTo>
                <a:close/>
                <a:moveTo>
                  <a:pt x="2890066" y="1558471"/>
                </a:moveTo>
                <a:cubicBezTo>
                  <a:pt x="2935156" y="1558471"/>
                  <a:pt x="2962498" y="1584183"/>
                  <a:pt x="2946382" y="1610439"/>
                </a:cubicBezTo>
                <a:cubicBezTo>
                  <a:pt x="2930267" y="1636697"/>
                  <a:pt x="2875580" y="1659331"/>
                  <a:pt x="2831239" y="1658607"/>
                </a:cubicBezTo>
                <a:cubicBezTo>
                  <a:pt x="2783975" y="1658607"/>
                  <a:pt x="2757537" y="1631083"/>
                  <a:pt x="2776915" y="1604283"/>
                </a:cubicBezTo>
                <a:cubicBezTo>
                  <a:pt x="2796292" y="1577484"/>
                  <a:pt x="2847532" y="1557564"/>
                  <a:pt x="2890066" y="1558471"/>
                </a:cubicBezTo>
                <a:close/>
                <a:moveTo>
                  <a:pt x="2550566" y="1546157"/>
                </a:moveTo>
                <a:cubicBezTo>
                  <a:pt x="2593660" y="1545616"/>
                  <a:pt x="2618648" y="1566801"/>
                  <a:pt x="2602898" y="1592152"/>
                </a:cubicBezTo>
                <a:cubicBezTo>
                  <a:pt x="2586781" y="1617683"/>
                  <a:pt x="2531914" y="1641224"/>
                  <a:pt x="2485920" y="1641766"/>
                </a:cubicBezTo>
                <a:cubicBezTo>
                  <a:pt x="2439929" y="1642310"/>
                  <a:pt x="2416931" y="1619495"/>
                  <a:pt x="2435038" y="1593781"/>
                </a:cubicBezTo>
                <a:cubicBezTo>
                  <a:pt x="2453146" y="1568069"/>
                  <a:pt x="2507469" y="1546701"/>
                  <a:pt x="2550566" y="1546157"/>
                </a:cubicBezTo>
                <a:close/>
                <a:moveTo>
                  <a:pt x="6366032" y="1543985"/>
                </a:moveTo>
                <a:cubicBezTo>
                  <a:pt x="6409983" y="1545116"/>
                  <a:pt x="6452494" y="1559859"/>
                  <a:pt x="6487716" y="1586175"/>
                </a:cubicBezTo>
                <a:cubicBezTo>
                  <a:pt x="6514515" y="1610078"/>
                  <a:pt x="6501478" y="1629997"/>
                  <a:pt x="6458561" y="1629092"/>
                </a:cubicBezTo>
                <a:cubicBezTo>
                  <a:pt x="6415646" y="1628185"/>
                  <a:pt x="6359150" y="1607180"/>
                  <a:pt x="6336335" y="1583641"/>
                </a:cubicBezTo>
                <a:cubicBezTo>
                  <a:pt x="6313518" y="1560100"/>
                  <a:pt x="6328368" y="1544348"/>
                  <a:pt x="6366032" y="1543985"/>
                </a:cubicBezTo>
                <a:close/>
                <a:moveTo>
                  <a:pt x="2209960" y="1528593"/>
                </a:moveTo>
                <a:cubicBezTo>
                  <a:pt x="2255230" y="1528593"/>
                  <a:pt x="2273335" y="1544889"/>
                  <a:pt x="2253417" y="1570060"/>
                </a:cubicBezTo>
                <a:cubicBezTo>
                  <a:pt x="2233499" y="1595230"/>
                  <a:pt x="2185154" y="1615511"/>
                  <a:pt x="2138617" y="1616416"/>
                </a:cubicBezTo>
                <a:cubicBezTo>
                  <a:pt x="2091353" y="1616416"/>
                  <a:pt x="2074149" y="1598308"/>
                  <a:pt x="2096424" y="1573138"/>
                </a:cubicBezTo>
                <a:cubicBezTo>
                  <a:pt x="2127077" y="1544156"/>
                  <a:pt x="2167770" y="1528188"/>
                  <a:pt x="2209960" y="1528593"/>
                </a:cubicBezTo>
                <a:close/>
                <a:moveTo>
                  <a:pt x="6004601" y="1521350"/>
                </a:moveTo>
                <a:cubicBezTo>
                  <a:pt x="6047505" y="1520871"/>
                  <a:pt x="6089085" y="1536215"/>
                  <a:pt x="6121396" y="1564446"/>
                </a:cubicBezTo>
                <a:cubicBezTo>
                  <a:pt x="6146384" y="1590884"/>
                  <a:pt x="6131717" y="1609172"/>
                  <a:pt x="6085180" y="1608992"/>
                </a:cubicBezTo>
                <a:cubicBezTo>
                  <a:pt x="6041640" y="1609663"/>
                  <a:pt x="5999506" y="1593587"/>
                  <a:pt x="5967479" y="1564085"/>
                </a:cubicBezTo>
                <a:cubicBezTo>
                  <a:pt x="5944120" y="1539458"/>
                  <a:pt x="5959874" y="1521350"/>
                  <a:pt x="6004601" y="1521350"/>
                </a:cubicBezTo>
                <a:close/>
                <a:moveTo>
                  <a:pt x="1884198" y="1516642"/>
                </a:moveTo>
                <a:cubicBezTo>
                  <a:pt x="1924578" y="1516461"/>
                  <a:pt x="1939611" y="1533481"/>
                  <a:pt x="1918060" y="1556298"/>
                </a:cubicBezTo>
                <a:cubicBezTo>
                  <a:pt x="1885682" y="1583556"/>
                  <a:pt x="1845012" y="1599006"/>
                  <a:pt x="1802714" y="1600118"/>
                </a:cubicBezTo>
                <a:cubicBezTo>
                  <a:pt x="1757084" y="1601386"/>
                  <a:pt x="1742413" y="1582010"/>
                  <a:pt x="1769031" y="1557203"/>
                </a:cubicBezTo>
                <a:cubicBezTo>
                  <a:pt x="1802062" y="1531658"/>
                  <a:pt x="1842444" y="1517434"/>
                  <a:pt x="1884198" y="1516642"/>
                </a:cubicBezTo>
                <a:close/>
                <a:moveTo>
                  <a:pt x="5660553" y="1504872"/>
                </a:moveTo>
                <a:cubicBezTo>
                  <a:pt x="5707996" y="1508132"/>
                  <a:pt x="5763044" y="1532939"/>
                  <a:pt x="5775718" y="1557385"/>
                </a:cubicBezTo>
                <a:cubicBezTo>
                  <a:pt x="5788394" y="1581831"/>
                  <a:pt x="5760871" y="1601568"/>
                  <a:pt x="5715963" y="1598490"/>
                </a:cubicBezTo>
                <a:cubicBezTo>
                  <a:pt x="5666167" y="1595049"/>
                  <a:pt x="5610756" y="1568793"/>
                  <a:pt x="5600074" y="1544167"/>
                </a:cubicBezTo>
                <a:cubicBezTo>
                  <a:pt x="5589390" y="1519540"/>
                  <a:pt x="5617638" y="1501974"/>
                  <a:pt x="5660553" y="1504872"/>
                </a:cubicBezTo>
                <a:close/>
                <a:moveTo>
                  <a:pt x="1572926" y="1497810"/>
                </a:moveTo>
                <a:cubicBezTo>
                  <a:pt x="1606607" y="1499620"/>
                  <a:pt x="1616206" y="1518815"/>
                  <a:pt x="1592120" y="1538191"/>
                </a:cubicBezTo>
                <a:cubicBezTo>
                  <a:pt x="1557119" y="1561819"/>
                  <a:pt x="1516254" y="1575294"/>
                  <a:pt x="1474058" y="1577123"/>
                </a:cubicBezTo>
                <a:cubicBezTo>
                  <a:pt x="1435670" y="1577123"/>
                  <a:pt x="1426979" y="1555030"/>
                  <a:pt x="1455949" y="1534025"/>
                </a:cubicBezTo>
                <a:cubicBezTo>
                  <a:pt x="1491098" y="1511916"/>
                  <a:pt x="1531442" y="1499428"/>
                  <a:pt x="1572926" y="1497810"/>
                </a:cubicBezTo>
                <a:close/>
                <a:moveTo>
                  <a:pt x="1248616" y="1489481"/>
                </a:moveTo>
                <a:cubicBezTo>
                  <a:pt x="1283201" y="1489481"/>
                  <a:pt x="1289178" y="1503062"/>
                  <a:pt x="1263464" y="1522799"/>
                </a:cubicBezTo>
                <a:cubicBezTo>
                  <a:pt x="1230488" y="1546017"/>
                  <a:pt x="1191161" y="1558477"/>
                  <a:pt x="1150834" y="1558471"/>
                </a:cubicBezTo>
                <a:cubicBezTo>
                  <a:pt x="1114619" y="1558471"/>
                  <a:pt x="1110094" y="1544167"/>
                  <a:pt x="1137616" y="1524067"/>
                </a:cubicBezTo>
                <a:cubicBezTo>
                  <a:pt x="1170283" y="1501604"/>
                  <a:pt x="1208979" y="1489547"/>
                  <a:pt x="1248616" y="1489481"/>
                </a:cubicBezTo>
                <a:close/>
                <a:moveTo>
                  <a:pt x="5293870" y="1483506"/>
                </a:moveTo>
                <a:cubicBezTo>
                  <a:pt x="5340589" y="1485135"/>
                  <a:pt x="5388030" y="1503243"/>
                  <a:pt x="5405052" y="1530223"/>
                </a:cubicBezTo>
                <a:cubicBezTo>
                  <a:pt x="5423160" y="1558471"/>
                  <a:pt x="5398170" y="1579839"/>
                  <a:pt x="5346383" y="1578934"/>
                </a:cubicBezTo>
                <a:cubicBezTo>
                  <a:pt x="5294594" y="1578027"/>
                  <a:pt x="5249326" y="1557205"/>
                  <a:pt x="5233935" y="1530223"/>
                </a:cubicBezTo>
                <a:cubicBezTo>
                  <a:pt x="5218542" y="1503243"/>
                  <a:pt x="5244256" y="1482782"/>
                  <a:pt x="5293870" y="1483506"/>
                </a:cubicBezTo>
                <a:close/>
                <a:moveTo>
                  <a:pt x="931366" y="1478616"/>
                </a:moveTo>
                <a:cubicBezTo>
                  <a:pt x="959434" y="1478616"/>
                  <a:pt x="963238" y="1495094"/>
                  <a:pt x="938610" y="1510848"/>
                </a:cubicBezTo>
                <a:cubicBezTo>
                  <a:pt x="905564" y="1529463"/>
                  <a:pt x="868731" y="1540358"/>
                  <a:pt x="830870" y="1542718"/>
                </a:cubicBezTo>
                <a:cubicBezTo>
                  <a:pt x="801897" y="1542718"/>
                  <a:pt x="799181" y="1524610"/>
                  <a:pt x="825078" y="1509217"/>
                </a:cubicBezTo>
                <a:cubicBezTo>
                  <a:pt x="857778" y="1491222"/>
                  <a:pt x="894102" y="1480768"/>
                  <a:pt x="931366" y="1478616"/>
                </a:cubicBezTo>
                <a:close/>
                <a:moveTo>
                  <a:pt x="4949822" y="1469924"/>
                </a:moveTo>
                <a:cubicBezTo>
                  <a:pt x="4998895" y="1469381"/>
                  <a:pt x="5043982" y="1487851"/>
                  <a:pt x="5059375" y="1515375"/>
                </a:cubicBezTo>
                <a:cubicBezTo>
                  <a:pt x="5074767" y="1543803"/>
                  <a:pt x="5049416" y="1565171"/>
                  <a:pt x="4998170" y="1565896"/>
                </a:cubicBezTo>
                <a:cubicBezTo>
                  <a:pt x="4946925" y="1566620"/>
                  <a:pt x="4900208" y="1546520"/>
                  <a:pt x="4887351" y="1518272"/>
                </a:cubicBezTo>
                <a:cubicBezTo>
                  <a:pt x="4874494" y="1490024"/>
                  <a:pt x="4900752" y="1470468"/>
                  <a:pt x="4949822" y="1469924"/>
                </a:cubicBezTo>
                <a:close/>
                <a:moveTo>
                  <a:pt x="620091" y="1464130"/>
                </a:moveTo>
                <a:cubicBezTo>
                  <a:pt x="649425" y="1463406"/>
                  <a:pt x="653229" y="1473907"/>
                  <a:pt x="629144" y="1489118"/>
                </a:cubicBezTo>
                <a:cubicBezTo>
                  <a:pt x="600534" y="1505931"/>
                  <a:pt x="568302" y="1515621"/>
                  <a:pt x="535165" y="1517366"/>
                </a:cubicBezTo>
                <a:cubicBezTo>
                  <a:pt x="505287" y="1517366"/>
                  <a:pt x="502028" y="1507225"/>
                  <a:pt x="527378" y="1491654"/>
                </a:cubicBezTo>
                <a:cubicBezTo>
                  <a:pt x="555716" y="1475367"/>
                  <a:pt x="587460" y="1465942"/>
                  <a:pt x="620091" y="1464130"/>
                </a:cubicBezTo>
                <a:close/>
                <a:moveTo>
                  <a:pt x="7943760" y="1456887"/>
                </a:moveTo>
                <a:cubicBezTo>
                  <a:pt x="7971991" y="1457623"/>
                  <a:pt x="7999677" y="1464805"/>
                  <a:pt x="8024702" y="1477892"/>
                </a:cubicBezTo>
                <a:cubicBezTo>
                  <a:pt x="8047880" y="1489844"/>
                  <a:pt x="8049510" y="1497811"/>
                  <a:pt x="8028685" y="1498353"/>
                </a:cubicBezTo>
                <a:cubicBezTo>
                  <a:pt x="8000057" y="1497667"/>
                  <a:pt x="7971991" y="1490353"/>
                  <a:pt x="7946657" y="1476987"/>
                </a:cubicBezTo>
                <a:cubicBezTo>
                  <a:pt x="7924567" y="1465398"/>
                  <a:pt x="7923118" y="1457431"/>
                  <a:pt x="7943760" y="1456887"/>
                </a:cubicBezTo>
                <a:close/>
                <a:moveTo>
                  <a:pt x="4620808" y="1454897"/>
                </a:moveTo>
                <a:cubicBezTo>
                  <a:pt x="4666620" y="1455982"/>
                  <a:pt x="4718046" y="1479523"/>
                  <a:pt x="4723297" y="1505959"/>
                </a:cubicBezTo>
                <a:cubicBezTo>
                  <a:pt x="4729454" y="1533483"/>
                  <a:pt x="4690883" y="1556480"/>
                  <a:pt x="4640364" y="1554307"/>
                </a:cubicBezTo>
                <a:cubicBezTo>
                  <a:pt x="4589843" y="1552134"/>
                  <a:pt x="4542762" y="1526420"/>
                  <a:pt x="4540951" y="1499984"/>
                </a:cubicBezTo>
                <a:cubicBezTo>
                  <a:pt x="4539141" y="1473546"/>
                  <a:pt x="4574993" y="1453809"/>
                  <a:pt x="4620808" y="1454897"/>
                </a:cubicBezTo>
                <a:close/>
                <a:moveTo>
                  <a:pt x="295233" y="1454714"/>
                </a:moveTo>
                <a:cubicBezTo>
                  <a:pt x="319679" y="1453446"/>
                  <a:pt x="321489" y="1465579"/>
                  <a:pt x="298855" y="1477711"/>
                </a:cubicBezTo>
                <a:cubicBezTo>
                  <a:pt x="272381" y="1490333"/>
                  <a:pt x="243861" y="1498119"/>
                  <a:pt x="214654" y="1500709"/>
                </a:cubicBezTo>
                <a:cubicBezTo>
                  <a:pt x="193650" y="1500709"/>
                  <a:pt x="192381" y="1490025"/>
                  <a:pt x="212118" y="1478797"/>
                </a:cubicBezTo>
                <a:cubicBezTo>
                  <a:pt x="238177" y="1465911"/>
                  <a:pt x="266316" y="1457758"/>
                  <a:pt x="295233" y="1454714"/>
                </a:cubicBezTo>
                <a:close/>
                <a:moveTo>
                  <a:pt x="7585953" y="1439140"/>
                </a:moveTo>
                <a:cubicBezTo>
                  <a:pt x="7618600" y="1440455"/>
                  <a:pt x="7650542" y="1449120"/>
                  <a:pt x="7679389" y="1464491"/>
                </a:cubicBezTo>
                <a:cubicBezTo>
                  <a:pt x="7706550" y="1479520"/>
                  <a:pt x="7706369" y="1490746"/>
                  <a:pt x="7679389" y="1490929"/>
                </a:cubicBezTo>
                <a:cubicBezTo>
                  <a:pt x="7646251" y="1489520"/>
                  <a:pt x="7613874" y="1480606"/>
                  <a:pt x="7584685" y="1464854"/>
                </a:cubicBezTo>
                <a:cubicBezTo>
                  <a:pt x="7557885" y="1450004"/>
                  <a:pt x="7558971" y="1439140"/>
                  <a:pt x="7585953" y="1439140"/>
                </a:cubicBezTo>
                <a:close/>
                <a:moveTo>
                  <a:pt x="4287624" y="1434614"/>
                </a:moveTo>
                <a:cubicBezTo>
                  <a:pt x="4335246" y="1434614"/>
                  <a:pt x="4384138" y="1459421"/>
                  <a:pt x="4386672" y="1485496"/>
                </a:cubicBezTo>
                <a:cubicBezTo>
                  <a:pt x="4389208" y="1511571"/>
                  <a:pt x="4347922" y="1535656"/>
                  <a:pt x="4300298" y="1535656"/>
                </a:cubicBezTo>
                <a:cubicBezTo>
                  <a:pt x="4252675" y="1535656"/>
                  <a:pt x="4201249" y="1509037"/>
                  <a:pt x="4201068" y="1482238"/>
                </a:cubicBezTo>
                <a:cubicBezTo>
                  <a:pt x="4200887" y="1455438"/>
                  <a:pt x="4242173" y="1434614"/>
                  <a:pt x="4287624" y="1434614"/>
                </a:cubicBezTo>
                <a:close/>
                <a:moveTo>
                  <a:pt x="3966572" y="1422120"/>
                </a:moveTo>
                <a:cubicBezTo>
                  <a:pt x="4015101" y="1423025"/>
                  <a:pt x="4057111" y="1448015"/>
                  <a:pt x="4054396" y="1474270"/>
                </a:cubicBezTo>
                <a:cubicBezTo>
                  <a:pt x="4051680" y="1500526"/>
                  <a:pt x="4004780" y="1523523"/>
                  <a:pt x="3956976" y="1522438"/>
                </a:cubicBezTo>
                <a:cubicBezTo>
                  <a:pt x="3905913" y="1521350"/>
                  <a:pt x="3863540" y="1494551"/>
                  <a:pt x="3869515" y="1468115"/>
                </a:cubicBezTo>
                <a:cubicBezTo>
                  <a:pt x="3875492" y="1441677"/>
                  <a:pt x="3921304" y="1421215"/>
                  <a:pt x="3966572" y="1422120"/>
                </a:cubicBezTo>
                <a:close/>
                <a:moveTo>
                  <a:pt x="7222347" y="1415419"/>
                </a:moveTo>
                <a:cubicBezTo>
                  <a:pt x="7260483" y="1417001"/>
                  <a:pt x="7297693" y="1427546"/>
                  <a:pt x="7330994" y="1446203"/>
                </a:cubicBezTo>
                <a:cubicBezTo>
                  <a:pt x="7358698" y="1463404"/>
                  <a:pt x="7354172" y="1477890"/>
                  <a:pt x="7320853" y="1477166"/>
                </a:cubicBezTo>
                <a:cubicBezTo>
                  <a:pt x="7284438" y="1474687"/>
                  <a:pt x="7248983" y="1464372"/>
                  <a:pt x="7216914" y="1446927"/>
                </a:cubicBezTo>
                <a:cubicBezTo>
                  <a:pt x="7188304" y="1430810"/>
                  <a:pt x="7191382" y="1415599"/>
                  <a:pt x="7222347" y="1415419"/>
                </a:cubicBezTo>
                <a:close/>
                <a:moveTo>
                  <a:pt x="3647876" y="1404737"/>
                </a:moveTo>
                <a:cubicBezTo>
                  <a:pt x="3695317" y="1405822"/>
                  <a:pt x="3730991" y="1427371"/>
                  <a:pt x="3727006" y="1451997"/>
                </a:cubicBezTo>
                <a:cubicBezTo>
                  <a:pt x="3722116" y="1478797"/>
                  <a:pt x="3671778" y="1503243"/>
                  <a:pt x="3621981" y="1503243"/>
                </a:cubicBezTo>
                <a:cubicBezTo>
                  <a:pt x="3572184" y="1503243"/>
                  <a:pt x="3537237" y="1478073"/>
                  <a:pt x="3543394" y="1452722"/>
                </a:cubicBezTo>
                <a:cubicBezTo>
                  <a:pt x="3549550" y="1427371"/>
                  <a:pt x="3600432" y="1403650"/>
                  <a:pt x="3647876" y="1404737"/>
                </a:cubicBezTo>
                <a:close/>
                <a:moveTo>
                  <a:pt x="6876309" y="1399123"/>
                </a:moveTo>
                <a:cubicBezTo>
                  <a:pt x="6917376" y="1401096"/>
                  <a:pt x="6957396" y="1412761"/>
                  <a:pt x="6993104" y="1433165"/>
                </a:cubicBezTo>
                <a:cubicBezTo>
                  <a:pt x="7018274" y="1450005"/>
                  <a:pt x="7014109" y="1467208"/>
                  <a:pt x="6984049" y="1469381"/>
                </a:cubicBezTo>
                <a:cubicBezTo>
                  <a:pt x="6942077" y="1467949"/>
                  <a:pt x="6901080" y="1456394"/>
                  <a:pt x="6864539" y="1435701"/>
                </a:cubicBezTo>
                <a:cubicBezTo>
                  <a:pt x="6837921" y="1417774"/>
                  <a:pt x="6844076" y="1399667"/>
                  <a:pt x="6876309" y="1399123"/>
                </a:cubicBezTo>
                <a:close/>
                <a:moveTo>
                  <a:pt x="3322118" y="1392423"/>
                </a:moveTo>
                <a:cubicBezTo>
                  <a:pt x="3367567" y="1393691"/>
                  <a:pt x="3399800" y="1416326"/>
                  <a:pt x="3391289" y="1440228"/>
                </a:cubicBezTo>
                <a:cubicBezTo>
                  <a:pt x="3382236" y="1466122"/>
                  <a:pt x="3326281" y="1490567"/>
                  <a:pt x="3278659" y="1489118"/>
                </a:cubicBezTo>
                <a:cubicBezTo>
                  <a:pt x="3231035" y="1487669"/>
                  <a:pt x="3199708" y="1463406"/>
                  <a:pt x="3210392" y="1438960"/>
                </a:cubicBezTo>
                <a:cubicBezTo>
                  <a:pt x="3221076" y="1414514"/>
                  <a:pt x="3276667" y="1391155"/>
                  <a:pt x="3322118" y="1392423"/>
                </a:cubicBezTo>
                <a:close/>
                <a:moveTo>
                  <a:pt x="6535882" y="1379205"/>
                </a:moveTo>
                <a:cubicBezTo>
                  <a:pt x="6576552" y="1380359"/>
                  <a:pt x="6616081" y="1392906"/>
                  <a:pt x="6649962" y="1415420"/>
                </a:cubicBezTo>
                <a:cubicBezTo>
                  <a:pt x="6676942" y="1436062"/>
                  <a:pt x="6668070" y="1451636"/>
                  <a:pt x="6628774" y="1451636"/>
                </a:cubicBezTo>
                <a:cubicBezTo>
                  <a:pt x="6585588" y="1451345"/>
                  <a:pt x="6543541" y="1437752"/>
                  <a:pt x="6508358" y="1412704"/>
                </a:cubicBezTo>
                <a:cubicBezTo>
                  <a:pt x="6484819" y="1393328"/>
                  <a:pt x="6496950" y="1378661"/>
                  <a:pt x="6535882" y="1379205"/>
                </a:cubicBezTo>
                <a:close/>
                <a:moveTo>
                  <a:pt x="3013741" y="1375764"/>
                </a:moveTo>
                <a:cubicBezTo>
                  <a:pt x="3057743" y="1377032"/>
                  <a:pt x="3086172" y="1399485"/>
                  <a:pt x="3072229" y="1423388"/>
                </a:cubicBezTo>
                <a:cubicBezTo>
                  <a:pt x="3058287" y="1447290"/>
                  <a:pt x="3001971" y="1470285"/>
                  <a:pt x="2955796" y="1468656"/>
                </a:cubicBezTo>
                <a:cubicBezTo>
                  <a:pt x="2909623" y="1467027"/>
                  <a:pt x="2881916" y="1443305"/>
                  <a:pt x="2898758" y="1418859"/>
                </a:cubicBezTo>
                <a:cubicBezTo>
                  <a:pt x="2915598" y="1394596"/>
                  <a:pt x="2969740" y="1374496"/>
                  <a:pt x="3013741" y="1375764"/>
                </a:cubicBezTo>
                <a:close/>
                <a:moveTo>
                  <a:pt x="2705026" y="1366529"/>
                </a:moveTo>
                <a:cubicBezTo>
                  <a:pt x="2752290" y="1367433"/>
                  <a:pt x="2771299" y="1385180"/>
                  <a:pt x="2753554" y="1410531"/>
                </a:cubicBezTo>
                <a:cubicBezTo>
                  <a:pt x="2735447" y="1436062"/>
                  <a:pt x="2689093" y="1453806"/>
                  <a:pt x="2639474" y="1453626"/>
                </a:cubicBezTo>
                <a:cubicBezTo>
                  <a:pt x="2589861" y="1453445"/>
                  <a:pt x="2568132" y="1433526"/>
                  <a:pt x="2590762" y="1406185"/>
                </a:cubicBezTo>
                <a:cubicBezTo>
                  <a:pt x="2613399" y="1378842"/>
                  <a:pt x="2657764" y="1365624"/>
                  <a:pt x="2705026" y="1366529"/>
                </a:cubicBezTo>
                <a:close/>
                <a:moveTo>
                  <a:pt x="6192017" y="1363449"/>
                </a:moveTo>
                <a:cubicBezTo>
                  <a:pt x="6234896" y="1365202"/>
                  <a:pt x="6276374" y="1379216"/>
                  <a:pt x="6311529" y="1403830"/>
                </a:cubicBezTo>
                <a:cubicBezTo>
                  <a:pt x="6335070" y="1425015"/>
                  <a:pt x="6320220" y="1444391"/>
                  <a:pt x="6279478" y="1444391"/>
                </a:cubicBezTo>
                <a:cubicBezTo>
                  <a:pt x="6238736" y="1444391"/>
                  <a:pt x="6174272" y="1422481"/>
                  <a:pt x="6153992" y="1400932"/>
                </a:cubicBezTo>
                <a:cubicBezTo>
                  <a:pt x="6133711" y="1379384"/>
                  <a:pt x="6152724" y="1362544"/>
                  <a:pt x="6192017" y="1363449"/>
                </a:cubicBezTo>
                <a:close/>
                <a:moveTo>
                  <a:pt x="2397740" y="1350233"/>
                </a:moveTo>
                <a:cubicBezTo>
                  <a:pt x="2444637" y="1349326"/>
                  <a:pt x="2466366" y="1365985"/>
                  <a:pt x="2447898" y="1389887"/>
                </a:cubicBezTo>
                <a:cubicBezTo>
                  <a:pt x="2429788" y="1414697"/>
                  <a:pt x="2379087" y="1433709"/>
                  <a:pt x="2330918" y="1433890"/>
                </a:cubicBezTo>
                <a:cubicBezTo>
                  <a:pt x="2282754" y="1434070"/>
                  <a:pt x="2263924" y="1415782"/>
                  <a:pt x="2286376" y="1390975"/>
                </a:cubicBezTo>
                <a:cubicBezTo>
                  <a:pt x="2308829" y="1366168"/>
                  <a:pt x="2353737" y="1351138"/>
                  <a:pt x="2397740" y="1350233"/>
                </a:cubicBezTo>
                <a:close/>
                <a:moveTo>
                  <a:pt x="5864267" y="1344980"/>
                </a:moveTo>
                <a:cubicBezTo>
                  <a:pt x="5911708" y="1346429"/>
                  <a:pt x="5957159" y="1363812"/>
                  <a:pt x="5978525" y="1386629"/>
                </a:cubicBezTo>
                <a:cubicBezTo>
                  <a:pt x="6000435" y="1409988"/>
                  <a:pt x="5983415" y="1427552"/>
                  <a:pt x="5938145" y="1427552"/>
                </a:cubicBezTo>
                <a:cubicBezTo>
                  <a:pt x="5892876" y="1427552"/>
                  <a:pt x="5837829" y="1408539"/>
                  <a:pt x="5816824" y="1383912"/>
                </a:cubicBezTo>
                <a:cubicBezTo>
                  <a:pt x="5795819" y="1359286"/>
                  <a:pt x="5816824" y="1343531"/>
                  <a:pt x="5864267" y="1344980"/>
                </a:cubicBezTo>
                <a:close/>
                <a:moveTo>
                  <a:pt x="2101130" y="1340273"/>
                </a:moveTo>
                <a:cubicBezTo>
                  <a:pt x="2142056" y="1340273"/>
                  <a:pt x="2159798" y="1359829"/>
                  <a:pt x="2137349" y="1381015"/>
                </a:cubicBezTo>
                <a:cubicBezTo>
                  <a:pt x="2103211" y="1405921"/>
                  <a:pt x="2062253" y="1419704"/>
                  <a:pt x="2020008" y="1420491"/>
                </a:cubicBezTo>
                <a:cubicBezTo>
                  <a:pt x="1977456" y="1420491"/>
                  <a:pt x="1961156" y="1399666"/>
                  <a:pt x="1985784" y="1378118"/>
                </a:cubicBezTo>
                <a:cubicBezTo>
                  <a:pt x="2019679" y="1354455"/>
                  <a:pt x="2059808" y="1341292"/>
                  <a:pt x="2101130" y="1340273"/>
                </a:cubicBezTo>
                <a:close/>
                <a:moveTo>
                  <a:pt x="5535972" y="1330857"/>
                </a:moveTo>
                <a:cubicBezTo>
                  <a:pt x="5580335" y="1330857"/>
                  <a:pt x="5636651" y="1348965"/>
                  <a:pt x="5656570" y="1373410"/>
                </a:cubicBezTo>
                <a:cubicBezTo>
                  <a:pt x="5676488" y="1397856"/>
                  <a:pt x="5656570" y="1416869"/>
                  <a:pt x="5612205" y="1418318"/>
                </a:cubicBezTo>
                <a:cubicBezTo>
                  <a:pt x="5567841" y="1419766"/>
                  <a:pt x="5508629" y="1400210"/>
                  <a:pt x="5488348" y="1375403"/>
                </a:cubicBezTo>
                <a:cubicBezTo>
                  <a:pt x="5468067" y="1350594"/>
                  <a:pt x="5491428" y="1331581"/>
                  <a:pt x="5535972" y="1330857"/>
                </a:cubicBezTo>
                <a:close/>
                <a:moveTo>
                  <a:pt x="1807241" y="1325785"/>
                </a:moveTo>
                <a:cubicBezTo>
                  <a:pt x="1847260" y="1324700"/>
                  <a:pt x="1862471" y="1341359"/>
                  <a:pt x="1839837" y="1361820"/>
                </a:cubicBezTo>
                <a:cubicBezTo>
                  <a:pt x="1804763" y="1386382"/>
                  <a:pt x="1763132" y="1399878"/>
                  <a:pt x="1720323" y="1400572"/>
                </a:cubicBezTo>
                <a:cubicBezTo>
                  <a:pt x="1681756" y="1400572"/>
                  <a:pt x="1668537" y="1383730"/>
                  <a:pt x="1690445" y="1364356"/>
                </a:cubicBezTo>
                <a:cubicBezTo>
                  <a:pt x="1724759" y="1340347"/>
                  <a:pt x="1765376" y="1326937"/>
                  <a:pt x="1807241" y="1325785"/>
                </a:cubicBezTo>
                <a:close/>
                <a:moveTo>
                  <a:pt x="1503393" y="1316915"/>
                </a:moveTo>
                <a:cubicBezTo>
                  <a:pt x="1539244" y="1317639"/>
                  <a:pt x="1549206" y="1331945"/>
                  <a:pt x="1524762" y="1350596"/>
                </a:cubicBezTo>
                <a:cubicBezTo>
                  <a:pt x="1491390" y="1372308"/>
                  <a:pt x="1452655" y="1384342"/>
                  <a:pt x="1412856" y="1385363"/>
                </a:cubicBezTo>
                <a:cubicBezTo>
                  <a:pt x="1372292" y="1385363"/>
                  <a:pt x="1363421" y="1369789"/>
                  <a:pt x="1392394" y="1349147"/>
                </a:cubicBezTo>
                <a:cubicBezTo>
                  <a:pt x="1425873" y="1328726"/>
                  <a:pt x="1464188" y="1317599"/>
                  <a:pt x="1503393" y="1316915"/>
                </a:cubicBezTo>
                <a:close/>
                <a:moveTo>
                  <a:pt x="5220534" y="1312568"/>
                </a:moveTo>
                <a:cubicBezTo>
                  <a:pt x="5266529" y="1313110"/>
                  <a:pt x="5316867" y="1332486"/>
                  <a:pt x="5333707" y="1355120"/>
                </a:cubicBezTo>
                <a:cubicBezTo>
                  <a:pt x="5350549" y="1377756"/>
                  <a:pt x="5324654" y="1402019"/>
                  <a:pt x="5276669" y="1402563"/>
                </a:cubicBezTo>
                <a:cubicBezTo>
                  <a:pt x="5229045" y="1402563"/>
                  <a:pt x="5172549" y="1380653"/>
                  <a:pt x="5158607" y="1356388"/>
                </a:cubicBezTo>
                <a:cubicBezTo>
                  <a:pt x="5144662" y="1332124"/>
                  <a:pt x="5174541" y="1312025"/>
                  <a:pt x="5220534" y="1312568"/>
                </a:cubicBezTo>
                <a:close/>
                <a:moveTo>
                  <a:pt x="7991021" y="1306050"/>
                </a:moveTo>
                <a:cubicBezTo>
                  <a:pt x="8015304" y="1307253"/>
                  <a:pt x="8039097" y="1313414"/>
                  <a:pt x="8060918" y="1324157"/>
                </a:cubicBezTo>
                <a:cubicBezTo>
                  <a:pt x="8082647" y="1334478"/>
                  <a:pt x="8083008" y="1341180"/>
                  <a:pt x="8060918" y="1340997"/>
                </a:cubicBezTo>
                <a:cubicBezTo>
                  <a:pt x="8036400" y="1339757"/>
                  <a:pt x="8012389" y="1333598"/>
                  <a:pt x="7990297" y="1322889"/>
                </a:cubicBezTo>
                <a:cubicBezTo>
                  <a:pt x="7969836" y="1312205"/>
                  <a:pt x="7969836" y="1305869"/>
                  <a:pt x="7991021" y="1306050"/>
                </a:cubicBezTo>
                <a:close/>
                <a:moveTo>
                  <a:pt x="1220910" y="1304058"/>
                </a:moveTo>
                <a:cubicBezTo>
                  <a:pt x="1252054" y="1304058"/>
                  <a:pt x="1257127" y="1321080"/>
                  <a:pt x="1229060" y="1337196"/>
                </a:cubicBezTo>
                <a:cubicBezTo>
                  <a:pt x="1195957" y="1354697"/>
                  <a:pt x="1159290" y="1364360"/>
                  <a:pt x="1121861" y="1365444"/>
                </a:cubicBezTo>
                <a:cubicBezTo>
                  <a:pt x="1089631" y="1364539"/>
                  <a:pt x="1086732" y="1347336"/>
                  <a:pt x="1115342" y="1331220"/>
                </a:cubicBezTo>
                <a:cubicBezTo>
                  <a:pt x="1148115" y="1314563"/>
                  <a:pt x="1184154" y="1305292"/>
                  <a:pt x="1220910" y="1304058"/>
                </a:cubicBezTo>
                <a:close/>
                <a:moveTo>
                  <a:pt x="4914333" y="1300978"/>
                </a:moveTo>
                <a:cubicBezTo>
                  <a:pt x="4962499" y="1302426"/>
                  <a:pt x="5007769" y="1322163"/>
                  <a:pt x="5019176" y="1346609"/>
                </a:cubicBezTo>
                <a:cubicBezTo>
                  <a:pt x="5031308" y="1372865"/>
                  <a:pt x="4999078" y="1392965"/>
                  <a:pt x="4945478" y="1391517"/>
                </a:cubicBezTo>
                <a:cubicBezTo>
                  <a:pt x="4894957" y="1390068"/>
                  <a:pt x="4849326" y="1369063"/>
                  <a:pt x="4839910" y="1343712"/>
                </a:cubicBezTo>
                <a:cubicBezTo>
                  <a:pt x="4830494" y="1318361"/>
                  <a:pt x="4862907" y="1299710"/>
                  <a:pt x="4914333" y="1300978"/>
                </a:cubicBezTo>
                <a:close/>
                <a:moveTo>
                  <a:pt x="925031" y="1295908"/>
                </a:moveTo>
                <a:cubicBezTo>
                  <a:pt x="955453" y="1295366"/>
                  <a:pt x="961429" y="1307497"/>
                  <a:pt x="937708" y="1322164"/>
                </a:cubicBezTo>
                <a:cubicBezTo>
                  <a:pt x="906416" y="1339287"/>
                  <a:pt x="871576" y="1348954"/>
                  <a:pt x="835941" y="1350414"/>
                </a:cubicBezTo>
                <a:cubicBezTo>
                  <a:pt x="805882" y="1350414"/>
                  <a:pt x="803165" y="1337013"/>
                  <a:pt x="829603" y="1321983"/>
                </a:cubicBezTo>
                <a:cubicBezTo>
                  <a:pt x="859281" y="1306835"/>
                  <a:pt x="891768" y="1297959"/>
                  <a:pt x="925031" y="1295908"/>
                </a:cubicBezTo>
                <a:close/>
                <a:moveTo>
                  <a:pt x="7655306" y="1290113"/>
                </a:moveTo>
                <a:cubicBezTo>
                  <a:pt x="7685383" y="1291223"/>
                  <a:pt x="7714897" y="1298496"/>
                  <a:pt x="7742040" y="1311481"/>
                </a:cubicBezTo>
                <a:cubicBezTo>
                  <a:pt x="7768116" y="1324518"/>
                  <a:pt x="7768840" y="1334115"/>
                  <a:pt x="7743489" y="1334476"/>
                </a:cubicBezTo>
                <a:cubicBezTo>
                  <a:pt x="7712887" y="1333415"/>
                  <a:pt x="7682846" y="1325951"/>
                  <a:pt x="7655306" y="1312566"/>
                </a:cubicBezTo>
                <a:cubicBezTo>
                  <a:pt x="7630135" y="1299892"/>
                  <a:pt x="7630135" y="1290476"/>
                  <a:pt x="7655306" y="1290113"/>
                </a:cubicBezTo>
                <a:close/>
                <a:moveTo>
                  <a:pt x="4601250" y="1284138"/>
                </a:moveTo>
                <a:cubicBezTo>
                  <a:pt x="4651771" y="1284138"/>
                  <a:pt x="4694867" y="1302246"/>
                  <a:pt x="4704463" y="1327777"/>
                </a:cubicBezTo>
                <a:cubicBezTo>
                  <a:pt x="4714062" y="1353310"/>
                  <a:pt x="4681829" y="1376488"/>
                  <a:pt x="4625696" y="1374857"/>
                </a:cubicBezTo>
                <a:cubicBezTo>
                  <a:pt x="4573002" y="1374857"/>
                  <a:pt x="4530268" y="1354035"/>
                  <a:pt x="4524293" y="1327596"/>
                </a:cubicBezTo>
                <a:cubicBezTo>
                  <a:pt x="4518316" y="1301160"/>
                  <a:pt x="4550549" y="1284138"/>
                  <a:pt x="4601250" y="1284138"/>
                </a:cubicBezTo>
                <a:close/>
                <a:moveTo>
                  <a:pt x="649429" y="1283777"/>
                </a:moveTo>
                <a:cubicBezTo>
                  <a:pt x="675142" y="1283777"/>
                  <a:pt x="677497" y="1292288"/>
                  <a:pt x="655042" y="1305325"/>
                </a:cubicBezTo>
                <a:cubicBezTo>
                  <a:pt x="627337" y="1320507"/>
                  <a:pt x="596447" y="1328942"/>
                  <a:pt x="564865" y="1329952"/>
                </a:cubicBezTo>
                <a:cubicBezTo>
                  <a:pt x="534806" y="1329952"/>
                  <a:pt x="532996" y="1321079"/>
                  <a:pt x="559796" y="1306593"/>
                </a:cubicBezTo>
                <a:cubicBezTo>
                  <a:pt x="587519" y="1292172"/>
                  <a:pt x="618193" y="1284364"/>
                  <a:pt x="649429" y="1283777"/>
                </a:cubicBezTo>
                <a:close/>
                <a:moveTo>
                  <a:pt x="367303" y="1276351"/>
                </a:moveTo>
                <a:cubicBezTo>
                  <a:pt x="382875" y="1277619"/>
                  <a:pt x="381065" y="1287579"/>
                  <a:pt x="363499" y="1296271"/>
                </a:cubicBezTo>
                <a:cubicBezTo>
                  <a:pt x="337606" y="1307650"/>
                  <a:pt x="309883" y="1314335"/>
                  <a:pt x="281651" y="1316008"/>
                </a:cubicBezTo>
                <a:cubicBezTo>
                  <a:pt x="262638" y="1316008"/>
                  <a:pt x="265175" y="1304056"/>
                  <a:pt x="286541" y="1294459"/>
                </a:cubicBezTo>
                <a:cubicBezTo>
                  <a:pt x="312164" y="1283661"/>
                  <a:pt x="339524" y="1277528"/>
                  <a:pt x="367303" y="1276351"/>
                </a:cubicBezTo>
                <a:close/>
                <a:moveTo>
                  <a:pt x="4288710" y="1273093"/>
                </a:moveTo>
                <a:cubicBezTo>
                  <a:pt x="4340860" y="1273093"/>
                  <a:pt x="4382146" y="1291201"/>
                  <a:pt x="4385767" y="1318724"/>
                </a:cubicBezTo>
                <a:cubicBezTo>
                  <a:pt x="4389389" y="1346248"/>
                  <a:pt x="4354078" y="1363995"/>
                  <a:pt x="4301384" y="1363995"/>
                </a:cubicBezTo>
                <a:cubicBezTo>
                  <a:pt x="4248692" y="1363995"/>
                  <a:pt x="4205233" y="1343532"/>
                  <a:pt x="4203965" y="1316190"/>
                </a:cubicBezTo>
                <a:cubicBezTo>
                  <a:pt x="4202697" y="1288847"/>
                  <a:pt x="4238552" y="1273093"/>
                  <a:pt x="4288710" y="1273093"/>
                </a:cubicBezTo>
                <a:close/>
                <a:moveTo>
                  <a:pt x="7322665" y="1269832"/>
                </a:moveTo>
                <a:cubicBezTo>
                  <a:pt x="7356092" y="1272273"/>
                  <a:pt x="7388722" y="1281321"/>
                  <a:pt x="7418635" y="1296451"/>
                </a:cubicBezTo>
                <a:cubicBezTo>
                  <a:pt x="7445254" y="1311118"/>
                  <a:pt x="7441271" y="1323431"/>
                  <a:pt x="7410487" y="1322165"/>
                </a:cubicBezTo>
                <a:cubicBezTo>
                  <a:pt x="7374525" y="1320319"/>
                  <a:pt x="7339378" y="1310747"/>
                  <a:pt x="7307455" y="1294098"/>
                </a:cubicBezTo>
                <a:cubicBezTo>
                  <a:pt x="7284277" y="1279611"/>
                  <a:pt x="7291520" y="1268384"/>
                  <a:pt x="7322665" y="1269832"/>
                </a:cubicBezTo>
                <a:close/>
                <a:moveTo>
                  <a:pt x="78115" y="1264762"/>
                </a:moveTo>
                <a:cubicBezTo>
                  <a:pt x="94957" y="1264762"/>
                  <a:pt x="96223" y="1271100"/>
                  <a:pt x="79022" y="1279067"/>
                </a:cubicBezTo>
                <a:cubicBezTo>
                  <a:pt x="57293" y="1288930"/>
                  <a:pt x="33879" y="1294525"/>
                  <a:pt x="10030" y="1295546"/>
                </a:cubicBezTo>
                <a:cubicBezTo>
                  <a:pt x="-5180" y="1295546"/>
                  <a:pt x="-2825" y="1287759"/>
                  <a:pt x="15282" y="1279611"/>
                </a:cubicBezTo>
                <a:cubicBezTo>
                  <a:pt x="35237" y="1271146"/>
                  <a:pt x="56477" y="1266125"/>
                  <a:pt x="78115" y="1264762"/>
                </a:cubicBezTo>
                <a:close/>
                <a:moveTo>
                  <a:pt x="3992466" y="1256434"/>
                </a:moveTo>
                <a:cubicBezTo>
                  <a:pt x="4041176" y="1256434"/>
                  <a:pt x="4083005" y="1277619"/>
                  <a:pt x="4083005" y="1301882"/>
                </a:cubicBezTo>
                <a:cubicBezTo>
                  <a:pt x="4083005" y="1326148"/>
                  <a:pt x="4038459" y="1348782"/>
                  <a:pt x="3987757" y="1348238"/>
                </a:cubicBezTo>
                <a:cubicBezTo>
                  <a:pt x="3937056" y="1347696"/>
                  <a:pt x="3895046" y="1325423"/>
                  <a:pt x="3897219" y="1300616"/>
                </a:cubicBezTo>
                <a:cubicBezTo>
                  <a:pt x="3899392" y="1275807"/>
                  <a:pt x="3944118" y="1256070"/>
                  <a:pt x="3992466" y="1256434"/>
                </a:cubicBezTo>
                <a:close/>
                <a:moveTo>
                  <a:pt x="6984956" y="1255890"/>
                </a:moveTo>
                <a:cubicBezTo>
                  <a:pt x="7023309" y="1257563"/>
                  <a:pt x="7060846" y="1267443"/>
                  <a:pt x="7095052" y="1284862"/>
                </a:cubicBezTo>
                <a:cubicBezTo>
                  <a:pt x="7121127" y="1300253"/>
                  <a:pt x="7115874" y="1315826"/>
                  <a:pt x="7083824" y="1315646"/>
                </a:cubicBezTo>
                <a:cubicBezTo>
                  <a:pt x="7046631" y="1313511"/>
                  <a:pt x="7010271" y="1303774"/>
                  <a:pt x="6976989" y="1287035"/>
                </a:cubicBezTo>
                <a:cubicBezTo>
                  <a:pt x="6951094" y="1272188"/>
                  <a:pt x="6955440" y="1256614"/>
                  <a:pt x="6984956" y="1255890"/>
                </a:cubicBezTo>
                <a:close/>
                <a:moveTo>
                  <a:pt x="3698758" y="1246293"/>
                </a:moveTo>
                <a:cubicBezTo>
                  <a:pt x="3745838" y="1246837"/>
                  <a:pt x="3785314" y="1267842"/>
                  <a:pt x="3780968" y="1291200"/>
                </a:cubicBezTo>
                <a:cubicBezTo>
                  <a:pt x="3776622" y="1314559"/>
                  <a:pt x="3729179" y="1337556"/>
                  <a:pt x="3678841" y="1337012"/>
                </a:cubicBezTo>
                <a:cubicBezTo>
                  <a:pt x="3628139" y="1337012"/>
                  <a:pt x="3590475" y="1314378"/>
                  <a:pt x="3597355" y="1289932"/>
                </a:cubicBezTo>
                <a:cubicBezTo>
                  <a:pt x="3604237" y="1265486"/>
                  <a:pt x="3651678" y="1245750"/>
                  <a:pt x="3698758" y="1246293"/>
                </a:cubicBezTo>
                <a:close/>
                <a:moveTo>
                  <a:pt x="6665897" y="1238326"/>
                </a:moveTo>
                <a:cubicBezTo>
                  <a:pt x="6705570" y="1238822"/>
                  <a:pt x="6744375" y="1249884"/>
                  <a:pt x="6778345" y="1270376"/>
                </a:cubicBezTo>
                <a:cubicBezTo>
                  <a:pt x="6806049" y="1289028"/>
                  <a:pt x="6797177" y="1302789"/>
                  <a:pt x="6756796" y="1302065"/>
                </a:cubicBezTo>
                <a:cubicBezTo>
                  <a:pt x="6716687" y="1301305"/>
                  <a:pt x="6677594" y="1289459"/>
                  <a:pt x="6643804" y="1267842"/>
                </a:cubicBezTo>
                <a:cubicBezTo>
                  <a:pt x="6620807" y="1249734"/>
                  <a:pt x="6630223" y="1238326"/>
                  <a:pt x="6665897" y="1238326"/>
                </a:cubicBezTo>
                <a:close/>
                <a:moveTo>
                  <a:pt x="3407768" y="1231627"/>
                </a:moveTo>
                <a:cubicBezTo>
                  <a:pt x="3455572" y="1231627"/>
                  <a:pt x="3491244" y="1249735"/>
                  <a:pt x="3484906" y="1274180"/>
                </a:cubicBezTo>
                <a:cubicBezTo>
                  <a:pt x="3478568" y="1298263"/>
                  <a:pt x="3429315" y="1319993"/>
                  <a:pt x="3378796" y="1320536"/>
                </a:cubicBezTo>
                <a:cubicBezTo>
                  <a:pt x="3328274" y="1321080"/>
                  <a:pt x="3293327" y="1299712"/>
                  <a:pt x="3302199" y="1275448"/>
                </a:cubicBezTo>
                <a:cubicBezTo>
                  <a:pt x="3311071" y="1251183"/>
                  <a:pt x="3359963" y="1231627"/>
                  <a:pt x="3407768" y="1231627"/>
                </a:cubicBezTo>
                <a:close/>
                <a:moveTo>
                  <a:pt x="6360599" y="1224564"/>
                </a:moveTo>
                <a:cubicBezTo>
                  <a:pt x="6400799" y="1225832"/>
                  <a:pt x="6458020" y="1244120"/>
                  <a:pt x="6478481" y="1262591"/>
                </a:cubicBezTo>
                <a:cubicBezTo>
                  <a:pt x="6498942" y="1281060"/>
                  <a:pt x="6482283" y="1296453"/>
                  <a:pt x="6443534" y="1295185"/>
                </a:cubicBezTo>
                <a:cubicBezTo>
                  <a:pt x="6402067" y="1293917"/>
                  <a:pt x="6343578" y="1274723"/>
                  <a:pt x="6324383" y="1256072"/>
                </a:cubicBezTo>
                <a:cubicBezTo>
                  <a:pt x="6305190" y="1237421"/>
                  <a:pt x="6322754" y="1223478"/>
                  <a:pt x="6360599" y="1224564"/>
                </a:cubicBezTo>
                <a:close/>
                <a:moveTo>
                  <a:pt x="3124562" y="1223115"/>
                </a:moveTo>
                <a:cubicBezTo>
                  <a:pt x="3172908" y="1223115"/>
                  <a:pt x="3199708" y="1241223"/>
                  <a:pt x="3188301" y="1264764"/>
                </a:cubicBezTo>
                <a:cubicBezTo>
                  <a:pt x="3176893" y="1288303"/>
                  <a:pt x="3127640" y="1308766"/>
                  <a:pt x="3074402" y="1307679"/>
                </a:cubicBezTo>
                <a:cubicBezTo>
                  <a:pt x="3024607" y="1307679"/>
                  <a:pt x="2999981" y="1287579"/>
                  <a:pt x="3015191" y="1262772"/>
                </a:cubicBezTo>
                <a:cubicBezTo>
                  <a:pt x="3030402" y="1237964"/>
                  <a:pt x="3074765" y="1222573"/>
                  <a:pt x="3124562" y="1223115"/>
                </a:cubicBezTo>
                <a:close/>
                <a:moveTo>
                  <a:pt x="2834494" y="1213880"/>
                </a:moveTo>
                <a:cubicBezTo>
                  <a:pt x="2880288" y="1213155"/>
                  <a:pt x="2909985" y="1229995"/>
                  <a:pt x="2896404" y="1253173"/>
                </a:cubicBezTo>
                <a:cubicBezTo>
                  <a:pt x="2882098" y="1277256"/>
                  <a:pt x="2832864" y="1296088"/>
                  <a:pt x="2782707" y="1296271"/>
                </a:cubicBezTo>
                <a:cubicBezTo>
                  <a:pt x="2732549" y="1296451"/>
                  <a:pt x="2708104" y="1278163"/>
                  <a:pt x="2725848" y="1253717"/>
                </a:cubicBezTo>
                <a:cubicBezTo>
                  <a:pt x="2743594" y="1229271"/>
                  <a:pt x="2788683" y="1214604"/>
                  <a:pt x="2834494" y="1213880"/>
                </a:cubicBezTo>
                <a:close/>
                <a:moveTo>
                  <a:pt x="6052044" y="1213519"/>
                </a:moveTo>
                <a:cubicBezTo>
                  <a:pt x="6093586" y="1212669"/>
                  <a:pt x="6134336" y="1224963"/>
                  <a:pt x="6168475" y="1248647"/>
                </a:cubicBezTo>
                <a:cubicBezTo>
                  <a:pt x="6194370" y="1270376"/>
                  <a:pt x="6181152" y="1285949"/>
                  <a:pt x="6136425" y="1285949"/>
                </a:cubicBezTo>
                <a:cubicBezTo>
                  <a:pt x="6094097" y="1287238"/>
                  <a:pt x="6052529" y="1274507"/>
                  <a:pt x="6018182" y="1249734"/>
                </a:cubicBezTo>
                <a:cubicBezTo>
                  <a:pt x="5994823" y="1228729"/>
                  <a:pt x="6008946" y="1213519"/>
                  <a:pt x="6052044" y="1213519"/>
                </a:cubicBezTo>
                <a:close/>
                <a:moveTo>
                  <a:pt x="2551654" y="1200119"/>
                </a:moveTo>
                <a:cubicBezTo>
                  <a:pt x="2595656" y="1200480"/>
                  <a:pt x="2618110" y="1218226"/>
                  <a:pt x="2600545" y="1239412"/>
                </a:cubicBezTo>
                <a:cubicBezTo>
                  <a:pt x="2582979" y="1260598"/>
                  <a:pt x="2528112" y="1279973"/>
                  <a:pt x="2482481" y="1279793"/>
                </a:cubicBezTo>
                <a:cubicBezTo>
                  <a:pt x="2436849" y="1279612"/>
                  <a:pt x="2415119" y="1260598"/>
                  <a:pt x="2435219" y="1238507"/>
                </a:cubicBezTo>
                <a:cubicBezTo>
                  <a:pt x="2454777" y="1217139"/>
                  <a:pt x="2507651" y="1199755"/>
                  <a:pt x="2551654" y="1200119"/>
                </a:cubicBezTo>
                <a:close/>
                <a:moveTo>
                  <a:pt x="5743669" y="1195411"/>
                </a:moveTo>
                <a:cubicBezTo>
                  <a:pt x="5783867" y="1194324"/>
                  <a:pt x="5843261" y="1212251"/>
                  <a:pt x="5865714" y="1232893"/>
                </a:cubicBezTo>
                <a:cubicBezTo>
                  <a:pt x="5888531" y="1254081"/>
                  <a:pt x="5869155" y="1273998"/>
                  <a:pt x="5824429" y="1274179"/>
                </a:cubicBezTo>
                <a:cubicBezTo>
                  <a:pt x="5779702" y="1274361"/>
                  <a:pt x="5721215" y="1254986"/>
                  <a:pt x="5701839" y="1233800"/>
                </a:cubicBezTo>
                <a:cubicBezTo>
                  <a:pt x="5682464" y="1212612"/>
                  <a:pt x="5703469" y="1196497"/>
                  <a:pt x="5743669" y="1195411"/>
                </a:cubicBezTo>
                <a:close/>
                <a:moveTo>
                  <a:pt x="2273519" y="1191970"/>
                </a:moveTo>
                <a:cubicBezTo>
                  <a:pt x="2314440" y="1191970"/>
                  <a:pt x="2333455" y="1210078"/>
                  <a:pt x="2313535" y="1229634"/>
                </a:cubicBezTo>
                <a:cubicBezTo>
                  <a:pt x="2293613" y="1249190"/>
                  <a:pt x="2237299" y="1267840"/>
                  <a:pt x="2194748" y="1267840"/>
                </a:cubicBezTo>
                <a:cubicBezTo>
                  <a:pt x="2152194" y="1267840"/>
                  <a:pt x="2134449" y="1248647"/>
                  <a:pt x="2156539" y="1228547"/>
                </a:cubicBezTo>
                <a:cubicBezTo>
                  <a:pt x="2178634" y="1208447"/>
                  <a:pt x="2233499" y="1191426"/>
                  <a:pt x="2273519" y="1191970"/>
                </a:cubicBezTo>
                <a:close/>
                <a:moveTo>
                  <a:pt x="5454668" y="1184907"/>
                </a:moveTo>
                <a:cubicBezTo>
                  <a:pt x="5502473" y="1184907"/>
                  <a:pt x="5551726" y="1203015"/>
                  <a:pt x="5570015" y="1225649"/>
                </a:cubicBezTo>
                <a:cubicBezTo>
                  <a:pt x="5588303" y="1248285"/>
                  <a:pt x="5564039" y="1266030"/>
                  <a:pt x="5513157" y="1264944"/>
                </a:cubicBezTo>
                <a:cubicBezTo>
                  <a:pt x="5465170" y="1264944"/>
                  <a:pt x="5417004" y="1246837"/>
                  <a:pt x="5400165" y="1223839"/>
                </a:cubicBezTo>
                <a:cubicBezTo>
                  <a:pt x="5383323" y="1200842"/>
                  <a:pt x="5406140" y="1184546"/>
                  <a:pt x="5454668" y="1184907"/>
                </a:cubicBezTo>
                <a:close/>
                <a:moveTo>
                  <a:pt x="8041542" y="1180742"/>
                </a:moveTo>
                <a:cubicBezTo>
                  <a:pt x="8062366" y="1182316"/>
                  <a:pt x="8082792" y="1187271"/>
                  <a:pt x="8102023" y="1195411"/>
                </a:cubicBezTo>
                <a:cubicBezTo>
                  <a:pt x="8118500" y="1202654"/>
                  <a:pt x="8120131" y="1208991"/>
                  <a:pt x="8104196" y="1208991"/>
                </a:cubicBezTo>
                <a:cubicBezTo>
                  <a:pt x="8083299" y="1207896"/>
                  <a:pt x="8062728" y="1203307"/>
                  <a:pt x="8043354" y="1195411"/>
                </a:cubicBezTo>
                <a:cubicBezTo>
                  <a:pt x="8023615" y="1187261"/>
                  <a:pt x="8022891" y="1180200"/>
                  <a:pt x="8041542" y="1180742"/>
                </a:cubicBezTo>
                <a:close/>
                <a:moveTo>
                  <a:pt x="2001900" y="1180201"/>
                </a:moveTo>
                <a:cubicBezTo>
                  <a:pt x="2044274" y="1180381"/>
                  <a:pt x="2057854" y="1195411"/>
                  <a:pt x="2033951" y="1215148"/>
                </a:cubicBezTo>
                <a:cubicBezTo>
                  <a:pt x="1999513" y="1238989"/>
                  <a:pt x="1958295" y="1251114"/>
                  <a:pt x="1916428" y="1249734"/>
                </a:cubicBezTo>
                <a:cubicBezTo>
                  <a:pt x="1873697" y="1249734"/>
                  <a:pt x="1863014" y="1232895"/>
                  <a:pt x="1890535" y="1212070"/>
                </a:cubicBezTo>
                <a:cubicBezTo>
                  <a:pt x="1923729" y="1190740"/>
                  <a:pt x="1962462" y="1179655"/>
                  <a:pt x="2001900" y="1180201"/>
                </a:cubicBezTo>
                <a:close/>
                <a:moveTo>
                  <a:pt x="1732095" y="1172053"/>
                </a:moveTo>
                <a:cubicBezTo>
                  <a:pt x="1766498" y="1172777"/>
                  <a:pt x="1777725" y="1188168"/>
                  <a:pt x="1755997" y="1204827"/>
                </a:cubicBezTo>
                <a:cubicBezTo>
                  <a:pt x="1720163" y="1226393"/>
                  <a:pt x="1679216" y="1238018"/>
                  <a:pt x="1637389" y="1238509"/>
                </a:cubicBezTo>
                <a:cubicBezTo>
                  <a:pt x="1601172" y="1237421"/>
                  <a:pt x="1591758" y="1220401"/>
                  <a:pt x="1615477" y="1204286"/>
                </a:cubicBezTo>
                <a:cubicBezTo>
                  <a:pt x="1650954" y="1183733"/>
                  <a:pt x="1691099" y="1172634"/>
                  <a:pt x="1732095" y="1172053"/>
                </a:cubicBezTo>
                <a:close/>
                <a:moveTo>
                  <a:pt x="5147200" y="1168611"/>
                </a:moveTo>
                <a:cubicBezTo>
                  <a:pt x="5193193" y="1168248"/>
                  <a:pt x="5246791" y="1186900"/>
                  <a:pt x="5262909" y="1208810"/>
                </a:cubicBezTo>
                <a:cubicBezTo>
                  <a:pt x="5279385" y="1231626"/>
                  <a:pt x="5251320" y="1251907"/>
                  <a:pt x="5203333" y="1252268"/>
                </a:cubicBezTo>
                <a:cubicBezTo>
                  <a:pt x="5155348" y="1252631"/>
                  <a:pt x="5100481" y="1232531"/>
                  <a:pt x="5086177" y="1209897"/>
                </a:cubicBezTo>
                <a:cubicBezTo>
                  <a:pt x="5071872" y="1187261"/>
                  <a:pt x="5101205" y="1168973"/>
                  <a:pt x="5147200" y="1168611"/>
                </a:cubicBezTo>
                <a:close/>
                <a:moveTo>
                  <a:pt x="7706550" y="1163360"/>
                </a:moveTo>
                <a:cubicBezTo>
                  <a:pt x="7733094" y="1164431"/>
                  <a:pt x="7759242" y="1170065"/>
                  <a:pt x="7783868" y="1180019"/>
                </a:cubicBezTo>
                <a:cubicBezTo>
                  <a:pt x="7807228" y="1190521"/>
                  <a:pt x="7807409" y="1199756"/>
                  <a:pt x="7783868" y="1199576"/>
                </a:cubicBezTo>
                <a:cubicBezTo>
                  <a:pt x="7757251" y="1198004"/>
                  <a:pt x="7731104" y="1191878"/>
                  <a:pt x="7706550" y="1181468"/>
                </a:cubicBezTo>
                <a:cubicBezTo>
                  <a:pt x="7684096" y="1171145"/>
                  <a:pt x="7684457" y="1162092"/>
                  <a:pt x="7706550" y="1163360"/>
                </a:cubicBezTo>
                <a:close/>
                <a:moveTo>
                  <a:pt x="1461379" y="1161369"/>
                </a:moveTo>
                <a:cubicBezTo>
                  <a:pt x="1497598" y="1161369"/>
                  <a:pt x="1507558" y="1172958"/>
                  <a:pt x="1483111" y="1189980"/>
                </a:cubicBezTo>
                <a:cubicBezTo>
                  <a:pt x="1450372" y="1209555"/>
                  <a:pt x="1412961" y="1219939"/>
                  <a:pt x="1374828" y="1220038"/>
                </a:cubicBezTo>
                <a:cubicBezTo>
                  <a:pt x="1337525" y="1220038"/>
                  <a:pt x="1331006" y="1206639"/>
                  <a:pt x="1358893" y="1189256"/>
                </a:cubicBezTo>
                <a:cubicBezTo>
                  <a:pt x="1390235" y="1171672"/>
                  <a:pt x="1425437" y="1162095"/>
                  <a:pt x="1461379" y="1161369"/>
                </a:cubicBezTo>
                <a:close/>
                <a:moveTo>
                  <a:pt x="4862905" y="1159196"/>
                </a:moveTo>
                <a:cubicBezTo>
                  <a:pt x="4909624" y="1159196"/>
                  <a:pt x="4961955" y="1177304"/>
                  <a:pt x="4973000" y="1200301"/>
                </a:cubicBezTo>
                <a:cubicBezTo>
                  <a:pt x="4984589" y="1223660"/>
                  <a:pt x="4950547" y="1244121"/>
                  <a:pt x="4900569" y="1243397"/>
                </a:cubicBezTo>
                <a:cubicBezTo>
                  <a:pt x="4850592" y="1242672"/>
                  <a:pt x="4797900" y="1220943"/>
                  <a:pt x="4790474" y="1197948"/>
                </a:cubicBezTo>
                <a:cubicBezTo>
                  <a:pt x="4783050" y="1174950"/>
                  <a:pt x="4816188" y="1159196"/>
                  <a:pt x="4862905" y="1159196"/>
                </a:cubicBezTo>
                <a:close/>
                <a:moveTo>
                  <a:pt x="1185964" y="1153943"/>
                </a:moveTo>
                <a:cubicBezTo>
                  <a:pt x="1214756" y="1153943"/>
                  <a:pt x="1222177" y="1166800"/>
                  <a:pt x="1199908" y="1180562"/>
                </a:cubicBezTo>
                <a:cubicBezTo>
                  <a:pt x="1167785" y="1197031"/>
                  <a:pt x="1132562" y="1206532"/>
                  <a:pt x="1096511" y="1208447"/>
                </a:cubicBezTo>
                <a:cubicBezTo>
                  <a:pt x="1065910" y="1208447"/>
                  <a:pt x="1057944" y="1196133"/>
                  <a:pt x="1079491" y="1182191"/>
                </a:cubicBezTo>
                <a:cubicBezTo>
                  <a:pt x="1112501" y="1165112"/>
                  <a:pt x="1148842" y="1155469"/>
                  <a:pt x="1185964" y="1153943"/>
                </a:cubicBezTo>
                <a:close/>
                <a:moveTo>
                  <a:pt x="7399081" y="1149236"/>
                </a:moveTo>
                <a:cubicBezTo>
                  <a:pt x="7430842" y="1150931"/>
                  <a:pt x="7462041" y="1158226"/>
                  <a:pt x="7491249" y="1170784"/>
                </a:cubicBezTo>
                <a:cubicBezTo>
                  <a:pt x="7514427" y="1182010"/>
                  <a:pt x="7513883" y="1193782"/>
                  <a:pt x="7489800" y="1194143"/>
                </a:cubicBezTo>
                <a:cubicBezTo>
                  <a:pt x="7457622" y="1192513"/>
                  <a:pt x="7426025" y="1185027"/>
                  <a:pt x="7396545" y="1172052"/>
                </a:cubicBezTo>
                <a:cubicBezTo>
                  <a:pt x="7374274" y="1161005"/>
                  <a:pt x="7375722" y="1149599"/>
                  <a:pt x="7399081" y="1149236"/>
                </a:cubicBezTo>
                <a:close/>
                <a:moveTo>
                  <a:pt x="4580607" y="1143985"/>
                </a:moveTo>
                <a:cubicBezTo>
                  <a:pt x="4630766" y="1144529"/>
                  <a:pt x="4674406" y="1162998"/>
                  <a:pt x="4681829" y="1185451"/>
                </a:cubicBezTo>
                <a:cubicBezTo>
                  <a:pt x="4691426" y="1209717"/>
                  <a:pt x="4655211" y="1229634"/>
                  <a:pt x="4602336" y="1229092"/>
                </a:cubicBezTo>
                <a:cubicBezTo>
                  <a:pt x="4549461" y="1228549"/>
                  <a:pt x="4506003" y="1208629"/>
                  <a:pt x="4500752" y="1185451"/>
                </a:cubicBezTo>
                <a:cubicBezTo>
                  <a:pt x="4495501" y="1162273"/>
                  <a:pt x="4530449" y="1143441"/>
                  <a:pt x="4580607" y="1143985"/>
                </a:cubicBezTo>
                <a:close/>
                <a:moveTo>
                  <a:pt x="924668" y="1143622"/>
                </a:moveTo>
                <a:cubicBezTo>
                  <a:pt x="954004" y="1143622"/>
                  <a:pt x="958711" y="1152494"/>
                  <a:pt x="935715" y="1165895"/>
                </a:cubicBezTo>
                <a:cubicBezTo>
                  <a:pt x="907031" y="1180908"/>
                  <a:pt x="875361" y="1189322"/>
                  <a:pt x="843003" y="1190522"/>
                </a:cubicBezTo>
                <a:cubicBezTo>
                  <a:pt x="809682" y="1190522"/>
                  <a:pt x="805339" y="1181105"/>
                  <a:pt x="832499" y="1166619"/>
                </a:cubicBezTo>
                <a:cubicBezTo>
                  <a:pt x="861165" y="1152289"/>
                  <a:pt x="892635" y="1144437"/>
                  <a:pt x="924668" y="1143622"/>
                </a:cubicBezTo>
                <a:close/>
                <a:moveTo>
                  <a:pt x="655405" y="1138371"/>
                </a:moveTo>
                <a:cubicBezTo>
                  <a:pt x="683290" y="1137466"/>
                  <a:pt x="687275" y="1144709"/>
                  <a:pt x="665183" y="1156478"/>
                </a:cubicBezTo>
                <a:cubicBezTo>
                  <a:pt x="639452" y="1169550"/>
                  <a:pt x="611114" y="1176666"/>
                  <a:pt x="582250" y="1177303"/>
                </a:cubicBezTo>
                <a:cubicBezTo>
                  <a:pt x="554907" y="1177303"/>
                  <a:pt x="553278" y="1169879"/>
                  <a:pt x="578084" y="1157566"/>
                </a:cubicBezTo>
                <a:cubicBezTo>
                  <a:pt x="602278" y="1145948"/>
                  <a:pt x="628587" y="1139416"/>
                  <a:pt x="655405" y="1138371"/>
                </a:cubicBezTo>
                <a:close/>
                <a:moveTo>
                  <a:pt x="4303015" y="1134206"/>
                </a:moveTo>
                <a:cubicBezTo>
                  <a:pt x="4354622" y="1134750"/>
                  <a:pt x="4394641" y="1153582"/>
                  <a:pt x="4398080" y="1177304"/>
                </a:cubicBezTo>
                <a:cubicBezTo>
                  <a:pt x="4401521" y="1201750"/>
                  <a:pt x="4363133" y="1220038"/>
                  <a:pt x="4308990" y="1219314"/>
                </a:cubicBezTo>
                <a:cubicBezTo>
                  <a:pt x="4254850" y="1218589"/>
                  <a:pt x="4214830" y="1198852"/>
                  <a:pt x="4213925" y="1174043"/>
                </a:cubicBezTo>
                <a:cubicBezTo>
                  <a:pt x="4213020" y="1149236"/>
                  <a:pt x="4251409" y="1133664"/>
                  <a:pt x="4303015" y="1134206"/>
                </a:cubicBezTo>
                <a:close/>
                <a:moveTo>
                  <a:pt x="7092154" y="1132577"/>
                </a:moveTo>
                <a:cubicBezTo>
                  <a:pt x="7127898" y="1134276"/>
                  <a:pt x="7162919" y="1143339"/>
                  <a:pt x="7195006" y="1159195"/>
                </a:cubicBezTo>
                <a:cubicBezTo>
                  <a:pt x="7216916" y="1171689"/>
                  <a:pt x="7211845" y="1183459"/>
                  <a:pt x="7183778" y="1183459"/>
                </a:cubicBezTo>
                <a:cubicBezTo>
                  <a:pt x="7147562" y="1181902"/>
                  <a:pt x="7112071" y="1172706"/>
                  <a:pt x="7079660" y="1156479"/>
                </a:cubicBezTo>
                <a:cubicBezTo>
                  <a:pt x="7058836" y="1143804"/>
                  <a:pt x="7064811" y="1132577"/>
                  <a:pt x="7092154" y="1132577"/>
                </a:cubicBezTo>
                <a:close/>
                <a:moveTo>
                  <a:pt x="404062" y="1128230"/>
                </a:moveTo>
                <a:cubicBezTo>
                  <a:pt x="422893" y="1126782"/>
                  <a:pt x="425247" y="1135293"/>
                  <a:pt x="408407" y="1143623"/>
                </a:cubicBezTo>
                <a:cubicBezTo>
                  <a:pt x="384705" y="1153701"/>
                  <a:pt x="359498" y="1159816"/>
                  <a:pt x="333803" y="1161731"/>
                </a:cubicBezTo>
                <a:cubicBezTo>
                  <a:pt x="317325" y="1161731"/>
                  <a:pt x="315695" y="1153763"/>
                  <a:pt x="330362" y="1146338"/>
                </a:cubicBezTo>
                <a:cubicBezTo>
                  <a:pt x="353776" y="1136315"/>
                  <a:pt x="378674" y="1130200"/>
                  <a:pt x="404062" y="1128230"/>
                </a:cubicBezTo>
                <a:close/>
                <a:moveTo>
                  <a:pt x="6800435" y="1121351"/>
                </a:moveTo>
                <a:cubicBezTo>
                  <a:pt x="6836290" y="1122233"/>
                  <a:pt x="6871454" y="1131473"/>
                  <a:pt x="6903107" y="1148331"/>
                </a:cubicBezTo>
                <a:cubicBezTo>
                  <a:pt x="6930994" y="1164810"/>
                  <a:pt x="6924475" y="1177123"/>
                  <a:pt x="6887172" y="1176580"/>
                </a:cubicBezTo>
                <a:cubicBezTo>
                  <a:pt x="6848983" y="1175986"/>
                  <a:pt x="6811591" y="1165639"/>
                  <a:pt x="6778525" y="1146520"/>
                </a:cubicBezTo>
                <a:cubicBezTo>
                  <a:pt x="6757159" y="1131672"/>
                  <a:pt x="6766393" y="1120988"/>
                  <a:pt x="6800435" y="1121351"/>
                </a:cubicBezTo>
                <a:close/>
                <a:moveTo>
                  <a:pt x="4024336" y="1120988"/>
                </a:moveTo>
                <a:cubicBezTo>
                  <a:pt x="4076306" y="1120988"/>
                  <a:pt x="4113970" y="1138010"/>
                  <a:pt x="4115419" y="1161912"/>
                </a:cubicBezTo>
                <a:cubicBezTo>
                  <a:pt x="4116685" y="1186719"/>
                  <a:pt x="4079203" y="1205008"/>
                  <a:pt x="4024880" y="1205371"/>
                </a:cubicBezTo>
                <a:cubicBezTo>
                  <a:pt x="3970556" y="1205732"/>
                  <a:pt x="3929088" y="1187263"/>
                  <a:pt x="3931624" y="1161369"/>
                </a:cubicBezTo>
                <a:cubicBezTo>
                  <a:pt x="3934158" y="1135474"/>
                  <a:pt x="3972366" y="1120988"/>
                  <a:pt x="4024336" y="1120988"/>
                </a:cubicBezTo>
                <a:close/>
                <a:moveTo>
                  <a:pt x="3754169" y="1111934"/>
                </a:moveTo>
                <a:cubicBezTo>
                  <a:pt x="3805775" y="1112295"/>
                  <a:pt x="3839455" y="1129679"/>
                  <a:pt x="3836196" y="1153581"/>
                </a:cubicBezTo>
                <a:cubicBezTo>
                  <a:pt x="3832936" y="1177303"/>
                  <a:pt x="3791833" y="1195411"/>
                  <a:pt x="3737690" y="1195411"/>
                </a:cubicBezTo>
                <a:cubicBezTo>
                  <a:pt x="3683548" y="1195411"/>
                  <a:pt x="3647152" y="1177303"/>
                  <a:pt x="3654032" y="1151047"/>
                </a:cubicBezTo>
                <a:cubicBezTo>
                  <a:pt x="3660914" y="1124791"/>
                  <a:pt x="3702560" y="1111571"/>
                  <a:pt x="3754169" y="1111934"/>
                </a:cubicBezTo>
                <a:close/>
                <a:moveTo>
                  <a:pt x="6497494" y="1104873"/>
                </a:moveTo>
                <a:cubicBezTo>
                  <a:pt x="6537494" y="1105411"/>
                  <a:pt x="6576788" y="1115467"/>
                  <a:pt x="6612115" y="1134208"/>
                </a:cubicBezTo>
                <a:cubicBezTo>
                  <a:pt x="6638554" y="1150867"/>
                  <a:pt x="6629138" y="1166258"/>
                  <a:pt x="6592017" y="1166439"/>
                </a:cubicBezTo>
                <a:cubicBezTo>
                  <a:pt x="6551473" y="1165659"/>
                  <a:pt x="6511763" y="1154766"/>
                  <a:pt x="6476489" y="1134750"/>
                </a:cubicBezTo>
                <a:cubicBezTo>
                  <a:pt x="6454579" y="1119178"/>
                  <a:pt x="6464356" y="1104873"/>
                  <a:pt x="6497494" y="1104873"/>
                </a:cubicBezTo>
                <a:close/>
                <a:moveTo>
                  <a:pt x="3472954" y="1099622"/>
                </a:moveTo>
                <a:cubicBezTo>
                  <a:pt x="3523294" y="1099441"/>
                  <a:pt x="3557336" y="1115918"/>
                  <a:pt x="3551361" y="1138915"/>
                </a:cubicBezTo>
                <a:cubicBezTo>
                  <a:pt x="3545204" y="1162637"/>
                  <a:pt x="3501021" y="1181106"/>
                  <a:pt x="3448146" y="1181469"/>
                </a:cubicBezTo>
                <a:cubicBezTo>
                  <a:pt x="3395272" y="1181830"/>
                  <a:pt x="3361773" y="1163361"/>
                  <a:pt x="3370464" y="1140183"/>
                </a:cubicBezTo>
                <a:cubicBezTo>
                  <a:pt x="3379157" y="1117005"/>
                  <a:pt x="3422615" y="1099802"/>
                  <a:pt x="3472954" y="1099622"/>
                </a:cubicBezTo>
                <a:close/>
                <a:moveTo>
                  <a:pt x="6217548" y="1094549"/>
                </a:moveTo>
                <a:cubicBezTo>
                  <a:pt x="6257092" y="1094211"/>
                  <a:pt x="6295935" y="1105003"/>
                  <a:pt x="6329636" y="1125695"/>
                </a:cubicBezTo>
                <a:cubicBezTo>
                  <a:pt x="6355892" y="1145432"/>
                  <a:pt x="6344122" y="1159193"/>
                  <a:pt x="6299395" y="1159193"/>
                </a:cubicBezTo>
                <a:cubicBezTo>
                  <a:pt x="6259463" y="1159655"/>
                  <a:pt x="6220280" y="1148317"/>
                  <a:pt x="6186766" y="1126599"/>
                </a:cubicBezTo>
                <a:cubicBezTo>
                  <a:pt x="6161776" y="1107406"/>
                  <a:pt x="6174633" y="1094369"/>
                  <a:pt x="6217548" y="1094549"/>
                </a:cubicBezTo>
                <a:close/>
                <a:moveTo>
                  <a:pt x="3206409" y="1091473"/>
                </a:moveTo>
                <a:cubicBezTo>
                  <a:pt x="3253670" y="1090929"/>
                  <a:pt x="3287712" y="1108313"/>
                  <a:pt x="3277572" y="1130766"/>
                </a:cubicBezTo>
                <a:cubicBezTo>
                  <a:pt x="3267432" y="1153220"/>
                  <a:pt x="3219990" y="1171147"/>
                  <a:pt x="3170555" y="1171689"/>
                </a:cubicBezTo>
                <a:cubicBezTo>
                  <a:pt x="3118587" y="1171689"/>
                  <a:pt x="3087259" y="1153581"/>
                  <a:pt x="3100297" y="1130586"/>
                </a:cubicBezTo>
                <a:cubicBezTo>
                  <a:pt x="3113334" y="1107588"/>
                  <a:pt x="3159148" y="1092015"/>
                  <a:pt x="3206409" y="1091473"/>
                </a:cubicBezTo>
                <a:close/>
                <a:moveTo>
                  <a:pt x="2947469" y="1079341"/>
                </a:moveTo>
                <a:cubicBezTo>
                  <a:pt x="2993281" y="1079160"/>
                  <a:pt x="3022070" y="1096000"/>
                  <a:pt x="3010301" y="1116642"/>
                </a:cubicBezTo>
                <a:cubicBezTo>
                  <a:pt x="2997807" y="1137829"/>
                  <a:pt x="2947469" y="1156661"/>
                  <a:pt x="2898940" y="1157386"/>
                </a:cubicBezTo>
                <a:cubicBezTo>
                  <a:pt x="2850433" y="1158110"/>
                  <a:pt x="2819468" y="1139278"/>
                  <a:pt x="2835582" y="1117185"/>
                </a:cubicBezTo>
                <a:cubicBezTo>
                  <a:pt x="2851697" y="1095095"/>
                  <a:pt x="2901655" y="1079521"/>
                  <a:pt x="2947469" y="1079341"/>
                </a:cubicBezTo>
                <a:close/>
                <a:moveTo>
                  <a:pt x="5921849" y="1079158"/>
                </a:moveTo>
                <a:cubicBezTo>
                  <a:pt x="5966756" y="1079702"/>
                  <a:pt x="6018000" y="1095637"/>
                  <a:pt x="6038824" y="1115374"/>
                </a:cubicBezTo>
                <a:cubicBezTo>
                  <a:pt x="6059648" y="1135113"/>
                  <a:pt x="6040997" y="1149055"/>
                  <a:pt x="5996814" y="1148511"/>
                </a:cubicBezTo>
                <a:cubicBezTo>
                  <a:pt x="5952814" y="1148511"/>
                  <a:pt x="5901930" y="1132396"/>
                  <a:pt x="5880744" y="1113201"/>
                </a:cubicBezTo>
                <a:cubicBezTo>
                  <a:pt x="5859559" y="1094007"/>
                  <a:pt x="5876942" y="1078616"/>
                  <a:pt x="5921849" y="1079158"/>
                </a:cubicBezTo>
                <a:close/>
                <a:moveTo>
                  <a:pt x="2689272" y="1071191"/>
                </a:moveTo>
                <a:cubicBezTo>
                  <a:pt x="2730737" y="1071191"/>
                  <a:pt x="2756634" y="1090023"/>
                  <a:pt x="2741242" y="1109036"/>
                </a:cubicBezTo>
                <a:cubicBezTo>
                  <a:pt x="2726208" y="1128775"/>
                  <a:pt x="2670079" y="1147244"/>
                  <a:pt x="2625530" y="1147244"/>
                </a:cubicBezTo>
                <a:cubicBezTo>
                  <a:pt x="2580990" y="1147244"/>
                  <a:pt x="2553100" y="1127507"/>
                  <a:pt x="2573561" y="1107406"/>
                </a:cubicBezTo>
                <a:cubicBezTo>
                  <a:pt x="2594023" y="1087306"/>
                  <a:pt x="2647805" y="1071191"/>
                  <a:pt x="2689272" y="1071191"/>
                </a:cubicBezTo>
                <a:close/>
                <a:moveTo>
                  <a:pt x="5642989" y="1069743"/>
                </a:moveTo>
                <a:cubicBezTo>
                  <a:pt x="5687533" y="1069743"/>
                  <a:pt x="5738416" y="1084592"/>
                  <a:pt x="5759059" y="1105958"/>
                </a:cubicBezTo>
                <a:cubicBezTo>
                  <a:pt x="5779701" y="1127327"/>
                  <a:pt x="5760508" y="1141089"/>
                  <a:pt x="5713972" y="1141089"/>
                </a:cubicBezTo>
                <a:cubicBezTo>
                  <a:pt x="5665443" y="1141089"/>
                  <a:pt x="5615466" y="1125154"/>
                  <a:pt x="5596451" y="1103785"/>
                </a:cubicBezTo>
                <a:cubicBezTo>
                  <a:pt x="5577438" y="1082419"/>
                  <a:pt x="5598443" y="1069743"/>
                  <a:pt x="5642989" y="1069743"/>
                </a:cubicBezTo>
                <a:close/>
                <a:moveTo>
                  <a:pt x="2432867" y="1062680"/>
                </a:moveTo>
                <a:cubicBezTo>
                  <a:pt x="2477229" y="1062860"/>
                  <a:pt x="2495698" y="1076080"/>
                  <a:pt x="2477229" y="1095817"/>
                </a:cubicBezTo>
                <a:cubicBezTo>
                  <a:pt x="2459124" y="1116098"/>
                  <a:pt x="2410772" y="1132033"/>
                  <a:pt x="2364236" y="1132033"/>
                </a:cubicBezTo>
                <a:cubicBezTo>
                  <a:pt x="2317701" y="1132033"/>
                  <a:pt x="2297059" y="1116642"/>
                  <a:pt x="2320056" y="1095817"/>
                </a:cubicBezTo>
                <a:cubicBezTo>
                  <a:pt x="2343054" y="1074993"/>
                  <a:pt x="2388501" y="1062499"/>
                  <a:pt x="2432867" y="1062680"/>
                </a:cubicBezTo>
                <a:close/>
                <a:moveTo>
                  <a:pt x="2166679" y="1054714"/>
                </a:moveTo>
                <a:cubicBezTo>
                  <a:pt x="2207786" y="1054895"/>
                  <a:pt x="2224991" y="1069742"/>
                  <a:pt x="2204531" y="1087670"/>
                </a:cubicBezTo>
                <a:cubicBezTo>
                  <a:pt x="2183884" y="1105777"/>
                  <a:pt x="2131008" y="1121712"/>
                  <a:pt x="2088816" y="1121532"/>
                </a:cubicBezTo>
                <a:cubicBezTo>
                  <a:pt x="2046628" y="1121351"/>
                  <a:pt x="2030690" y="1105597"/>
                  <a:pt x="2052601" y="1087308"/>
                </a:cubicBezTo>
                <a:cubicBezTo>
                  <a:pt x="2086697" y="1065706"/>
                  <a:pt x="2126316" y="1054389"/>
                  <a:pt x="2166679" y="1054714"/>
                </a:cubicBezTo>
                <a:close/>
                <a:moveTo>
                  <a:pt x="5368476" y="1054532"/>
                </a:moveTo>
                <a:cubicBezTo>
                  <a:pt x="5413746" y="1054532"/>
                  <a:pt x="5466802" y="1072639"/>
                  <a:pt x="5483098" y="1092739"/>
                </a:cubicBezTo>
                <a:cubicBezTo>
                  <a:pt x="5499576" y="1113201"/>
                  <a:pt x="5473501" y="1130947"/>
                  <a:pt x="5426060" y="1130223"/>
                </a:cubicBezTo>
                <a:cubicBezTo>
                  <a:pt x="5378616" y="1129498"/>
                  <a:pt x="5324656" y="1112115"/>
                  <a:pt x="5310351" y="1090747"/>
                </a:cubicBezTo>
                <a:cubicBezTo>
                  <a:pt x="5296045" y="1069381"/>
                  <a:pt x="5323208" y="1054532"/>
                  <a:pt x="5368476" y="1054532"/>
                </a:cubicBezTo>
                <a:close/>
                <a:moveTo>
                  <a:pt x="7761778" y="1052179"/>
                </a:moveTo>
                <a:cubicBezTo>
                  <a:pt x="7786133" y="1053734"/>
                  <a:pt x="7810054" y="1059302"/>
                  <a:pt x="7832580" y="1068657"/>
                </a:cubicBezTo>
                <a:cubicBezTo>
                  <a:pt x="7847790" y="1075720"/>
                  <a:pt x="7845981" y="1082599"/>
                  <a:pt x="7828958" y="1082238"/>
                </a:cubicBezTo>
                <a:cubicBezTo>
                  <a:pt x="7805908" y="1080466"/>
                  <a:pt x="7783254" y="1075216"/>
                  <a:pt x="7761778" y="1066665"/>
                </a:cubicBezTo>
                <a:cubicBezTo>
                  <a:pt x="7745843" y="1059602"/>
                  <a:pt x="7745843" y="1052359"/>
                  <a:pt x="7761778" y="1052179"/>
                </a:cubicBezTo>
                <a:close/>
                <a:moveTo>
                  <a:pt x="5096135" y="1046565"/>
                </a:moveTo>
                <a:cubicBezTo>
                  <a:pt x="5144483" y="1046384"/>
                  <a:pt x="5193012" y="1061051"/>
                  <a:pt x="5209127" y="1082600"/>
                </a:cubicBezTo>
                <a:cubicBezTo>
                  <a:pt x="5225062" y="1104871"/>
                  <a:pt x="5200436" y="1122979"/>
                  <a:pt x="5149734" y="1122979"/>
                </a:cubicBezTo>
                <a:cubicBezTo>
                  <a:pt x="5099032" y="1122979"/>
                  <a:pt x="5049599" y="1106683"/>
                  <a:pt x="5035474" y="1084590"/>
                </a:cubicBezTo>
                <a:cubicBezTo>
                  <a:pt x="5021351" y="1062499"/>
                  <a:pt x="5047787" y="1046745"/>
                  <a:pt x="5096135" y="1046565"/>
                </a:cubicBezTo>
                <a:close/>
                <a:moveTo>
                  <a:pt x="1919691" y="1045299"/>
                </a:moveTo>
                <a:cubicBezTo>
                  <a:pt x="1957536" y="1045840"/>
                  <a:pt x="1968943" y="1057793"/>
                  <a:pt x="1947577" y="1075176"/>
                </a:cubicBezTo>
                <a:cubicBezTo>
                  <a:pt x="1915091" y="1095696"/>
                  <a:pt x="1877356" y="1106329"/>
                  <a:pt x="1838931" y="1105778"/>
                </a:cubicBezTo>
                <a:cubicBezTo>
                  <a:pt x="1795471" y="1105778"/>
                  <a:pt x="1783157" y="1093284"/>
                  <a:pt x="1808509" y="1074813"/>
                </a:cubicBezTo>
                <a:cubicBezTo>
                  <a:pt x="1841955" y="1054469"/>
                  <a:pt x="1880558" y="1044221"/>
                  <a:pt x="1919691" y="1045299"/>
                </a:cubicBezTo>
                <a:close/>
                <a:moveTo>
                  <a:pt x="7473502" y="1040409"/>
                </a:moveTo>
                <a:cubicBezTo>
                  <a:pt x="7502963" y="1041680"/>
                  <a:pt x="7531972" y="1048180"/>
                  <a:pt x="7559151" y="1059604"/>
                </a:cubicBezTo>
                <a:cubicBezTo>
                  <a:pt x="7578346" y="1069200"/>
                  <a:pt x="7575267" y="1077712"/>
                  <a:pt x="7552452" y="1077712"/>
                </a:cubicBezTo>
                <a:cubicBezTo>
                  <a:pt x="7524221" y="1076001"/>
                  <a:pt x="7496480" y="1069510"/>
                  <a:pt x="7470424" y="1058516"/>
                </a:cubicBezTo>
                <a:cubicBezTo>
                  <a:pt x="7450868" y="1049100"/>
                  <a:pt x="7452317" y="1040409"/>
                  <a:pt x="7473502" y="1040409"/>
                </a:cubicBezTo>
                <a:close/>
                <a:moveTo>
                  <a:pt x="1664370" y="1038597"/>
                </a:moveTo>
                <a:cubicBezTo>
                  <a:pt x="1699498" y="1038597"/>
                  <a:pt x="1711631" y="1051091"/>
                  <a:pt x="1690083" y="1066301"/>
                </a:cubicBezTo>
                <a:cubicBezTo>
                  <a:pt x="1656893" y="1085048"/>
                  <a:pt x="1619551" y="1095194"/>
                  <a:pt x="1581436" y="1095818"/>
                </a:cubicBezTo>
                <a:cubicBezTo>
                  <a:pt x="1545221" y="1095818"/>
                  <a:pt x="1533811" y="1082780"/>
                  <a:pt x="1556990" y="1067208"/>
                </a:cubicBezTo>
                <a:cubicBezTo>
                  <a:pt x="1589947" y="1049131"/>
                  <a:pt x="1626796" y="1039313"/>
                  <a:pt x="1664370" y="1038597"/>
                </a:cubicBezTo>
                <a:close/>
                <a:moveTo>
                  <a:pt x="1416477" y="1033346"/>
                </a:moveTo>
                <a:cubicBezTo>
                  <a:pt x="1449070" y="1033346"/>
                  <a:pt x="1455045" y="1044392"/>
                  <a:pt x="1430600" y="1059239"/>
                </a:cubicBezTo>
                <a:cubicBezTo>
                  <a:pt x="1399347" y="1075759"/>
                  <a:pt x="1364543" y="1084459"/>
                  <a:pt x="1329197" y="1084590"/>
                </a:cubicBezTo>
                <a:cubicBezTo>
                  <a:pt x="1294427" y="1084590"/>
                  <a:pt x="1287730" y="1073908"/>
                  <a:pt x="1312357" y="1058878"/>
                </a:cubicBezTo>
                <a:cubicBezTo>
                  <a:pt x="1344426" y="1041926"/>
                  <a:pt x="1380188" y="1033156"/>
                  <a:pt x="1416477" y="1033346"/>
                </a:cubicBezTo>
                <a:close/>
                <a:moveTo>
                  <a:pt x="4830674" y="1032442"/>
                </a:moveTo>
                <a:cubicBezTo>
                  <a:pt x="4877394" y="1032442"/>
                  <a:pt x="4928457" y="1050550"/>
                  <a:pt x="4939865" y="1070830"/>
                </a:cubicBezTo>
                <a:cubicBezTo>
                  <a:pt x="4951635" y="1092016"/>
                  <a:pt x="4919584" y="1111031"/>
                  <a:pt x="4870331" y="1111392"/>
                </a:cubicBezTo>
                <a:cubicBezTo>
                  <a:pt x="4821078" y="1111755"/>
                  <a:pt x="4765125" y="1091655"/>
                  <a:pt x="4757158" y="1069925"/>
                </a:cubicBezTo>
                <a:cubicBezTo>
                  <a:pt x="4749190" y="1048196"/>
                  <a:pt x="4783957" y="1032442"/>
                  <a:pt x="4830674" y="1032442"/>
                </a:cubicBezTo>
                <a:close/>
                <a:moveTo>
                  <a:pt x="7198446" y="1030629"/>
                </a:moveTo>
                <a:cubicBezTo>
                  <a:pt x="7229936" y="1031732"/>
                  <a:pt x="7260826" y="1039638"/>
                  <a:pt x="7288985" y="1053807"/>
                </a:cubicBezTo>
                <a:cubicBezTo>
                  <a:pt x="7309807" y="1065577"/>
                  <a:pt x="7304013" y="1073003"/>
                  <a:pt x="7274499" y="1071915"/>
                </a:cubicBezTo>
                <a:cubicBezTo>
                  <a:pt x="7242447" y="1071003"/>
                  <a:pt x="7210993" y="1063092"/>
                  <a:pt x="7182329" y="1048737"/>
                </a:cubicBezTo>
                <a:cubicBezTo>
                  <a:pt x="7160239" y="1036604"/>
                  <a:pt x="7166938" y="1028819"/>
                  <a:pt x="7198446" y="1030629"/>
                </a:cubicBezTo>
                <a:close/>
                <a:moveTo>
                  <a:pt x="1172926" y="1023387"/>
                </a:moveTo>
                <a:cubicBezTo>
                  <a:pt x="1201538" y="1023387"/>
                  <a:pt x="1207151" y="1035339"/>
                  <a:pt x="1183609" y="1047470"/>
                </a:cubicBezTo>
                <a:cubicBezTo>
                  <a:pt x="1153387" y="1061211"/>
                  <a:pt x="1120813" y="1068960"/>
                  <a:pt x="1087638" y="1070287"/>
                </a:cubicBezTo>
                <a:cubicBezTo>
                  <a:pt x="1058125" y="1070287"/>
                  <a:pt x="1053598" y="1057793"/>
                  <a:pt x="1078044" y="1045479"/>
                </a:cubicBezTo>
                <a:cubicBezTo>
                  <a:pt x="1107993" y="1032177"/>
                  <a:pt x="1140186" y="1024681"/>
                  <a:pt x="1172926" y="1023387"/>
                </a:cubicBezTo>
                <a:close/>
                <a:moveTo>
                  <a:pt x="4565758" y="1023386"/>
                </a:moveTo>
                <a:cubicBezTo>
                  <a:pt x="4612657" y="1022842"/>
                  <a:pt x="4664627" y="1041133"/>
                  <a:pt x="4673499" y="1062318"/>
                </a:cubicBezTo>
                <a:cubicBezTo>
                  <a:pt x="4681830" y="1084048"/>
                  <a:pt x="4645614" y="1104872"/>
                  <a:pt x="4594006" y="1103785"/>
                </a:cubicBezTo>
                <a:cubicBezTo>
                  <a:pt x="4542399" y="1102699"/>
                  <a:pt x="4492603" y="1083504"/>
                  <a:pt x="4487715" y="1061955"/>
                </a:cubicBezTo>
                <a:cubicBezTo>
                  <a:pt x="4482825" y="1040408"/>
                  <a:pt x="4518860" y="1023930"/>
                  <a:pt x="4565758" y="1023386"/>
                </a:cubicBezTo>
                <a:close/>
                <a:moveTo>
                  <a:pt x="926297" y="1018680"/>
                </a:moveTo>
                <a:cubicBezTo>
                  <a:pt x="952011" y="1018680"/>
                  <a:pt x="954365" y="1027371"/>
                  <a:pt x="931550" y="1038960"/>
                </a:cubicBezTo>
                <a:cubicBezTo>
                  <a:pt x="904496" y="1051441"/>
                  <a:pt x="875142" y="1058220"/>
                  <a:pt x="845358" y="1058880"/>
                </a:cubicBezTo>
                <a:cubicBezTo>
                  <a:pt x="817651" y="1058880"/>
                  <a:pt x="814212" y="1050730"/>
                  <a:pt x="836846" y="1039141"/>
                </a:cubicBezTo>
                <a:cubicBezTo>
                  <a:pt x="864820" y="1025923"/>
                  <a:pt x="895352" y="1018942"/>
                  <a:pt x="926297" y="1018680"/>
                </a:cubicBezTo>
                <a:close/>
                <a:moveTo>
                  <a:pt x="4301567" y="1015238"/>
                </a:moveTo>
                <a:cubicBezTo>
                  <a:pt x="4351906" y="1016145"/>
                  <a:pt x="4395184" y="1033346"/>
                  <a:pt x="4399168" y="1055075"/>
                </a:cubicBezTo>
                <a:cubicBezTo>
                  <a:pt x="4403151" y="1076804"/>
                  <a:pt x="4364038" y="1095819"/>
                  <a:pt x="4312612" y="1095819"/>
                </a:cubicBezTo>
                <a:cubicBezTo>
                  <a:pt x="4261186" y="1095819"/>
                  <a:pt x="4215555" y="1077711"/>
                  <a:pt x="4212658" y="1054894"/>
                </a:cubicBezTo>
                <a:cubicBezTo>
                  <a:pt x="4209760" y="1032080"/>
                  <a:pt x="4251227" y="1014333"/>
                  <a:pt x="4301567" y="1015238"/>
                </a:cubicBezTo>
                <a:close/>
                <a:moveTo>
                  <a:pt x="6909084" y="1014334"/>
                </a:moveTo>
                <a:cubicBezTo>
                  <a:pt x="6943254" y="1015391"/>
                  <a:pt x="6976789" y="1023790"/>
                  <a:pt x="7007410" y="1038960"/>
                </a:cubicBezTo>
                <a:cubicBezTo>
                  <a:pt x="7032217" y="1052361"/>
                  <a:pt x="7026966" y="1062863"/>
                  <a:pt x="6995097" y="1062863"/>
                </a:cubicBezTo>
                <a:cubicBezTo>
                  <a:pt x="6960566" y="1062275"/>
                  <a:pt x="6926595" y="1054182"/>
                  <a:pt x="6895503" y="1039141"/>
                </a:cubicBezTo>
                <a:cubicBezTo>
                  <a:pt x="6869428" y="1025018"/>
                  <a:pt x="6875766" y="1014334"/>
                  <a:pt x="6909084" y="1014334"/>
                </a:cubicBezTo>
                <a:close/>
                <a:moveTo>
                  <a:pt x="676952" y="1010530"/>
                </a:moveTo>
                <a:cubicBezTo>
                  <a:pt x="698501" y="1010530"/>
                  <a:pt x="699769" y="1016868"/>
                  <a:pt x="680213" y="1026284"/>
                </a:cubicBezTo>
                <a:cubicBezTo>
                  <a:pt x="656418" y="1037278"/>
                  <a:pt x="630543" y="1043023"/>
                  <a:pt x="604340" y="1043124"/>
                </a:cubicBezTo>
                <a:cubicBezTo>
                  <a:pt x="582431" y="1043124"/>
                  <a:pt x="581524" y="1036605"/>
                  <a:pt x="601804" y="1027008"/>
                </a:cubicBezTo>
                <a:cubicBezTo>
                  <a:pt x="625435" y="1016372"/>
                  <a:pt x="651041" y="1010762"/>
                  <a:pt x="676952" y="1010530"/>
                </a:cubicBezTo>
                <a:close/>
                <a:moveTo>
                  <a:pt x="435748" y="1004735"/>
                </a:moveTo>
                <a:cubicBezTo>
                  <a:pt x="450053" y="1004735"/>
                  <a:pt x="448604" y="1012521"/>
                  <a:pt x="432669" y="1019040"/>
                </a:cubicBezTo>
                <a:cubicBezTo>
                  <a:pt x="411918" y="1026709"/>
                  <a:pt x="390116" y="1031226"/>
                  <a:pt x="368025" y="1032439"/>
                </a:cubicBezTo>
                <a:cubicBezTo>
                  <a:pt x="352632" y="1032439"/>
                  <a:pt x="352271" y="1025378"/>
                  <a:pt x="368025" y="1018677"/>
                </a:cubicBezTo>
                <a:cubicBezTo>
                  <a:pt x="389646" y="1010242"/>
                  <a:pt x="412552" y="1005527"/>
                  <a:pt x="435748" y="1004735"/>
                </a:cubicBezTo>
                <a:close/>
                <a:moveTo>
                  <a:pt x="6630223" y="1004556"/>
                </a:moveTo>
                <a:cubicBezTo>
                  <a:pt x="6666512" y="1006368"/>
                  <a:pt x="6702003" y="1015874"/>
                  <a:pt x="6734343" y="1032441"/>
                </a:cubicBezTo>
                <a:cubicBezTo>
                  <a:pt x="6756977" y="1047291"/>
                  <a:pt x="6743939" y="1059965"/>
                  <a:pt x="6707362" y="1058336"/>
                </a:cubicBezTo>
                <a:cubicBezTo>
                  <a:pt x="6670622" y="1056520"/>
                  <a:pt x="6634715" y="1046694"/>
                  <a:pt x="6602157" y="1029544"/>
                </a:cubicBezTo>
                <a:cubicBezTo>
                  <a:pt x="6581152" y="1015058"/>
                  <a:pt x="6594914" y="1003108"/>
                  <a:pt x="6630223" y="1004556"/>
                </a:cubicBezTo>
                <a:close/>
                <a:moveTo>
                  <a:pt x="4048058" y="1003650"/>
                </a:moveTo>
                <a:cubicBezTo>
                  <a:pt x="4099665" y="1004555"/>
                  <a:pt x="4136424" y="1021758"/>
                  <a:pt x="4137329" y="1042763"/>
                </a:cubicBezTo>
                <a:cubicBezTo>
                  <a:pt x="4138236" y="1063768"/>
                  <a:pt x="4094777" y="1083687"/>
                  <a:pt x="4041539" y="1083324"/>
                </a:cubicBezTo>
                <a:cubicBezTo>
                  <a:pt x="3988303" y="1083324"/>
                  <a:pt x="3947379" y="1063768"/>
                  <a:pt x="3951000" y="1041314"/>
                </a:cubicBezTo>
                <a:cubicBezTo>
                  <a:pt x="3954622" y="1018860"/>
                  <a:pt x="3996451" y="1002745"/>
                  <a:pt x="4048058" y="1003650"/>
                </a:cubicBezTo>
                <a:close/>
                <a:moveTo>
                  <a:pt x="3787850" y="996226"/>
                </a:moveTo>
                <a:cubicBezTo>
                  <a:pt x="3836560" y="996226"/>
                  <a:pt x="3878209" y="1012524"/>
                  <a:pt x="3876577" y="1034070"/>
                </a:cubicBezTo>
                <a:cubicBezTo>
                  <a:pt x="3874768" y="1056343"/>
                  <a:pt x="3830765" y="1074995"/>
                  <a:pt x="3776442" y="1074995"/>
                </a:cubicBezTo>
                <a:cubicBezTo>
                  <a:pt x="3722118" y="1074995"/>
                  <a:pt x="3685903" y="1056887"/>
                  <a:pt x="3690429" y="1034070"/>
                </a:cubicBezTo>
                <a:cubicBezTo>
                  <a:pt x="3694958" y="1011256"/>
                  <a:pt x="3739141" y="996226"/>
                  <a:pt x="3787850" y="996226"/>
                </a:cubicBezTo>
                <a:close/>
                <a:moveTo>
                  <a:pt x="6352088" y="991156"/>
                </a:moveTo>
                <a:cubicBezTo>
                  <a:pt x="6389341" y="991137"/>
                  <a:pt x="6425986" y="1000610"/>
                  <a:pt x="6458561" y="1018679"/>
                </a:cubicBezTo>
                <a:cubicBezTo>
                  <a:pt x="6485361" y="1036787"/>
                  <a:pt x="6475040" y="1048014"/>
                  <a:pt x="6433211" y="1047651"/>
                </a:cubicBezTo>
                <a:cubicBezTo>
                  <a:pt x="6395101" y="1048094"/>
                  <a:pt x="6357572" y="1038275"/>
                  <a:pt x="6324564" y="1019223"/>
                </a:cubicBezTo>
                <a:cubicBezTo>
                  <a:pt x="6300661" y="1002383"/>
                  <a:pt x="6311526" y="990975"/>
                  <a:pt x="6352088" y="991156"/>
                </a:cubicBezTo>
                <a:close/>
                <a:moveTo>
                  <a:pt x="3542671" y="985000"/>
                </a:moveTo>
                <a:cubicBezTo>
                  <a:pt x="3592287" y="985542"/>
                  <a:pt x="3625425" y="1002383"/>
                  <a:pt x="3619991" y="1022844"/>
                </a:cubicBezTo>
                <a:cubicBezTo>
                  <a:pt x="3614197" y="1044754"/>
                  <a:pt x="3565668" y="1063225"/>
                  <a:pt x="3512974" y="1062501"/>
                </a:cubicBezTo>
                <a:cubicBezTo>
                  <a:pt x="3460282" y="1061776"/>
                  <a:pt x="3428230" y="1044393"/>
                  <a:pt x="3436379" y="1022844"/>
                </a:cubicBezTo>
                <a:cubicBezTo>
                  <a:pt x="3444527" y="1001296"/>
                  <a:pt x="3493056" y="984456"/>
                  <a:pt x="3542671" y="985000"/>
                </a:cubicBezTo>
                <a:close/>
                <a:moveTo>
                  <a:pt x="6082826" y="981196"/>
                </a:moveTo>
                <a:cubicBezTo>
                  <a:pt x="6123213" y="980719"/>
                  <a:pt x="6162989" y="991100"/>
                  <a:pt x="6197991" y="1011256"/>
                </a:cubicBezTo>
                <a:cubicBezTo>
                  <a:pt x="6221350" y="1028276"/>
                  <a:pt x="6208675" y="1042038"/>
                  <a:pt x="6168656" y="1042581"/>
                </a:cubicBezTo>
                <a:cubicBezTo>
                  <a:pt x="6127557" y="1043302"/>
                  <a:pt x="6087085" y="1032447"/>
                  <a:pt x="6051862" y="1011256"/>
                </a:cubicBezTo>
                <a:cubicBezTo>
                  <a:pt x="6030495" y="994597"/>
                  <a:pt x="6044257" y="981740"/>
                  <a:pt x="6082826" y="981196"/>
                </a:cubicBezTo>
                <a:close/>
                <a:moveTo>
                  <a:pt x="3290247" y="978118"/>
                </a:moveTo>
                <a:cubicBezTo>
                  <a:pt x="3337510" y="978118"/>
                  <a:pt x="3372457" y="994233"/>
                  <a:pt x="3365214" y="1014333"/>
                </a:cubicBezTo>
                <a:cubicBezTo>
                  <a:pt x="3357971" y="1034794"/>
                  <a:pt x="3307089" y="1053627"/>
                  <a:pt x="3257653" y="1054170"/>
                </a:cubicBezTo>
                <a:cubicBezTo>
                  <a:pt x="3208219" y="1054714"/>
                  <a:pt x="3173452" y="1036063"/>
                  <a:pt x="3183412" y="1016145"/>
                </a:cubicBezTo>
                <a:cubicBezTo>
                  <a:pt x="3193371" y="996225"/>
                  <a:pt x="3242986" y="978118"/>
                  <a:pt x="3290247" y="978118"/>
                </a:cubicBezTo>
                <a:close/>
                <a:moveTo>
                  <a:pt x="5820083" y="967978"/>
                </a:moveTo>
                <a:cubicBezTo>
                  <a:pt x="5861006" y="968158"/>
                  <a:pt x="5914787" y="983369"/>
                  <a:pt x="5934705" y="1000391"/>
                </a:cubicBezTo>
                <a:cubicBezTo>
                  <a:pt x="5955349" y="1018499"/>
                  <a:pt x="5936153" y="1033346"/>
                  <a:pt x="5893600" y="1033166"/>
                </a:cubicBezTo>
                <a:cubicBezTo>
                  <a:pt x="5851048" y="1032985"/>
                  <a:pt x="5795818" y="1016868"/>
                  <a:pt x="5777349" y="999484"/>
                </a:cubicBezTo>
                <a:cubicBezTo>
                  <a:pt x="5758878" y="982101"/>
                  <a:pt x="5779158" y="967797"/>
                  <a:pt x="5820083" y="967978"/>
                </a:cubicBezTo>
                <a:close/>
                <a:moveTo>
                  <a:pt x="3041809" y="967615"/>
                </a:moveTo>
                <a:cubicBezTo>
                  <a:pt x="3087440" y="967615"/>
                  <a:pt x="3115871" y="984637"/>
                  <a:pt x="3104643" y="1003650"/>
                </a:cubicBezTo>
                <a:cubicBezTo>
                  <a:pt x="3092874" y="1023567"/>
                  <a:pt x="3037645" y="1042038"/>
                  <a:pt x="2989658" y="1041314"/>
                </a:cubicBezTo>
                <a:cubicBezTo>
                  <a:pt x="2941673" y="1040589"/>
                  <a:pt x="2914512" y="1023206"/>
                  <a:pt x="2928092" y="1003830"/>
                </a:cubicBezTo>
                <a:cubicBezTo>
                  <a:pt x="2941673" y="984454"/>
                  <a:pt x="2996177" y="967615"/>
                  <a:pt x="3041809" y="967615"/>
                </a:cubicBezTo>
                <a:close/>
                <a:moveTo>
                  <a:pt x="2795561" y="962364"/>
                </a:moveTo>
                <a:cubicBezTo>
                  <a:pt x="2842461" y="962364"/>
                  <a:pt x="2866004" y="976126"/>
                  <a:pt x="2851515" y="995682"/>
                </a:cubicBezTo>
                <a:cubicBezTo>
                  <a:pt x="2837031" y="1015238"/>
                  <a:pt x="2787959" y="1031898"/>
                  <a:pt x="2737258" y="1031898"/>
                </a:cubicBezTo>
                <a:cubicBezTo>
                  <a:pt x="2686555" y="1031898"/>
                  <a:pt x="2667540" y="1016506"/>
                  <a:pt x="2685468" y="995682"/>
                </a:cubicBezTo>
                <a:cubicBezTo>
                  <a:pt x="2703393" y="974858"/>
                  <a:pt x="2748664" y="962364"/>
                  <a:pt x="2795561" y="962364"/>
                </a:cubicBezTo>
                <a:close/>
                <a:moveTo>
                  <a:pt x="7822800" y="960011"/>
                </a:moveTo>
                <a:cubicBezTo>
                  <a:pt x="7841432" y="960765"/>
                  <a:pt x="7859812" y="964684"/>
                  <a:pt x="7877123" y="971600"/>
                </a:cubicBezTo>
                <a:cubicBezTo>
                  <a:pt x="7891609" y="977997"/>
                  <a:pt x="7891609" y="981438"/>
                  <a:pt x="7877123" y="981921"/>
                </a:cubicBezTo>
                <a:cubicBezTo>
                  <a:pt x="7858147" y="981546"/>
                  <a:pt x="7839387" y="977807"/>
                  <a:pt x="7821714" y="970875"/>
                </a:cubicBezTo>
                <a:cubicBezTo>
                  <a:pt x="7806141" y="963813"/>
                  <a:pt x="7806323" y="960011"/>
                  <a:pt x="7822800" y="960011"/>
                </a:cubicBezTo>
                <a:close/>
                <a:moveTo>
                  <a:pt x="5564039" y="959467"/>
                </a:moveTo>
                <a:cubicBezTo>
                  <a:pt x="5609127" y="960011"/>
                  <a:pt x="5657112" y="974497"/>
                  <a:pt x="5675944" y="992424"/>
                </a:cubicBezTo>
                <a:cubicBezTo>
                  <a:pt x="5696044" y="1011436"/>
                  <a:pt x="5673771" y="1027371"/>
                  <a:pt x="5626691" y="1026827"/>
                </a:cubicBezTo>
                <a:cubicBezTo>
                  <a:pt x="5579611" y="1026286"/>
                  <a:pt x="5530721" y="1010712"/>
                  <a:pt x="5513338" y="992424"/>
                </a:cubicBezTo>
                <a:cubicBezTo>
                  <a:pt x="5495954" y="974136"/>
                  <a:pt x="5518952" y="958925"/>
                  <a:pt x="5564039" y="959467"/>
                </a:cubicBezTo>
                <a:close/>
                <a:moveTo>
                  <a:pt x="2556724" y="952404"/>
                </a:moveTo>
                <a:cubicBezTo>
                  <a:pt x="2599458" y="952223"/>
                  <a:pt x="2622634" y="966346"/>
                  <a:pt x="2607424" y="984093"/>
                </a:cubicBezTo>
                <a:cubicBezTo>
                  <a:pt x="2591850" y="1002201"/>
                  <a:pt x="2541152" y="1018136"/>
                  <a:pt x="2496062" y="1018860"/>
                </a:cubicBezTo>
                <a:cubicBezTo>
                  <a:pt x="2450975" y="1019584"/>
                  <a:pt x="2425804" y="1003830"/>
                  <a:pt x="2445360" y="984998"/>
                </a:cubicBezTo>
                <a:cubicBezTo>
                  <a:pt x="2464917" y="966166"/>
                  <a:pt x="2513988" y="952584"/>
                  <a:pt x="2556724" y="952404"/>
                </a:cubicBezTo>
                <a:close/>
                <a:moveTo>
                  <a:pt x="5304918" y="947697"/>
                </a:moveTo>
                <a:cubicBezTo>
                  <a:pt x="5349825" y="947877"/>
                  <a:pt x="5402700" y="963088"/>
                  <a:pt x="5418635" y="981739"/>
                </a:cubicBezTo>
                <a:cubicBezTo>
                  <a:pt x="5435113" y="1000752"/>
                  <a:pt x="5409038" y="1017955"/>
                  <a:pt x="5361958" y="1017955"/>
                </a:cubicBezTo>
                <a:cubicBezTo>
                  <a:pt x="5314878" y="1017955"/>
                  <a:pt x="5261098" y="999847"/>
                  <a:pt x="5246973" y="981739"/>
                </a:cubicBezTo>
                <a:cubicBezTo>
                  <a:pt x="5232850" y="963631"/>
                  <a:pt x="5260011" y="947516"/>
                  <a:pt x="5304918" y="947697"/>
                </a:cubicBezTo>
                <a:close/>
                <a:moveTo>
                  <a:pt x="2319330" y="946610"/>
                </a:moveTo>
                <a:cubicBezTo>
                  <a:pt x="2359167" y="946610"/>
                  <a:pt x="2378362" y="961458"/>
                  <a:pt x="2359533" y="977936"/>
                </a:cubicBezTo>
                <a:cubicBezTo>
                  <a:pt x="2340700" y="994415"/>
                  <a:pt x="2286193" y="1010169"/>
                  <a:pt x="2245085" y="1009806"/>
                </a:cubicBezTo>
                <a:cubicBezTo>
                  <a:pt x="2203982" y="1009445"/>
                  <a:pt x="2185512" y="994052"/>
                  <a:pt x="2206337" y="977212"/>
                </a:cubicBezTo>
                <a:cubicBezTo>
                  <a:pt x="2240472" y="956798"/>
                  <a:pt x="2279566" y="946207"/>
                  <a:pt x="2319330" y="946610"/>
                </a:cubicBezTo>
                <a:close/>
                <a:moveTo>
                  <a:pt x="7541770" y="945524"/>
                </a:moveTo>
                <a:cubicBezTo>
                  <a:pt x="7565617" y="946180"/>
                  <a:pt x="7589175" y="951084"/>
                  <a:pt x="7611302" y="960010"/>
                </a:cubicBezTo>
                <a:cubicBezTo>
                  <a:pt x="7629409" y="968341"/>
                  <a:pt x="7628143" y="974677"/>
                  <a:pt x="7606414" y="974135"/>
                </a:cubicBezTo>
                <a:cubicBezTo>
                  <a:pt x="7583888" y="973168"/>
                  <a:pt x="7561668" y="968455"/>
                  <a:pt x="7540682" y="960191"/>
                </a:cubicBezTo>
                <a:cubicBezTo>
                  <a:pt x="7521126" y="952043"/>
                  <a:pt x="7522574" y="945524"/>
                  <a:pt x="7541770" y="945524"/>
                </a:cubicBezTo>
                <a:close/>
                <a:moveTo>
                  <a:pt x="5043985" y="938643"/>
                </a:moveTo>
                <a:cubicBezTo>
                  <a:pt x="5089616" y="938643"/>
                  <a:pt x="5141584" y="954397"/>
                  <a:pt x="5156253" y="973229"/>
                </a:cubicBezTo>
                <a:cubicBezTo>
                  <a:pt x="5170920" y="992061"/>
                  <a:pt x="5140860" y="1011437"/>
                  <a:pt x="5091065" y="1011074"/>
                </a:cubicBezTo>
                <a:cubicBezTo>
                  <a:pt x="5041268" y="1010713"/>
                  <a:pt x="4990927" y="992966"/>
                  <a:pt x="4979521" y="973590"/>
                </a:cubicBezTo>
                <a:cubicBezTo>
                  <a:pt x="4968112" y="954216"/>
                  <a:pt x="4998534" y="938643"/>
                  <a:pt x="5043985" y="938643"/>
                </a:cubicBezTo>
                <a:close/>
                <a:moveTo>
                  <a:pt x="2082117" y="937918"/>
                </a:moveTo>
                <a:cubicBezTo>
                  <a:pt x="2123223" y="937557"/>
                  <a:pt x="2139518" y="949688"/>
                  <a:pt x="2119238" y="966167"/>
                </a:cubicBezTo>
                <a:cubicBezTo>
                  <a:pt x="2085919" y="986696"/>
                  <a:pt x="2047369" y="997137"/>
                  <a:pt x="2008238" y="996226"/>
                </a:cubicBezTo>
                <a:cubicBezTo>
                  <a:pt x="1966229" y="996226"/>
                  <a:pt x="1952465" y="983006"/>
                  <a:pt x="1976005" y="965986"/>
                </a:cubicBezTo>
                <a:cubicBezTo>
                  <a:pt x="2008254" y="947382"/>
                  <a:pt x="2044887" y="937696"/>
                  <a:pt x="2082117" y="937918"/>
                </a:cubicBezTo>
                <a:close/>
                <a:moveTo>
                  <a:pt x="7265625" y="934116"/>
                </a:moveTo>
                <a:cubicBezTo>
                  <a:pt x="7293784" y="935053"/>
                  <a:pt x="7321543" y="941191"/>
                  <a:pt x="7347472" y="952223"/>
                </a:cubicBezTo>
                <a:cubicBezTo>
                  <a:pt x="7369384" y="962363"/>
                  <a:pt x="7367211" y="970331"/>
                  <a:pt x="7342402" y="970331"/>
                </a:cubicBezTo>
                <a:cubicBezTo>
                  <a:pt x="7313937" y="969500"/>
                  <a:pt x="7285870" y="963360"/>
                  <a:pt x="7259650" y="952223"/>
                </a:cubicBezTo>
                <a:cubicBezTo>
                  <a:pt x="7238645" y="942446"/>
                  <a:pt x="7241542" y="934116"/>
                  <a:pt x="7265625" y="934116"/>
                </a:cubicBezTo>
                <a:close/>
                <a:moveTo>
                  <a:pt x="1846532" y="933574"/>
                </a:moveTo>
                <a:cubicBezTo>
                  <a:pt x="1882749" y="932306"/>
                  <a:pt x="1896874" y="944800"/>
                  <a:pt x="1877136" y="960010"/>
                </a:cubicBezTo>
                <a:cubicBezTo>
                  <a:pt x="1843781" y="978166"/>
                  <a:pt x="1806463" y="987865"/>
                  <a:pt x="1768490" y="988259"/>
                </a:cubicBezTo>
                <a:cubicBezTo>
                  <a:pt x="1732277" y="988259"/>
                  <a:pt x="1718695" y="975402"/>
                  <a:pt x="1740060" y="960735"/>
                </a:cubicBezTo>
                <a:cubicBezTo>
                  <a:pt x="1772944" y="943486"/>
                  <a:pt x="1809413" y="934182"/>
                  <a:pt x="1846532" y="933574"/>
                </a:cubicBezTo>
                <a:close/>
                <a:moveTo>
                  <a:pt x="4795547" y="927597"/>
                </a:moveTo>
                <a:cubicBezTo>
                  <a:pt x="4845524" y="927777"/>
                  <a:pt x="4890794" y="941902"/>
                  <a:pt x="4902564" y="962907"/>
                </a:cubicBezTo>
                <a:cubicBezTo>
                  <a:pt x="4914514" y="983912"/>
                  <a:pt x="4884456" y="1000028"/>
                  <a:pt x="4833574" y="1000389"/>
                </a:cubicBezTo>
                <a:cubicBezTo>
                  <a:pt x="4782690" y="1000752"/>
                  <a:pt x="4732170" y="984093"/>
                  <a:pt x="4723116" y="962364"/>
                </a:cubicBezTo>
                <a:cubicBezTo>
                  <a:pt x="4714063" y="940634"/>
                  <a:pt x="4745569" y="927416"/>
                  <a:pt x="4795547" y="927597"/>
                </a:cubicBezTo>
                <a:close/>
                <a:moveTo>
                  <a:pt x="1612221" y="923795"/>
                </a:moveTo>
                <a:cubicBezTo>
                  <a:pt x="1644273" y="924882"/>
                  <a:pt x="1652962" y="935927"/>
                  <a:pt x="1631232" y="949146"/>
                </a:cubicBezTo>
                <a:cubicBezTo>
                  <a:pt x="1599671" y="965115"/>
                  <a:pt x="1564851" y="973603"/>
                  <a:pt x="1529471" y="973953"/>
                </a:cubicBezTo>
                <a:cubicBezTo>
                  <a:pt x="1493252" y="973953"/>
                  <a:pt x="1485647" y="961822"/>
                  <a:pt x="1511362" y="947516"/>
                </a:cubicBezTo>
                <a:cubicBezTo>
                  <a:pt x="1542850" y="932329"/>
                  <a:pt x="1577274" y="924234"/>
                  <a:pt x="1612221" y="923795"/>
                </a:cubicBezTo>
                <a:close/>
                <a:moveTo>
                  <a:pt x="7000527" y="921441"/>
                </a:moveTo>
                <a:cubicBezTo>
                  <a:pt x="7030967" y="922913"/>
                  <a:pt x="7060898" y="929844"/>
                  <a:pt x="7088893" y="941903"/>
                </a:cubicBezTo>
                <a:cubicBezTo>
                  <a:pt x="7110983" y="953491"/>
                  <a:pt x="7105191" y="963270"/>
                  <a:pt x="7076216" y="962727"/>
                </a:cubicBezTo>
                <a:cubicBezTo>
                  <a:pt x="7043841" y="961388"/>
                  <a:pt x="7011989" y="953891"/>
                  <a:pt x="6982420" y="940635"/>
                </a:cubicBezTo>
                <a:cubicBezTo>
                  <a:pt x="6962683" y="929589"/>
                  <a:pt x="6971011" y="920537"/>
                  <a:pt x="7000527" y="921441"/>
                </a:cubicBezTo>
                <a:close/>
                <a:moveTo>
                  <a:pt x="1376278" y="920897"/>
                </a:moveTo>
                <a:cubicBezTo>
                  <a:pt x="1407784" y="919992"/>
                  <a:pt x="1415026" y="928684"/>
                  <a:pt x="1393663" y="941902"/>
                </a:cubicBezTo>
                <a:cubicBezTo>
                  <a:pt x="1364559" y="956638"/>
                  <a:pt x="1332474" y="964506"/>
                  <a:pt x="1299861" y="964900"/>
                </a:cubicBezTo>
                <a:cubicBezTo>
                  <a:pt x="1266543" y="964900"/>
                  <a:pt x="1258394" y="956569"/>
                  <a:pt x="1279945" y="943895"/>
                </a:cubicBezTo>
                <a:cubicBezTo>
                  <a:pt x="1309820" y="928808"/>
                  <a:pt x="1342815" y="920933"/>
                  <a:pt x="1376278" y="920897"/>
                </a:cubicBezTo>
                <a:close/>
                <a:moveTo>
                  <a:pt x="4549099" y="919991"/>
                </a:moveTo>
                <a:cubicBezTo>
                  <a:pt x="4600705" y="919991"/>
                  <a:pt x="4645071" y="934840"/>
                  <a:pt x="4653762" y="956206"/>
                </a:cubicBezTo>
                <a:cubicBezTo>
                  <a:pt x="4662454" y="977574"/>
                  <a:pt x="4629136" y="993870"/>
                  <a:pt x="4574813" y="993690"/>
                </a:cubicBezTo>
                <a:cubicBezTo>
                  <a:pt x="4520489" y="993509"/>
                  <a:pt x="4479021" y="977755"/>
                  <a:pt x="4471961" y="957474"/>
                </a:cubicBezTo>
                <a:cubicBezTo>
                  <a:pt x="4464898" y="937194"/>
                  <a:pt x="4497853" y="920171"/>
                  <a:pt x="4549099" y="919991"/>
                </a:cubicBezTo>
                <a:close/>
                <a:moveTo>
                  <a:pt x="6736698" y="912206"/>
                </a:moveTo>
                <a:cubicBezTo>
                  <a:pt x="6771176" y="912835"/>
                  <a:pt x="6805163" y="920409"/>
                  <a:pt x="6836653" y="934479"/>
                </a:cubicBezTo>
                <a:cubicBezTo>
                  <a:pt x="6860013" y="946792"/>
                  <a:pt x="6854761" y="958018"/>
                  <a:pt x="6823254" y="958201"/>
                </a:cubicBezTo>
                <a:cubicBezTo>
                  <a:pt x="6788343" y="957573"/>
                  <a:pt x="6753956" y="949743"/>
                  <a:pt x="6722212" y="935203"/>
                </a:cubicBezTo>
                <a:cubicBezTo>
                  <a:pt x="6699758" y="923070"/>
                  <a:pt x="6706821" y="912386"/>
                  <a:pt x="6736698" y="912206"/>
                </a:cubicBezTo>
                <a:close/>
                <a:moveTo>
                  <a:pt x="1151739" y="911663"/>
                </a:moveTo>
                <a:cubicBezTo>
                  <a:pt x="1176729" y="911482"/>
                  <a:pt x="1183247" y="920718"/>
                  <a:pt x="1164958" y="930677"/>
                </a:cubicBezTo>
                <a:cubicBezTo>
                  <a:pt x="1137108" y="943067"/>
                  <a:pt x="1107211" y="950190"/>
                  <a:pt x="1076771" y="951683"/>
                </a:cubicBezTo>
                <a:cubicBezTo>
                  <a:pt x="1048526" y="951683"/>
                  <a:pt x="1042188" y="941903"/>
                  <a:pt x="1063916" y="931219"/>
                </a:cubicBezTo>
                <a:cubicBezTo>
                  <a:pt x="1091766" y="919468"/>
                  <a:pt x="1121537" y="912841"/>
                  <a:pt x="1151739" y="911663"/>
                </a:cubicBezTo>
                <a:close/>
                <a:moveTo>
                  <a:pt x="4305912" y="908402"/>
                </a:moveTo>
                <a:cubicBezTo>
                  <a:pt x="4353173" y="908402"/>
                  <a:pt x="4402970" y="925241"/>
                  <a:pt x="4408220" y="945161"/>
                </a:cubicBezTo>
                <a:cubicBezTo>
                  <a:pt x="4413471" y="965261"/>
                  <a:pt x="4372005" y="984093"/>
                  <a:pt x="4320760" y="984093"/>
                </a:cubicBezTo>
                <a:cubicBezTo>
                  <a:pt x="4269516" y="984093"/>
                  <a:pt x="4221349" y="964717"/>
                  <a:pt x="4220081" y="944617"/>
                </a:cubicBezTo>
                <a:cubicBezTo>
                  <a:pt x="4218814" y="924517"/>
                  <a:pt x="4258651" y="908402"/>
                  <a:pt x="4305912" y="908402"/>
                </a:cubicBezTo>
                <a:close/>
                <a:moveTo>
                  <a:pt x="920865" y="908221"/>
                </a:moveTo>
                <a:cubicBezTo>
                  <a:pt x="944226" y="907678"/>
                  <a:pt x="947484" y="915645"/>
                  <a:pt x="927569" y="924880"/>
                </a:cubicBezTo>
                <a:cubicBezTo>
                  <a:pt x="902018" y="935349"/>
                  <a:pt x="874764" y="941056"/>
                  <a:pt x="847168" y="941720"/>
                </a:cubicBezTo>
                <a:cubicBezTo>
                  <a:pt x="824532" y="941720"/>
                  <a:pt x="823808" y="932484"/>
                  <a:pt x="845358" y="923612"/>
                </a:cubicBezTo>
                <a:cubicBezTo>
                  <a:pt x="869494" y="914291"/>
                  <a:pt x="895009" y="909088"/>
                  <a:pt x="920865" y="908221"/>
                </a:cubicBezTo>
                <a:close/>
                <a:moveTo>
                  <a:pt x="4065623" y="901883"/>
                </a:moveTo>
                <a:cubicBezTo>
                  <a:pt x="4113066" y="901883"/>
                  <a:pt x="4160327" y="917817"/>
                  <a:pt x="4163043" y="937737"/>
                </a:cubicBezTo>
                <a:cubicBezTo>
                  <a:pt x="4165760" y="957835"/>
                  <a:pt x="4121758" y="976667"/>
                  <a:pt x="4070332" y="976850"/>
                </a:cubicBezTo>
                <a:cubicBezTo>
                  <a:pt x="4018905" y="977030"/>
                  <a:pt x="3973818" y="958742"/>
                  <a:pt x="3975086" y="938098"/>
                </a:cubicBezTo>
                <a:cubicBezTo>
                  <a:pt x="3976352" y="917456"/>
                  <a:pt x="4018181" y="901883"/>
                  <a:pt x="4065623" y="901883"/>
                </a:cubicBezTo>
                <a:close/>
                <a:moveTo>
                  <a:pt x="6482282" y="901161"/>
                </a:moveTo>
                <a:cubicBezTo>
                  <a:pt x="6517412" y="901233"/>
                  <a:pt x="6551996" y="909740"/>
                  <a:pt x="6583142" y="925968"/>
                </a:cubicBezTo>
                <a:cubicBezTo>
                  <a:pt x="6605958" y="940273"/>
                  <a:pt x="6594913" y="950231"/>
                  <a:pt x="6556525" y="949507"/>
                </a:cubicBezTo>
                <a:cubicBezTo>
                  <a:pt x="6520887" y="949440"/>
                  <a:pt x="6485814" y="940611"/>
                  <a:pt x="6454397" y="923795"/>
                </a:cubicBezTo>
                <a:cubicBezTo>
                  <a:pt x="6433392" y="909852"/>
                  <a:pt x="6445162" y="900436"/>
                  <a:pt x="6482282" y="901161"/>
                </a:cubicBezTo>
                <a:close/>
                <a:moveTo>
                  <a:pt x="697409" y="900798"/>
                </a:moveTo>
                <a:cubicBezTo>
                  <a:pt x="717872" y="900798"/>
                  <a:pt x="720227" y="906231"/>
                  <a:pt x="702843" y="914016"/>
                </a:cubicBezTo>
                <a:cubicBezTo>
                  <a:pt x="681766" y="922810"/>
                  <a:pt x="659220" y="927599"/>
                  <a:pt x="636387" y="928141"/>
                </a:cubicBezTo>
                <a:cubicBezTo>
                  <a:pt x="615382" y="928141"/>
                  <a:pt x="613572" y="922707"/>
                  <a:pt x="631497" y="914740"/>
                </a:cubicBezTo>
                <a:cubicBezTo>
                  <a:pt x="652430" y="906079"/>
                  <a:pt x="674775" y="901353"/>
                  <a:pt x="697409" y="900798"/>
                </a:cubicBezTo>
                <a:close/>
                <a:moveTo>
                  <a:pt x="470874" y="897357"/>
                </a:moveTo>
                <a:cubicBezTo>
                  <a:pt x="485724" y="897357"/>
                  <a:pt x="484638" y="902066"/>
                  <a:pt x="468340" y="908402"/>
                </a:cubicBezTo>
                <a:cubicBezTo>
                  <a:pt x="451609" y="914705"/>
                  <a:pt x="433898" y="918015"/>
                  <a:pt x="416009" y="918181"/>
                </a:cubicBezTo>
                <a:cubicBezTo>
                  <a:pt x="401160" y="918181"/>
                  <a:pt x="402428" y="913291"/>
                  <a:pt x="419087" y="906953"/>
                </a:cubicBezTo>
                <a:cubicBezTo>
                  <a:pt x="435655" y="900725"/>
                  <a:pt x="453184" y="897475"/>
                  <a:pt x="470874" y="897357"/>
                </a:cubicBezTo>
                <a:close/>
                <a:moveTo>
                  <a:pt x="3822617" y="892106"/>
                </a:moveTo>
                <a:cubicBezTo>
                  <a:pt x="3871146" y="892106"/>
                  <a:pt x="3912793" y="908221"/>
                  <a:pt x="3911888" y="927597"/>
                </a:cubicBezTo>
                <a:cubicBezTo>
                  <a:pt x="3910802" y="947334"/>
                  <a:pt x="3864264" y="965805"/>
                  <a:pt x="3813381" y="965986"/>
                </a:cubicBezTo>
                <a:cubicBezTo>
                  <a:pt x="3762499" y="966166"/>
                  <a:pt x="3720850" y="947878"/>
                  <a:pt x="3724472" y="928321"/>
                </a:cubicBezTo>
                <a:cubicBezTo>
                  <a:pt x="3728093" y="908765"/>
                  <a:pt x="3774088" y="892106"/>
                  <a:pt x="3822617" y="892106"/>
                </a:cubicBezTo>
                <a:close/>
                <a:moveTo>
                  <a:pt x="6226603" y="891201"/>
                </a:moveTo>
                <a:cubicBezTo>
                  <a:pt x="6264109" y="891244"/>
                  <a:pt x="6301079" y="900115"/>
                  <a:pt x="6334525" y="917095"/>
                </a:cubicBezTo>
                <a:cubicBezTo>
                  <a:pt x="6358608" y="931943"/>
                  <a:pt x="6348287" y="944619"/>
                  <a:pt x="6311167" y="945163"/>
                </a:cubicBezTo>
                <a:cubicBezTo>
                  <a:pt x="6271811" y="945733"/>
                  <a:pt x="6232968" y="936194"/>
                  <a:pt x="6198355" y="917457"/>
                </a:cubicBezTo>
                <a:cubicBezTo>
                  <a:pt x="6177169" y="902970"/>
                  <a:pt x="6190025" y="891381"/>
                  <a:pt x="6226603" y="891201"/>
                </a:cubicBezTo>
                <a:close/>
                <a:moveTo>
                  <a:pt x="3589751" y="885044"/>
                </a:moveTo>
                <a:cubicBezTo>
                  <a:pt x="3637375" y="885044"/>
                  <a:pt x="3673771" y="901159"/>
                  <a:pt x="3670873" y="919630"/>
                </a:cubicBezTo>
                <a:cubicBezTo>
                  <a:pt x="3667976" y="938099"/>
                  <a:pt x="3618723" y="958198"/>
                  <a:pt x="3568204" y="958562"/>
                </a:cubicBezTo>
                <a:cubicBezTo>
                  <a:pt x="3518044" y="958562"/>
                  <a:pt x="3477665" y="940454"/>
                  <a:pt x="3485633" y="921259"/>
                </a:cubicBezTo>
                <a:cubicBezTo>
                  <a:pt x="3493600" y="902066"/>
                  <a:pt x="3542129" y="885044"/>
                  <a:pt x="3589751" y="885044"/>
                </a:cubicBezTo>
                <a:close/>
                <a:moveTo>
                  <a:pt x="5974180" y="879432"/>
                </a:moveTo>
                <a:cubicBezTo>
                  <a:pt x="6013216" y="879304"/>
                  <a:pt x="6051673" y="888887"/>
                  <a:pt x="6086087" y="907316"/>
                </a:cubicBezTo>
                <a:cubicBezTo>
                  <a:pt x="6108177" y="922707"/>
                  <a:pt x="6093147" y="936652"/>
                  <a:pt x="6053493" y="937013"/>
                </a:cubicBezTo>
                <a:cubicBezTo>
                  <a:pt x="6013783" y="937289"/>
                  <a:pt x="5974678" y="927310"/>
                  <a:pt x="5939957" y="908041"/>
                </a:cubicBezTo>
                <a:cubicBezTo>
                  <a:pt x="5919856" y="893011"/>
                  <a:pt x="5935972" y="879612"/>
                  <a:pt x="5974180" y="879432"/>
                </a:cubicBezTo>
                <a:close/>
                <a:moveTo>
                  <a:pt x="3359960" y="876534"/>
                </a:moveTo>
                <a:cubicBezTo>
                  <a:pt x="3406860" y="876534"/>
                  <a:pt x="3439998" y="892649"/>
                  <a:pt x="3432392" y="911301"/>
                </a:cubicBezTo>
                <a:cubicBezTo>
                  <a:pt x="3424787" y="929951"/>
                  <a:pt x="3371188" y="947517"/>
                  <a:pt x="3321211" y="947517"/>
                </a:cubicBezTo>
                <a:cubicBezTo>
                  <a:pt x="3271233" y="947517"/>
                  <a:pt x="3240812" y="929409"/>
                  <a:pt x="3252763" y="910214"/>
                </a:cubicBezTo>
                <a:cubicBezTo>
                  <a:pt x="3264715" y="891020"/>
                  <a:pt x="3313604" y="875990"/>
                  <a:pt x="3359960" y="876534"/>
                </a:cubicBezTo>
                <a:close/>
                <a:moveTo>
                  <a:pt x="5725017" y="871644"/>
                </a:moveTo>
                <a:cubicBezTo>
                  <a:pt x="5763195" y="871055"/>
                  <a:pt x="5800791" y="881019"/>
                  <a:pt x="5833664" y="900436"/>
                </a:cubicBezTo>
                <a:cubicBezTo>
                  <a:pt x="5855937" y="917639"/>
                  <a:pt x="5838734" y="931582"/>
                  <a:pt x="5794371" y="931582"/>
                </a:cubicBezTo>
                <a:cubicBezTo>
                  <a:pt x="5750007" y="931582"/>
                  <a:pt x="5699847" y="918000"/>
                  <a:pt x="5680654" y="900797"/>
                </a:cubicBezTo>
                <a:cubicBezTo>
                  <a:pt x="5661459" y="883596"/>
                  <a:pt x="5681922" y="871283"/>
                  <a:pt x="5725017" y="871644"/>
                </a:cubicBezTo>
                <a:close/>
                <a:moveTo>
                  <a:pt x="3127276" y="871282"/>
                </a:moveTo>
                <a:cubicBezTo>
                  <a:pt x="3175444" y="871101"/>
                  <a:pt x="3203692" y="884680"/>
                  <a:pt x="3193732" y="903512"/>
                </a:cubicBezTo>
                <a:cubicBezTo>
                  <a:pt x="3183231" y="923793"/>
                  <a:pt x="3138323" y="938279"/>
                  <a:pt x="3088346" y="938823"/>
                </a:cubicBezTo>
                <a:cubicBezTo>
                  <a:pt x="3035289" y="938823"/>
                  <a:pt x="3006680" y="924517"/>
                  <a:pt x="3020803" y="904237"/>
                </a:cubicBezTo>
                <a:cubicBezTo>
                  <a:pt x="3034928" y="883956"/>
                  <a:pt x="3079111" y="871462"/>
                  <a:pt x="3127276" y="871282"/>
                </a:cubicBezTo>
                <a:close/>
                <a:moveTo>
                  <a:pt x="2900389" y="865487"/>
                </a:moveTo>
                <a:cubicBezTo>
                  <a:pt x="2946382" y="865667"/>
                  <a:pt x="2971008" y="879792"/>
                  <a:pt x="2958876" y="897176"/>
                </a:cubicBezTo>
                <a:cubicBezTo>
                  <a:pt x="2945838" y="915283"/>
                  <a:pt x="2894231" y="931579"/>
                  <a:pt x="2846267" y="931399"/>
                </a:cubicBezTo>
                <a:cubicBezTo>
                  <a:pt x="2798281" y="931218"/>
                  <a:pt x="2773837" y="916008"/>
                  <a:pt x="2788866" y="898261"/>
                </a:cubicBezTo>
                <a:cubicBezTo>
                  <a:pt x="2803895" y="880516"/>
                  <a:pt x="2854415" y="865306"/>
                  <a:pt x="2900389" y="865487"/>
                </a:cubicBezTo>
                <a:close/>
                <a:moveTo>
                  <a:pt x="7600620" y="863677"/>
                </a:moveTo>
                <a:cubicBezTo>
                  <a:pt x="7620301" y="864784"/>
                  <a:pt x="7639732" y="868560"/>
                  <a:pt x="7658382" y="874905"/>
                </a:cubicBezTo>
                <a:cubicBezTo>
                  <a:pt x="7672326" y="880337"/>
                  <a:pt x="7672868" y="886131"/>
                  <a:pt x="7658382" y="886493"/>
                </a:cubicBezTo>
                <a:cubicBezTo>
                  <a:pt x="7638736" y="885675"/>
                  <a:pt x="7619288" y="882141"/>
                  <a:pt x="7600620" y="875991"/>
                </a:cubicBezTo>
                <a:cubicBezTo>
                  <a:pt x="7584141" y="869835"/>
                  <a:pt x="7584141" y="863497"/>
                  <a:pt x="7600620" y="863677"/>
                </a:cubicBezTo>
                <a:close/>
                <a:moveTo>
                  <a:pt x="5481830" y="863314"/>
                </a:moveTo>
                <a:cubicBezTo>
                  <a:pt x="5523659" y="863314"/>
                  <a:pt x="5579792" y="878344"/>
                  <a:pt x="5596451" y="895183"/>
                </a:cubicBezTo>
                <a:cubicBezTo>
                  <a:pt x="5613110" y="912023"/>
                  <a:pt x="5590296" y="926872"/>
                  <a:pt x="5546657" y="927053"/>
                </a:cubicBezTo>
                <a:cubicBezTo>
                  <a:pt x="5501567" y="927053"/>
                  <a:pt x="5445795" y="910937"/>
                  <a:pt x="5430767" y="893735"/>
                </a:cubicBezTo>
                <a:cubicBezTo>
                  <a:pt x="5415737" y="876532"/>
                  <a:pt x="5440001" y="863314"/>
                  <a:pt x="5481830" y="863314"/>
                </a:cubicBezTo>
                <a:close/>
                <a:moveTo>
                  <a:pt x="2677502" y="856977"/>
                </a:moveTo>
                <a:cubicBezTo>
                  <a:pt x="2718242" y="857338"/>
                  <a:pt x="2744139" y="872912"/>
                  <a:pt x="2726393" y="889390"/>
                </a:cubicBezTo>
                <a:cubicBezTo>
                  <a:pt x="2708647" y="905867"/>
                  <a:pt x="2655773" y="920716"/>
                  <a:pt x="2613220" y="920172"/>
                </a:cubicBezTo>
                <a:cubicBezTo>
                  <a:pt x="2568492" y="920172"/>
                  <a:pt x="2546041" y="903333"/>
                  <a:pt x="2565958" y="886311"/>
                </a:cubicBezTo>
                <a:cubicBezTo>
                  <a:pt x="2585874" y="869290"/>
                  <a:pt x="2636756" y="856614"/>
                  <a:pt x="2677502" y="856977"/>
                </a:cubicBezTo>
                <a:close/>
                <a:moveTo>
                  <a:pt x="5242446" y="852993"/>
                </a:moveTo>
                <a:cubicBezTo>
                  <a:pt x="5287172" y="853173"/>
                  <a:pt x="5338055" y="867298"/>
                  <a:pt x="5353446" y="885406"/>
                </a:cubicBezTo>
                <a:cubicBezTo>
                  <a:pt x="5369200" y="903514"/>
                  <a:pt x="5342764" y="918361"/>
                  <a:pt x="5293691" y="917819"/>
                </a:cubicBezTo>
                <a:cubicBezTo>
                  <a:pt x="5244619" y="917276"/>
                  <a:pt x="5195729" y="901521"/>
                  <a:pt x="5183233" y="883052"/>
                </a:cubicBezTo>
                <a:cubicBezTo>
                  <a:pt x="5170739" y="864582"/>
                  <a:pt x="5197719" y="852812"/>
                  <a:pt x="5242446" y="852993"/>
                </a:cubicBezTo>
                <a:close/>
                <a:moveTo>
                  <a:pt x="2440834" y="852813"/>
                </a:moveTo>
                <a:cubicBezTo>
                  <a:pt x="2481394" y="852632"/>
                  <a:pt x="2502943" y="865126"/>
                  <a:pt x="2485196" y="881424"/>
                </a:cubicBezTo>
                <a:cubicBezTo>
                  <a:pt x="2467089" y="898263"/>
                  <a:pt x="2418380" y="911481"/>
                  <a:pt x="2374557" y="911120"/>
                </a:cubicBezTo>
                <a:cubicBezTo>
                  <a:pt x="2330739" y="910757"/>
                  <a:pt x="2313717" y="897176"/>
                  <a:pt x="2334541" y="880517"/>
                </a:cubicBezTo>
                <a:cubicBezTo>
                  <a:pt x="2355367" y="863858"/>
                  <a:pt x="2400272" y="852993"/>
                  <a:pt x="2440834" y="852813"/>
                </a:cubicBezTo>
                <a:close/>
                <a:moveTo>
                  <a:pt x="7340773" y="851364"/>
                </a:moveTo>
                <a:cubicBezTo>
                  <a:pt x="7364711" y="852588"/>
                  <a:pt x="7388341" y="857409"/>
                  <a:pt x="7410848" y="865669"/>
                </a:cubicBezTo>
                <a:cubicBezTo>
                  <a:pt x="7428956" y="873456"/>
                  <a:pt x="7426058" y="880879"/>
                  <a:pt x="7403968" y="880155"/>
                </a:cubicBezTo>
                <a:cubicBezTo>
                  <a:pt x="7379830" y="878885"/>
                  <a:pt x="7356036" y="873750"/>
                  <a:pt x="7333529" y="864945"/>
                </a:cubicBezTo>
                <a:cubicBezTo>
                  <a:pt x="7317775" y="857339"/>
                  <a:pt x="7321216" y="851364"/>
                  <a:pt x="7340773" y="851364"/>
                </a:cubicBezTo>
                <a:close/>
                <a:moveTo>
                  <a:pt x="5007767" y="845750"/>
                </a:moveTo>
                <a:cubicBezTo>
                  <a:pt x="5056659" y="845750"/>
                  <a:pt x="5102835" y="859875"/>
                  <a:pt x="5116414" y="878888"/>
                </a:cubicBezTo>
                <a:cubicBezTo>
                  <a:pt x="5129995" y="897900"/>
                  <a:pt x="5101928" y="912567"/>
                  <a:pt x="5050140" y="912025"/>
                </a:cubicBezTo>
                <a:cubicBezTo>
                  <a:pt x="4998351" y="911482"/>
                  <a:pt x="4955436" y="897176"/>
                  <a:pt x="4943303" y="878344"/>
                </a:cubicBezTo>
                <a:cubicBezTo>
                  <a:pt x="4931173" y="859512"/>
                  <a:pt x="4958333" y="845750"/>
                  <a:pt x="5007767" y="845750"/>
                </a:cubicBezTo>
                <a:close/>
                <a:moveTo>
                  <a:pt x="2222634" y="844482"/>
                </a:moveTo>
                <a:cubicBezTo>
                  <a:pt x="2260481" y="844482"/>
                  <a:pt x="2278768" y="858063"/>
                  <a:pt x="2258851" y="872549"/>
                </a:cubicBezTo>
                <a:cubicBezTo>
                  <a:pt x="2225498" y="890676"/>
                  <a:pt x="2188156" y="900200"/>
                  <a:pt x="2150203" y="900254"/>
                </a:cubicBezTo>
                <a:cubicBezTo>
                  <a:pt x="2110726" y="900254"/>
                  <a:pt x="2093528" y="885767"/>
                  <a:pt x="2113987" y="871101"/>
                </a:cubicBezTo>
                <a:cubicBezTo>
                  <a:pt x="2147521" y="853567"/>
                  <a:pt x="2184809" y="844430"/>
                  <a:pt x="2222634" y="844482"/>
                </a:cubicBezTo>
                <a:close/>
                <a:moveTo>
                  <a:pt x="7091973" y="842853"/>
                </a:moveTo>
                <a:cubicBezTo>
                  <a:pt x="7119134" y="843239"/>
                  <a:pt x="7145986" y="848769"/>
                  <a:pt x="7171103" y="859151"/>
                </a:cubicBezTo>
                <a:cubicBezTo>
                  <a:pt x="7192833" y="869109"/>
                  <a:pt x="7189211" y="875991"/>
                  <a:pt x="7163860" y="875991"/>
                </a:cubicBezTo>
                <a:cubicBezTo>
                  <a:pt x="7136353" y="875667"/>
                  <a:pt x="7109174" y="870010"/>
                  <a:pt x="7083823" y="859331"/>
                </a:cubicBezTo>
                <a:cubicBezTo>
                  <a:pt x="7062999" y="849552"/>
                  <a:pt x="7065715" y="842853"/>
                  <a:pt x="7091973" y="842853"/>
                </a:cubicBezTo>
                <a:close/>
                <a:moveTo>
                  <a:pt x="1998276" y="840499"/>
                </a:moveTo>
                <a:cubicBezTo>
                  <a:pt x="2036664" y="840499"/>
                  <a:pt x="2050791" y="850820"/>
                  <a:pt x="2030509" y="865306"/>
                </a:cubicBezTo>
                <a:cubicBezTo>
                  <a:pt x="1998314" y="883188"/>
                  <a:pt x="1961937" y="892187"/>
                  <a:pt x="1925120" y="891381"/>
                </a:cubicBezTo>
                <a:cubicBezTo>
                  <a:pt x="1887821" y="891381"/>
                  <a:pt x="1875145" y="880517"/>
                  <a:pt x="1895063" y="866394"/>
                </a:cubicBezTo>
                <a:cubicBezTo>
                  <a:pt x="1926678" y="849046"/>
                  <a:pt x="1962226" y="840128"/>
                  <a:pt x="1998276" y="840499"/>
                </a:cubicBezTo>
                <a:close/>
                <a:moveTo>
                  <a:pt x="4774180" y="835066"/>
                </a:moveTo>
                <a:cubicBezTo>
                  <a:pt x="4822709" y="835610"/>
                  <a:pt x="4870331" y="851364"/>
                  <a:pt x="4881015" y="869471"/>
                </a:cubicBezTo>
                <a:cubicBezTo>
                  <a:pt x="4891699" y="887579"/>
                  <a:pt x="4858200" y="903875"/>
                  <a:pt x="4808584" y="904056"/>
                </a:cubicBezTo>
                <a:cubicBezTo>
                  <a:pt x="4759331" y="904056"/>
                  <a:pt x="4708992" y="887760"/>
                  <a:pt x="4699937" y="869108"/>
                </a:cubicBezTo>
                <a:cubicBezTo>
                  <a:pt x="4690884" y="850457"/>
                  <a:pt x="4725651" y="834522"/>
                  <a:pt x="4774180" y="835066"/>
                </a:cubicBezTo>
                <a:close/>
                <a:moveTo>
                  <a:pt x="1783518" y="833256"/>
                </a:moveTo>
                <a:cubicBezTo>
                  <a:pt x="1816477" y="833256"/>
                  <a:pt x="1829147" y="843759"/>
                  <a:pt x="1810138" y="856253"/>
                </a:cubicBezTo>
                <a:cubicBezTo>
                  <a:pt x="1778504" y="871781"/>
                  <a:pt x="1743790" y="880012"/>
                  <a:pt x="1708555" y="880336"/>
                </a:cubicBezTo>
                <a:cubicBezTo>
                  <a:pt x="1674511" y="880336"/>
                  <a:pt x="1662738" y="869110"/>
                  <a:pt x="1683202" y="856434"/>
                </a:cubicBezTo>
                <a:cubicBezTo>
                  <a:pt x="1714565" y="841546"/>
                  <a:pt x="1748786" y="833638"/>
                  <a:pt x="1783518" y="833256"/>
                </a:cubicBezTo>
                <a:close/>
                <a:moveTo>
                  <a:pt x="6840273" y="831263"/>
                </a:moveTo>
                <a:cubicBezTo>
                  <a:pt x="6870893" y="831501"/>
                  <a:pt x="6901151" y="837970"/>
                  <a:pt x="6929182" y="850276"/>
                </a:cubicBezTo>
                <a:cubicBezTo>
                  <a:pt x="6951455" y="861502"/>
                  <a:pt x="6945297" y="869651"/>
                  <a:pt x="6914334" y="868383"/>
                </a:cubicBezTo>
                <a:cubicBezTo>
                  <a:pt x="6884638" y="868041"/>
                  <a:pt x="6855302" y="861888"/>
                  <a:pt x="6827959" y="850276"/>
                </a:cubicBezTo>
                <a:cubicBezTo>
                  <a:pt x="6805506" y="839048"/>
                  <a:pt x="6810939" y="831081"/>
                  <a:pt x="6840273" y="831263"/>
                </a:cubicBezTo>
                <a:close/>
                <a:moveTo>
                  <a:pt x="1565685" y="828730"/>
                </a:moveTo>
                <a:cubicBezTo>
                  <a:pt x="1595744" y="828910"/>
                  <a:pt x="1603529" y="838689"/>
                  <a:pt x="1583792" y="850278"/>
                </a:cubicBezTo>
                <a:cubicBezTo>
                  <a:pt x="1553571" y="864025"/>
                  <a:pt x="1520834" y="871363"/>
                  <a:pt x="1487641" y="871827"/>
                </a:cubicBezTo>
                <a:cubicBezTo>
                  <a:pt x="1456677" y="871827"/>
                  <a:pt x="1448891" y="861323"/>
                  <a:pt x="1470619" y="849554"/>
                </a:cubicBezTo>
                <a:cubicBezTo>
                  <a:pt x="1500568" y="836235"/>
                  <a:pt x="1532912" y="829150"/>
                  <a:pt x="1565685" y="828730"/>
                </a:cubicBezTo>
                <a:close/>
                <a:moveTo>
                  <a:pt x="4533527" y="828547"/>
                </a:moveTo>
                <a:cubicBezTo>
                  <a:pt x="4583867" y="828547"/>
                  <a:pt x="4629499" y="842672"/>
                  <a:pt x="4638190" y="861865"/>
                </a:cubicBezTo>
                <a:cubicBezTo>
                  <a:pt x="4646882" y="881060"/>
                  <a:pt x="4613381" y="898081"/>
                  <a:pt x="4561050" y="898081"/>
                </a:cubicBezTo>
                <a:cubicBezTo>
                  <a:pt x="4508719" y="898081"/>
                  <a:pt x="4462183" y="882690"/>
                  <a:pt x="4455845" y="863133"/>
                </a:cubicBezTo>
                <a:cubicBezTo>
                  <a:pt x="4449507" y="843577"/>
                  <a:pt x="4483730" y="828727"/>
                  <a:pt x="4533527" y="828547"/>
                </a:cubicBezTo>
                <a:close/>
                <a:moveTo>
                  <a:pt x="6597269" y="822753"/>
                </a:moveTo>
                <a:cubicBezTo>
                  <a:pt x="6630171" y="823101"/>
                  <a:pt x="6662674" y="829996"/>
                  <a:pt x="6692878" y="843033"/>
                </a:cubicBezTo>
                <a:cubicBezTo>
                  <a:pt x="6717141" y="855347"/>
                  <a:pt x="6709717" y="865850"/>
                  <a:pt x="6676036" y="865487"/>
                </a:cubicBezTo>
                <a:cubicBezTo>
                  <a:pt x="6642773" y="864919"/>
                  <a:pt x="6609980" y="857523"/>
                  <a:pt x="6579703" y="843758"/>
                </a:cubicBezTo>
                <a:cubicBezTo>
                  <a:pt x="6559061" y="832169"/>
                  <a:pt x="6567029" y="822753"/>
                  <a:pt x="6597269" y="822753"/>
                </a:cubicBezTo>
                <a:close/>
                <a:moveTo>
                  <a:pt x="1353279" y="822392"/>
                </a:moveTo>
                <a:cubicBezTo>
                  <a:pt x="1379895" y="822392"/>
                  <a:pt x="1385694" y="830177"/>
                  <a:pt x="1366860" y="840499"/>
                </a:cubicBezTo>
                <a:cubicBezTo>
                  <a:pt x="1339318" y="853181"/>
                  <a:pt x="1309349" y="859731"/>
                  <a:pt x="1279037" y="859693"/>
                </a:cubicBezTo>
                <a:cubicBezTo>
                  <a:pt x="1248977" y="859693"/>
                  <a:pt x="1242822" y="851725"/>
                  <a:pt x="1266000" y="840499"/>
                </a:cubicBezTo>
                <a:cubicBezTo>
                  <a:pt x="1293524" y="828456"/>
                  <a:pt x="1323240" y="822287"/>
                  <a:pt x="1353279" y="822392"/>
                </a:cubicBezTo>
                <a:close/>
                <a:moveTo>
                  <a:pt x="4305549" y="819312"/>
                </a:moveTo>
                <a:cubicBezTo>
                  <a:pt x="4357519" y="819312"/>
                  <a:pt x="4400434" y="833254"/>
                  <a:pt x="4405504" y="853174"/>
                </a:cubicBezTo>
                <a:cubicBezTo>
                  <a:pt x="4410574" y="873091"/>
                  <a:pt x="4374902" y="888121"/>
                  <a:pt x="4322389" y="889389"/>
                </a:cubicBezTo>
                <a:cubicBezTo>
                  <a:pt x="4269878" y="890657"/>
                  <a:pt x="4224427" y="874179"/>
                  <a:pt x="4222073" y="853174"/>
                </a:cubicBezTo>
                <a:cubicBezTo>
                  <a:pt x="4219718" y="832169"/>
                  <a:pt x="4255392" y="819492"/>
                  <a:pt x="4305549" y="819312"/>
                </a:cubicBezTo>
                <a:close/>
                <a:moveTo>
                  <a:pt x="1123676" y="818045"/>
                </a:moveTo>
                <a:cubicBezTo>
                  <a:pt x="1148842" y="817321"/>
                  <a:pt x="1156270" y="825106"/>
                  <a:pt x="1138701" y="834160"/>
                </a:cubicBezTo>
                <a:cubicBezTo>
                  <a:pt x="1113751" y="844369"/>
                  <a:pt x="1087222" y="850188"/>
                  <a:pt x="1060296" y="851363"/>
                </a:cubicBezTo>
                <a:cubicBezTo>
                  <a:pt x="1034402" y="852268"/>
                  <a:pt x="1027522" y="844120"/>
                  <a:pt x="1045812" y="835065"/>
                </a:cubicBezTo>
                <a:cubicBezTo>
                  <a:pt x="1070617" y="825037"/>
                  <a:pt x="1096948" y="819283"/>
                  <a:pt x="1123676" y="818045"/>
                </a:cubicBezTo>
                <a:close/>
                <a:moveTo>
                  <a:pt x="4078477" y="813337"/>
                </a:moveTo>
                <a:cubicBezTo>
                  <a:pt x="4128637" y="812793"/>
                  <a:pt x="4172820" y="826555"/>
                  <a:pt x="4174810" y="846111"/>
                </a:cubicBezTo>
                <a:cubicBezTo>
                  <a:pt x="4177527" y="866574"/>
                  <a:pt x="4139501" y="882327"/>
                  <a:pt x="4084271" y="882327"/>
                </a:cubicBezTo>
                <a:cubicBezTo>
                  <a:pt x="4029043" y="882327"/>
                  <a:pt x="3989569" y="867299"/>
                  <a:pt x="3990474" y="847018"/>
                </a:cubicBezTo>
                <a:cubicBezTo>
                  <a:pt x="3991379" y="826738"/>
                  <a:pt x="4028319" y="813881"/>
                  <a:pt x="4078477" y="813337"/>
                </a:cubicBezTo>
                <a:close/>
                <a:moveTo>
                  <a:pt x="916521" y="811526"/>
                </a:moveTo>
                <a:cubicBezTo>
                  <a:pt x="936800" y="811346"/>
                  <a:pt x="940966" y="818226"/>
                  <a:pt x="925573" y="825288"/>
                </a:cubicBezTo>
                <a:cubicBezTo>
                  <a:pt x="902395" y="834140"/>
                  <a:pt x="877932" y="839155"/>
                  <a:pt x="853140" y="840136"/>
                </a:cubicBezTo>
                <a:cubicBezTo>
                  <a:pt x="833042" y="840136"/>
                  <a:pt x="829238" y="833256"/>
                  <a:pt x="845358" y="826013"/>
                </a:cubicBezTo>
                <a:cubicBezTo>
                  <a:pt x="868171" y="817500"/>
                  <a:pt x="892181" y="812612"/>
                  <a:pt x="916521" y="811526"/>
                </a:cubicBezTo>
                <a:close/>
                <a:moveTo>
                  <a:pt x="6347924" y="811344"/>
                </a:moveTo>
                <a:cubicBezTo>
                  <a:pt x="6382773" y="812253"/>
                  <a:pt x="6417082" y="820198"/>
                  <a:pt x="6448784" y="834705"/>
                </a:cubicBezTo>
                <a:cubicBezTo>
                  <a:pt x="6470875" y="847379"/>
                  <a:pt x="6458924" y="859331"/>
                  <a:pt x="6423614" y="858788"/>
                </a:cubicBezTo>
                <a:cubicBezTo>
                  <a:pt x="6388267" y="857938"/>
                  <a:pt x="6353489" y="849735"/>
                  <a:pt x="6321486" y="834705"/>
                </a:cubicBezTo>
                <a:cubicBezTo>
                  <a:pt x="6301024" y="822209"/>
                  <a:pt x="6314062" y="810983"/>
                  <a:pt x="6347924" y="811344"/>
                </a:cubicBezTo>
                <a:close/>
                <a:moveTo>
                  <a:pt x="702302" y="808447"/>
                </a:moveTo>
                <a:cubicBezTo>
                  <a:pt x="717875" y="808447"/>
                  <a:pt x="719867" y="813697"/>
                  <a:pt x="706466" y="819492"/>
                </a:cubicBezTo>
                <a:cubicBezTo>
                  <a:pt x="687887" y="826235"/>
                  <a:pt x="668441" y="830201"/>
                  <a:pt x="648702" y="831264"/>
                </a:cubicBezTo>
                <a:cubicBezTo>
                  <a:pt x="630594" y="831264"/>
                  <a:pt x="628421" y="825650"/>
                  <a:pt x="644719" y="819311"/>
                </a:cubicBezTo>
                <a:cubicBezTo>
                  <a:pt x="663297" y="812933"/>
                  <a:pt x="682691" y="809274"/>
                  <a:pt x="702302" y="808447"/>
                </a:cubicBezTo>
                <a:close/>
                <a:moveTo>
                  <a:pt x="6112704" y="804464"/>
                </a:moveTo>
                <a:cubicBezTo>
                  <a:pt x="6148364" y="803944"/>
                  <a:pt x="6183612" y="812150"/>
                  <a:pt x="6215375" y="828367"/>
                </a:cubicBezTo>
                <a:cubicBezTo>
                  <a:pt x="6238190" y="842853"/>
                  <a:pt x="6227145" y="853537"/>
                  <a:pt x="6188937" y="853717"/>
                </a:cubicBezTo>
                <a:cubicBezTo>
                  <a:pt x="6151579" y="854795"/>
                  <a:pt x="6114601" y="845988"/>
                  <a:pt x="6081739" y="828186"/>
                </a:cubicBezTo>
                <a:cubicBezTo>
                  <a:pt x="6061821" y="814244"/>
                  <a:pt x="6075039" y="804284"/>
                  <a:pt x="6112704" y="804464"/>
                </a:cubicBezTo>
                <a:close/>
                <a:moveTo>
                  <a:pt x="3861547" y="803560"/>
                </a:moveTo>
                <a:cubicBezTo>
                  <a:pt x="3913517" y="803740"/>
                  <a:pt x="3949369" y="818589"/>
                  <a:pt x="3947559" y="838146"/>
                </a:cubicBezTo>
                <a:cubicBezTo>
                  <a:pt x="3945567" y="858246"/>
                  <a:pt x="3904462" y="872912"/>
                  <a:pt x="3849958" y="872732"/>
                </a:cubicBezTo>
                <a:cubicBezTo>
                  <a:pt x="3795454" y="872549"/>
                  <a:pt x="3759419" y="857339"/>
                  <a:pt x="3764309" y="836516"/>
                </a:cubicBezTo>
                <a:cubicBezTo>
                  <a:pt x="3769199" y="815692"/>
                  <a:pt x="3809577" y="803379"/>
                  <a:pt x="3861547" y="803560"/>
                </a:cubicBezTo>
                <a:close/>
                <a:moveTo>
                  <a:pt x="496585" y="802472"/>
                </a:moveTo>
                <a:cubicBezTo>
                  <a:pt x="507449" y="802652"/>
                  <a:pt x="507993" y="806456"/>
                  <a:pt x="496765" y="810802"/>
                </a:cubicBezTo>
                <a:cubicBezTo>
                  <a:pt x="482443" y="815929"/>
                  <a:pt x="467432" y="818859"/>
                  <a:pt x="452221" y="819494"/>
                </a:cubicBezTo>
                <a:cubicBezTo>
                  <a:pt x="437554" y="819494"/>
                  <a:pt x="437191" y="815509"/>
                  <a:pt x="452221" y="810439"/>
                </a:cubicBezTo>
                <a:cubicBezTo>
                  <a:pt x="466527" y="805563"/>
                  <a:pt x="481483" y="802877"/>
                  <a:pt x="496585" y="802472"/>
                </a:cubicBezTo>
                <a:close/>
                <a:moveTo>
                  <a:pt x="3638642" y="798851"/>
                </a:moveTo>
                <a:cubicBezTo>
                  <a:pt x="3690248" y="798851"/>
                  <a:pt x="3725196" y="812432"/>
                  <a:pt x="3720850" y="831625"/>
                </a:cubicBezTo>
                <a:cubicBezTo>
                  <a:pt x="3716504" y="850820"/>
                  <a:pt x="3673226" y="866212"/>
                  <a:pt x="3619266" y="866212"/>
                </a:cubicBezTo>
                <a:cubicBezTo>
                  <a:pt x="3565304" y="866212"/>
                  <a:pt x="3533434" y="851364"/>
                  <a:pt x="3539229" y="833256"/>
                </a:cubicBezTo>
                <a:cubicBezTo>
                  <a:pt x="3545023" y="815149"/>
                  <a:pt x="3587577" y="799031"/>
                  <a:pt x="3638642" y="798851"/>
                </a:cubicBezTo>
                <a:close/>
                <a:moveTo>
                  <a:pt x="5875674" y="793599"/>
                </a:moveTo>
                <a:cubicBezTo>
                  <a:pt x="5913589" y="793052"/>
                  <a:pt x="5951008" y="802282"/>
                  <a:pt x="5984321" y="820399"/>
                </a:cubicBezTo>
                <a:cubicBezTo>
                  <a:pt x="6003697" y="834885"/>
                  <a:pt x="5987399" y="846838"/>
                  <a:pt x="5948105" y="846838"/>
                </a:cubicBezTo>
                <a:cubicBezTo>
                  <a:pt x="5908812" y="846838"/>
                  <a:pt x="5857566" y="834161"/>
                  <a:pt x="5838010" y="819131"/>
                </a:cubicBezTo>
                <a:cubicBezTo>
                  <a:pt x="5818453" y="804103"/>
                  <a:pt x="5837466" y="793780"/>
                  <a:pt x="5875674" y="793599"/>
                </a:cubicBezTo>
                <a:close/>
                <a:moveTo>
                  <a:pt x="3422434" y="790703"/>
                </a:moveTo>
                <a:cubicBezTo>
                  <a:pt x="3471144" y="790703"/>
                  <a:pt x="3503557" y="804284"/>
                  <a:pt x="3497038" y="822392"/>
                </a:cubicBezTo>
                <a:cubicBezTo>
                  <a:pt x="3490520" y="840500"/>
                  <a:pt x="3442715" y="856615"/>
                  <a:pt x="3390565" y="856435"/>
                </a:cubicBezTo>
                <a:cubicBezTo>
                  <a:pt x="3338414" y="856254"/>
                  <a:pt x="3308898" y="841043"/>
                  <a:pt x="3318133" y="822392"/>
                </a:cubicBezTo>
                <a:cubicBezTo>
                  <a:pt x="3327369" y="803740"/>
                  <a:pt x="3373542" y="790703"/>
                  <a:pt x="3422434" y="790703"/>
                </a:cubicBezTo>
                <a:close/>
                <a:moveTo>
                  <a:pt x="7655848" y="788529"/>
                </a:moveTo>
                <a:cubicBezTo>
                  <a:pt x="7671020" y="789314"/>
                  <a:pt x="7685997" y="792179"/>
                  <a:pt x="7700392" y="797038"/>
                </a:cubicBezTo>
                <a:cubicBezTo>
                  <a:pt x="7712162" y="801384"/>
                  <a:pt x="7712162" y="805188"/>
                  <a:pt x="7700392" y="805369"/>
                </a:cubicBezTo>
                <a:cubicBezTo>
                  <a:pt x="7683824" y="804888"/>
                  <a:pt x="7667454" y="801770"/>
                  <a:pt x="7651863" y="796133"/>
                </a:cubicBezTo>
                <a:cubicBezTo>
                  <a:pt x="7641542" y="791788"/>
                  <a:pt x="7643352" y="788347"/>
                  <a:pt x="7655848" y="788529"/>
                </a:cubicBezTo>
                <a:close/>
                <a:moveTo>
                  <a:pt x="5648240" y="785994"/>
                </a:moveTo>
                <a:cubicBezTo>
                  <a:pt x="5689345" y="786538"/>
                  <a:pt x="5738961" y="799395"/>
                  <a:pt x="5757069" y="813881"/>
                </a:cubicBezTo>
                <a:cubicBezTo>
                  <a:pt x="5776443" y="829453"/>
                  <a:pt x="5755077" y="843397"/>
                  <a:pt x="5711980" y="842853"/>
                </a:cubicBezTo>
                <a:cubicBezTo>
                  <a:pt x="5668884" y="842310"/>
                  <a:pt x="5618907" y="828728"/>
                  <a:pt x="5601885" y="813881"/>
                </a:cubicBezTo>
                <a:cubicBezTo>
                  <a:pt x="5584864" y="799032"/>
                  <a:pt x="5607137" y="785452"/>
                  <a:pt x="5648240" y="785994"/>
                </a:cubicBezTo>
                <a:close/>
                <a:moveTo>
                  <a:pt x="3199709" y="785451"/>
                </a:moveTo>
                <a:cubicBezTo>
                  <a:pt x="3245882" y="785812"/>
                  <a:pt x="3275399" y="799935"/>
                  <a:pt x="3265983" y="816777"/>
                </a:cubicBezTo>
                <a:cubicBezTo>
                  <a:pt x="3256025" y="834885"/>
                  <a:pt x="3204597" y="850095"/>
                  <a:pt x="3155887" y="849732"/>
                </a:cubicBezTo>
                <a:cubicBezTo>
                  <a:pt x="3107178" y="849371"/>
                  <a:pt x="3079111" y="833980"/>
                  <a:pt x="3091063" y="816777"/>
                </a:cubicBezTo>
                <a:cubicBezTo>
                  <a:pt x="3103013" y="799574"/>
                  <a:pt x="3153534" y="785088"/>
                  <a:pt x="3199709" y="785451"/>
                </a:cubicBezTo>
                <a:close/>
                <a:moveTo>
                  <a:pt x="2988210" y="777665"/>
                </a:moveTo>
                <a:cubicBezTo>
                  <a:pt x="3032756" y="778572"/>
                  <a:pt x="3060641" y="793782"/>
                  <a:pt x="3044887" y="809898"/>
                </a:cubicBezTo>
                <a:cubicBezTo>
                  <a:pt x="3029134" y="826013"/>
                  <a:pt x="2976984" y="840680"/>
                  <a:pt x="2933162" y="839775"/>
                </a:cubicBezTo>
                <a:cubicBezTo>
                  <a:pt x="2886625" y="838870"/>
                  <a:pt x="2860749" y="822755"/>
                  <a:pt x="2877933" y="806276"/>
                </a:cubicBezTo>
                <a:cubicBezTo>
                  <a:pt x="2895136" y="789798"/>
                  <a:pt x="2946380" y="776941"/>
                  <a:pt x="2988210" y="777665"/>
                </a:cubicBezTo>
                <a:close/>
                <a:moveTo>
                  <a:pt x="7405780" y="776941"/>
                </a:moveTo>
                <a:cubicBezTo>
                  <a:pt x="7426405" y="777530"/>
                  <a:pt x="7446794" y="781315"/>
                  <a:pt x="7466259" y="788168"/>
                </a:cubicBezTo>
                <a:cubicBezTo>
                  <a:pt x="7480564" y="793963"/>
                  <a:pt x="7480021" y="799033"/>
                  <a:pt x="7464810" y="799214"/>
                </a:cubicBezTo>
                <a:cubicBezTo>
                  <a:pt x="7444005" y="798761"/>
                  <a:pt x="7423399" y="794970"/>
                  <a:pt x="7403788" y="787986"/>
                </a:cubicBezTo>
                <a:cubicBezTo>
                  <a:pt x="7389845" y="782191"/>
                  <a:pt x="7390750" y="777304"/>
                  <a:pt x="7405780" y="776941"/>
                </a:cubicBezTo>
                <a:close/>
                <a:moveTo>
                  <a:pt x="5419178" y="776758"/>
                </a:moveTo>
                <a:cubicBezTo>
                  <a:pt x="5463724" y="776758"/>
                  <a:pt x="5509716" y="789254"/>
                  <a:pt x="5527824" y="805731"/>
                </a:cubicBezTo>
                <a:cubicBezTo>
                  <a:pt x="5545932" y="822209"/>
                  <a:pt x="5523298" y="835066"/>
                  <a:pt x="5476398" y="834886"/>
                </a:cubicBezTo>
                <a:cubicBezTo>
                  <a:pt x="5429500" y="834703"/>
                  <a:pt x="5382601" y="821485"/>
                  <a:pt x="5367752" y="804645"/>
                </a:cubicBezTo>
                <a:cubicBezTo>
                  <a:pt x="5352904" y="787805"/>
                  <a:pt x="5374270" y="776397"/>
                  <a:pt x="5419178" y="776758"/>
                </a:cubicBezTo>
                <a:close/>
                <a:moveTo>
                  <a:pt x="2773653" y="773863"/>
                </a:moveTo>
                <a:cubicBezTo>
                  <a:pt x="2819649" y="774406"/>
                  <a:pt x="2839023" y="786357"/>
                  <a:pt x="2823813" y="802835"/>
                </a:cubicBezTo>
                <a:cubicBezTo>
                  <a:pt x="2808603" y="819313"/>
                  <a:pt x="2762426" y="832168"/>
                  <a:pt x="2715346" y="831988"/>
                </a:cubicBezTo>
                <a:cubicBezTo>
                  <a:pt x="2668811" y="831988"/>
                  <a:pt x="2647262" y="819131"/>
                  <a:pt x="2663923" y="802472"/>
                </a:cubicBezTo>
                <a:cubicBezTo>
                  <a:pt x="2680581" y="785813"/>
                  <a:pt x="2727661" y="773319"/>
                  <a:pt x="2773653" y="773863"/>
                </a:cubicBezTo>
                <a:close/>
                <a:moveTo>
                  <a:pt x="5187217" y="769336"/>
                </a:moveTo>
                <a:cubicBezTo>
                  <a:pt x="5231218" y="769697"/>
                  <a:pt x="5280653" y="783098"/>
                  <a:pt x="5295864" y="798850"/>
                </a:cubicBezTo>
                <a:cubicBezTo>
                  <a:pt x="5311074" y="814605"/>
                  <a:pt x="5285724" y="830720"/>
                  <a:pt x="5239729" y="830903"/>
                </a:cubicBezTo>
                <a:cubicBezTo>
                  <a:pt x="5194097" y="830903"/>
                  <a:pt x="5139774" y="815692"/>
                  <a:pt x="5126917" y="799214"/>
                </a:cubicBezTo>
                <a:cubicBezTo>
                  <a:pt x="5114062" y="782735"/>
                  <a:pt x="5143215" y="768973"/>
                  <a:pt x="5187217" y="769336"/>
                </a:cubicBezTo>
                <a:close/>
                <a:moveTo>
                  <a:pt x="7169836" y="768793"/>
                </a:moveTo>
                <a:cubicBezTo>
                  <a:pt x="7194462" y="769380"/>
                  <a:pt x="7218836" y="774091"/>
                  <a:pt x="7241906" y="782735"/>
                </a:cubicBezTo>
                <a:cubicBezTo>
                  <a:pt x="7260014" y="790342"/>
                  <a:pt x="7255848" y="796860"/>
                  <a:pt x="7233575" y="796497"/>
                </a:cubicBezTo>
                <a:cubicBezTo>
                  <a:pt x="7208749" y="795610"/>
                  <a:pt x="7184269" y="790528"/>
                  <a:pt x="7161144" y="781467"/>
                </a:cubicBezTo>
                <a:cubicBezTo>
                  <a:pt x="7146297" y="774407"/>
                  <a:pt x="7150279" y="768793"/>
                  <a:pt x="7169836" y="768793"/>
                </a:cubicBezTo>
                <a:close/>
                <a:moveTo>
                  <a:pt x="2563240" y="766257"/>
                </a:moveTo>
                <a:cubicBezTo>
                  <a:pt x="2602715" y="766437"/>
                  <a:pt x="2623537" y="778750"/>
                  <a:pt x="2609596" y="793056"/>
                </a:cubicBezTo>
                <a:cubicBezTo>
                  <a:pt x="2595656" y="807361"/>
                  <a:pt x="2543503" y="822028"/>
                  <a:pt x="2500950" y="822209"/>
                </a:cubicBezTo>
                <a:cubicBezTo>
                  <a:pt x="2458577" y="822209"/>
                  <a:pt x="2436849" y="808629"/>
                  <a:pt x="2454593" y="793600"/>
                </a:cubicBezTo>
                <a:cubicBezTo>
                  <a:pt x="2472339" y="778570"/>
                  <a:pt x="2523766" y="766076"/>
                  <a:pt x="2563240" y="766257"/>
                </a:cubicBezTo>
                <a:close/>
                <a:moveTo>
                  <a:pt x="2352470" y="762817"/>
                </a:moveTo>
                <a:cubicBezTo>
                  <a:pt x="2392305" y="762817"/>
                  <a:pt x="2408420" y="773863"/>
                  <a:pt x="2389949" y="788529"/>
                </a:cubicBezTo>
                <a:cubicBezTo>
                  <a:pt x="2371483" y="803196"/>
                  <a:pt x="2325848" y="815149"/>
                  <a:pt x="2284020" y="815149"/>
                </a:cubicBezTo>
                <a:cubicBezTo>
                  <a:pt x="2242191" y="815149"/>
                  <a:pt x="2227523" y="803379"/>
                  <a:pt x="2247803" y="788529"/>
                </a:cubicBezTo>
                <a:cubicBezTo>
                  <a:pt x="2279729" y="770642"/>
                  <a:pt x="2315887" y="761756"/>
                  <a:pt x="2352470" y="762817"/>
                </a:cubicBezTo>
                <a:close/>
                <a:moveTo>
                  <a:pt x="4962138" y="760825"/>
                </a:moveTo>
                <a:cubicBezTo>
                  <a:pt x="5009218" y="760825"/>
                  <a:pt x="5057203" y="773318"/>
                  <a:pt x="5070965" y="790341"/>
                </a:cubicBezTo>
                <a:cubicBezTo>
                  <a:pt x="5085090" y="808448"/>
                  <a:pt x="5057567" y="822571"/>
                  <a:pt x="5008313" y="822754"/>
                </a:cubicBezTo>
                <a:cubicBezTo>
                  <a:pt x="4959060" y="822934"/>
                  <a:pt x="4910168" y="808992"/>
                  <a:pt x="4898399" y="791426"/>
                </a:cubicBezTo>
                <a:cubicBezTo>
                  <a:pt x="4886629" y="773862"/>
                  <a:pt x="4915058" y="760825"/>
                  <a:pt x="4962138" y="760825"/>
                </a:cubicBezTo>
                <a:close/>
                <a:moveTo>
                  <a:pt x="6927011" y="758108"/>
                </a:moveTo>
                <a:cubicBezTo>
                  <a:pt x="6953755" y="759418"/>
                  <a:pt x="6980102" y="765045"/>
                  <a:pt x="7005055" y="774767"/>
                </a:cubicBezTo>
                <a:cubicBezTo>
                  <a:pt x="7023163" y="783639"/>
                  <a:pt x="7015920" y="791243"/>
                  <a:pt x="6989845" y="790519"/>
                </a:cubicBezTo>
                <a:cubicBezTo>
                  <a:pt x="6962827" y="789213"/>
                  <a:pt x="6936227" y="783462"/>
                  <a:pt x="6911076" y="773499"/>
                </a:cubicBezTo>
                <a:cubicBezTo>
                  <a:pt x="6892968" y="764807"/>
                  <a:pt x="6901660" y="757384"/>
                  <a:pt x="6927011" y="758108"/>
                </a:cubicBezTo>
                <a:close/>
                <a:moveTo>
                  <a:pt x="2146764" y="755573"/>
                </a:moveTo>
                <a:cubicBezTo>
                  <a:pt x="2180805" y="755573"/>
                  <a:pt x="2196921" y="766800"/>
                  <a:pt x="2180621" y="779294"/>
                </a:cubicBezTo>
                <a:cubicBezTo>
                  <a:pt x="2147777" y="796214"/>
                  <a:pt x="2111288" y="804854"/>
                  <a:pt x="2074329" y="804464"/>
                </a:cubicBezTo>
                <a:cubicBezTo>
                  <a:pt x="2038117" y="804464"/>
                  <a:pt x="2022904" y="791607"/>
                  <a:pt x="2043909" y="778750"/>
                </a:cubicBezTo>
                <a:cubicBezTo>
                  <a:pt x="2076067" y="763523"/>
                  <a:pt x="2111178" y="755607"/>
                  <a:pt x="2146764" y="755573"/>
                </a:cubicBezTo>
                <a:close/>
                <a:moveTo>
                  <a:pt x="4745933" y="754307"/>
                </a:moveTo>
                <a:cubicBezTo>
                  <a:pt x="4795366" y="754487"/>
                  <a:pt x="4840093" y="767707"/>
                  <a:pt x="4850414" y="785815"/>
                </a:cubicBezTo>
                <a:cubicBezTo>
                  <a:pt x="4860917" y="803923"/>
                  <a:pt x="4830314" y="817865"/>
                  <a:pt x="4777983" y="817685"/>
                </a:cubicBezTo>
                <a:cubicBezTo>
                  <a:pt x="4725652" y="817502"/>
                  <a:pt x="4681830" y="803379"/>
                  <a:pt x="4673501" y="784728"/>
                </a:cubicBezTo>
                <a:cubicBezTo>
                  <a:pt x="4665171" y="766076"/>
                  <a:pt x="4696497" y="754126"/>
                  <a:pt x="4745933" y="754307"/>
                </a:cubicBezTo>
                <a:close/>
                <a:moveTo>
                  <a:pt x="1929469" y="752314"/>
                </a:moveTo>
                <a:cubicBezTo>
                  <a:pt x="1963692" y="752314"/>
                  <a:pt x="1976006" y="760825"/>
                  <a:pt x="1958077" y="773500"/>
                </a:cubicBezTo>
                <a:cubicBezTo>
                  <a:pt x="1927259" y="789214"/>
                  <a:pt x="1893070" y="797170"/>
                  <a:pt x="1858486" y="796678"/>
                </a:cubicBezTo>
                <a:cubicBezTo>
                  <a:pt x="1823359" y="796678"/>
                  <a:pt x="1811771" y="787081"/>
                  <a:pt x="1831326" y="774768"/>
                </a:cubicBezTo>
                <a:cubicBezTo>
                  <a:pt x="1861820" y="759664"/>
                  <a:pt x="1895444" y="751972"/>
                  <a:pt x="1929469" y="752314"/>
                </a:cubicBezTo>
                <a:close/>
                <a:moveTo>
                  <a:pt x="6691791" y="750322"/>
                </a:moveTo>
                <a:cubicBezTo>
                  <a:pt x="6722123" y="751219"/>
                  <a:pt x="6752089" y="757346"/>
                  <a:pt x="6780338" y="768429"/>
                </a:cubicBezTo>
                <a:cubicBezTo>
                  <a:pt x="6801886" y="778570"/>
                  <a:pt x="6794643" y="788166"/>
                  <a:pt x="6765490" y="787805"/>
                </a:cubicBezTo>
                <a:cubicBezTo>
                  <a:pt x="6734942" y="787187"/>
                  <a:pt x="6704756" y="781052"/>
                  <a:pt x="6676400" y="769697"/>
                </a:cubicBezTo>
                <a:cubicBezTo>
                  <a:pt x="6658653" y="759013"/>
                  <a:pt x="6666079" y="750502"/>
                  <a:pt x="6691791" y="750322"/>
                </a:cubicBezTo>
                <a:close/>
                <a:moveTo>
                  <a:pt x="1722496" y="748875"/>
                </a:moveTo>
                <a:cubicBezTo>
                  <a:pt x="1755814" y="748875"/>
                  <a:pt x="1764324" y="757384"/>
                  <a:pt x="1742416" y="769336"/>
                </a:cubicBezTo>
                <a:cubicBezTo>
                  <a:pt x="1714058" y="782468"/>
                  <a:pt x="1683131" y="789149"/>
                  <a:pt x="1651877" y="788892"/>
                </a:cubicBezTo>
                <a:cubicBezTo>
                  <a:pt x="1617473" y="788892"/>
                  <a:pt x="1609869" y="780020"/>
                  <a:pt x="1633768" y="767887"/>
                </a:cubicBezTo>
                <a:cubicBezTo>
                  <a:pt x="1661634" y="755264"/>
                  <a:pt x="1691896" y="748780"/>
                  <a:pt x="1722496" y="748875"/>
                </a:cubicBezTo>
                <a:close/>
                <a:moveTo>
                  <a:pt x="4528456" y="744891"/>
                </a:moveTo>
                <a:cubicBezTo>
                  <a:pt x="4575899" y="745071"/>
                  <a:pt x="4624608" y="760825"/>
                  <a:pt x="4631671" y="777121"/>
                </a:cubicBezTo>
                <a:cubicBezTo>
                  <a:pt x="4639095" y="795229"/>
                  <a:pt x="4601611" y="810622"/>
                  <a:pt x="4551634" y="810440"/>
                </a:cubicBezTo>
                <a:cubicBezTo>
                  <a:pt x="4501656" y="810259"/>
                  <a:pt x="4452767" y="794144"/>
                  <a:pt x="4447877" y="776580"/>
                </a:cubicBezTo>
                <a:cubicBezTo>
                  <a:pt x="4442987" y="759014"/>
                  <a:pt x="4481015" y="744710"/>
                  <a:pt x="4528456" y="744891"/>
                </a:cubicBezTo>
                <a:close/>
                <a:moveTo>
                  <a:pt x="6469427" y="743984"/>
                </a:moveTo>
                <a:cubicBezTo>
                  <a:pt x="6500664" y="743982"/>
                  <a:pt x="6531518" y="750649"/>
                  <a:pt x="6559966" y="763540"/>
                </a:cubicBezTo>
                <a:cubicBezTo>
                  <a:pt x="6581515" y="775129"/>
                  <a:pt x="6573728" y="783097"/>
                  <a:pt x="6540410" y="783097"/>
                </a:cubicBezTo>
                <a:cubicBezTo>
                  <a:pt x="6507635" y="783568"/>
                  <a:pt x="6475205" y="776373"/>
                  <a:pt x="6445706" y="762092"/>
                </a:cubicBezTo>
                <a:cubicBezTo>
                  <a:pt x="6427598" y="750866"/>
                  <a:pt x="6436472" y="743984"/>
                  <a:pt x="6469427" y="743984"/>
                </a:cubicBezTo>
                <a:close/>
                <a:moveTo>
                  <a:pt x="1522587" y="742718"/>
                </a:moveTo>
                <a:cubicBezTo>
                  <a:pt x="1548662" y="742718"/>
                  <a:pt x="1556993" y="751229"/>
                  <a:pt x="1540695" y="760825"/>
                </a:cubicBezTo>
                <a:cubicBezTo>
                  <a:pt x="1512029" y="772990"/>
                  <a:pt x="1481285" y="779448"/>
                  <a:pt x="1450156" y="779838"/>
                </a:cubicBezTo>
                <a:cubicBezTo>
                  <a:pt x="1421907" y="779838"/>
                  <a:pt x="1415389" y="770061"/>
                  <a:pt x="1436396" y="760282"/>
                </a:cubicBezTo>
                <a:cubicBezTo>
                  <a:pt x="1463882" y="749421"/>
                  <a:pt x="1493056" y="743474"/>
                  <a:pt x="1522587" y="742718"/>
                </a:cubicBezTo>
                <a:close/>
                <a:moveTo>
                  <a:pt x="1317606" y="739096"/>
                </a:moveTo>
                <a:cubicBezTo>
                  <a:pt x="1342232" y="739096"/>
                  <a:pt x="1347301" y="746339"/>
                  <a:pt x="1329017" y="755211"/>
                </a:cubicBezTo>
                <a:cubicBezTo>
                  <a:pt x="1302720" y="766036"/>
                  <a:pt x="1274528" y="771515"/>
                  <a:pt x="1246081" y="771329"/>
                </a:cubicBezTo>
                <a:cubicBezTo>
                  <a:pt x="1221817" y="771329"/>
                  <a:pt x="1218738" y="763361"/>
                  <a:pt x="1238838" y="754306"/>
                </a:cubicBezTo>
                <a:cubicBezTo>
                  <a:pt x="1263953" y="744527"/>
                  <a:pt x="1290643" y="739373"/>
                  <a:pt x="1317606" y="739096"/>
                </a:cubicBezTo>
                <a:close/>
                <a:moveTo>
                  <a:pt x="4315509" y="738371"/>
                </a:moveTo>
                <a:cubicBezTo>
                  <a:pt x="4363314" y="738732"/>
                  <a:pt x="4410213" y="754667"/>
                  <a:pt x="4414015" y="772414"/>
                </a:cubicBezTo>
                <a:cubicBezTo>
                  <a:pt x="4417276" y="790521"/>
                  <a:pt x="4375990" y="805912"/>
                  <a:pt x="4323477" y="805008"/>
                </a:cubicBezTo>
                <a:cubicBezTo>
                  <a:pt x="4270965" y="804103"/>
                  <a:pt x="4227506" y="786900"/>
                  <a:pt x="4227687" y="768792"/>
                </a:cubicBezTo>
                <a:cubicBezTo>
                  <a:pt x="4227868" y="750685"/>
                  <a:pt x="4267705" y="738008"/>
                  <a:pt x="4315509" y="738371"/>
                </a:cubicBezTo>
                <a:close/>
                <a:moveTo>
                  <a:pt x="4103649" y="733845"/>
                </a:moveTo>
                <a:cubicBezTo>
                  <a:pt x="4153988" y="734025"/>
                  <a:pt x="4195273" y="748331"/>
                  <a:pt x="4196903" y="766258"/>
                </a:cubicBezTo>
                <a:cubicBezTo>
                  <a:pt x="4198534" y="784365"/>
                  <a:pt x="4157609" y="799756"/>
                  <a:pt x="4104735" y="799576"/>
                </a:cubicBezTo>
                <a:cubicBezTo>
                  <a:pt x="4051860" y="799393"/>
                  <a:pt x="4010574" y="784002"/>
                  <a:pt x="4011479" y="765533"/>
                </a:cubicBezTo>
                <a:cubicBezTo>
                  <a:pt x="4012386" y="747063"/>
                  <a:pt x="4053309" y="733664"/>
                  <a:pt x="4103649" y="733845"/>
                </a:cubicBezTo>
                <a:close/>
                <a:moveTo>
                  <a:pt x="6239639" y="733844"/>
                </a:moveTo>
                <a:cubicBezTo>
                  <a:pt x="6272712" y="733849"/>
                  <a:pt x="6305392" y="741014"/>
                  <a:pt x="6335431" y="754849"/>
                </a:cubicBezTo>
                <a:cubicBezTo>
                  <a:pt x="6357702" y="767344"/>
                  <a:pt x="6346837" y="777302"/>
                  <a:pt x="6310260" y="776941"/>
                </a:cubicBezTo>
                <a:cubicBezTo>
                  <a:pt x="6276765" y="777068"/>
                  <a:pt x="6243668" y="769706"/>
                  <a:pt x="6213383" y="755392"/>
                </a:cubicBezTo>
                <a:cubicBezTo>
                  <a:pt x="6192559" y="742898"/>
                  <a:pt x="6204330" y="733663"/>
                  <a:pt x="6239639" y="733844"/>
                </a:cubicBezTo>
                <a:close/>
                <a:moveTo>
                  <a:pt x="1120593" y="733663"/>
                </a:moveTo>
                <a:cubicBezTo>
                  <a:pt x="1142505" y="733663"/>
                  <a:pt x="1143226" y="740543"/>
                  <a:pt x="1122223" y="748873"/>
                </a:cubicBezTo>
                <a:cubicBezTo>
                  <a:pt x="1100078" y="756975"/>
                  <a:pt x="1076645" y="761025"/>
                  <a:pt x="1053050" y="760823"/>
                </a:cubicBezTo>
                <a:cubicBezTo>
                  <a:pt x="1030779" y="760823"/>
                  <a:pt x="1030599" y="753763"/>
                  <a:pt x="1053050" y="745251"/>
                </a:cubicBezTo>
                <a:cubicBezTo>
                  <a:pt x="1074726" y="737493"/>
                  <a:pt x="1097578" y="733571"/>
                  <a:pt x="1120593" y="733663"/>
                </a:cubicBezTo>
                <a:close/>
                <a:moveTo>
                  <a:pt x="915432" y="730585"/>
                </a:moveTo>
                <a:cubicBezTo>
                  <a:pt x="935169" y="730585"/>
                  <a:pt x="936800" y="735294"/>
                  <a:pt x="919416" y="742174"/>
                </a:cubicBezTo>
                <a:cubicBezTo>
                  <a:pt x="900004" y="749626"/>
                  <a:pt x="879360" y="753371"/>
                  <a:pt x="858573" y="753219"/>
                </a:cubicBezTo>
                <a:cubicBezTo>
                  <a:pt x="840464" y="753219"/>
                  <a:pt x="840464" y="748512"/>
                  <a:pt x="855313" y="741993"/>
                </a:cubicBezTo>
                <a:cubicBezTo>
                  <a:pt x="874508" y="734602"/>
                  <a:pt x="894861" y="730737"/>
                  <a:pt x="915432" y="730585"/>
                </a:cubicBezTo>
                <a:close/>
                <a:moveTo>
                  <a:pt x="6019811" y="726602"/>
                </a:moveTo>
                <a:cubicBezTo>
                  <a:pt x="6054308" y="727092"/>
                  <a:pt x="6088286" y="735062"/>
                  <a:pt x="6119403" y="749960"/>
                </a:cubicBezTo>
                <a:cubicBezTo>
                  <a:pt x="6139503" y="762635"/>
                  <a:pt x="6124473" y="774043"/>
                  <a:pt x="6087353" y="773682"/>
                </a:cubicBezTo>
                <a:cubicBezTo>
                  <a:pt x="6051297" y="773693"/>
                  <a:pt x="6015747" y="765194"/>
                  <a:pt x="5983596" y="748873"/>
                </a:cubicBezTo>
                <a:cubicBezTo>
                  <a:pt x="5966754" y="736379"/>
                  <a:pt x="5983596" y="725877"/>
                  <a:pt x="6019811" y="726602"/>
                </a:cubicBezTo>
                <a:close/>
                <a:moveTo>
                  <a:pt x="3885993" y="726239"/>
                </a:moveTo>
                <a:cubicBezTo>
                  <a:pt x="3935790" y="726239"/>
                  <a:pt x="3974903" y="740181"/>
                  <a:pt x="3973815" y="757928"/>
                </a:cubicBezTo>
                <a:cubicBezTo>
                  <a:pt x="3972730" y="775672"/>
                  <a:pt x="3929452" y="791063"/>
                  <a:pt x="3877121" y="790883"/>
                </a:cubicBezTo>
                <a:cubicBezTo>
                  <a:pt x="3824790" y="790702"/>
                  <a:pt x="3786582" y="775853"/>
                  <a:pt x="3789660" y="757565"/>
                </a:cubicBezTo>
                <a:cubicBezTo>
                  <a:pt x="3792738" y="739276"/>
                  <a:pt x="3836016" y="726058"/>
                  <a:pt x="3885993" y="726239"/>
                </a:cubicBezTo>
                <a:close/>
                <a:moveTo>
                  <a:pt x="708267" y="726059"/>
                </a:moveTo>
                <a:cubicBezTo>
                  <a:pt x="724202" y="726059"/>
                  <a:pt x="726375" y="729136"/>
                  <a:pt x="712071" y="734570"/>
                </a:cubicBezTo>
                <a:cubicBezTo>
                  <a:pt x="697801" y="739604"/>
                  <a:pt x="682827" y="742353"/>
                  <a:pt x="667706" y="742718"/>
                </a:cubicBezTo>
                <a:cubicBezTo>
                  <a:pt x="651590" y="742718"/>
                  <a:pt x="649598" y="739459"/>
                  <a:pt x="664084" y="734207"/>
                </a:cubicBezTo>
                <a:cubicBezTo>
                  <a:pt x="678262" y="729102"/>
                  <a:pt x="693203" y="726348"/>
                  <a:pt x="708267" y="726059"/>
                </a:cubicBezTo>
                <a:close/>
                <a:moveTo>
                  <a:pt x="3675943" y="721168"/>
                </a:moveTo>
                <a:cubicBezTo>
                  <a:pt x="3723567" y="720805"/>
                  <a:pt x="3763585" y="734748"/>
                  <a:pt x="3760144" y="752131"/>
                </a:cubicBezTo>
                <a:cubicBezTo>
                  <a:pt x="3756705" y="770239"/>
                  <a:pt x="3710530" y="785269"/>
                  <a:pt x="3659104" y="785269"/>
                </a:cubicBezTo>
                <a:cubicBezTo>
                  <a:pt x="3607678" y="785269"/>
                  <a:pt x="3570557" y="769697"/>
                  <a:pt x="3577437" y="751950"/>
                </a:cubicBezTo>
                <a:cubicBezTo>
                  <a:pt x="3584319" y="734206"/>
                  <a:pt x="3628320" y="721529"/>
                  <a:pt x="3675943" y="721168"/>
                </a:cubicBezTo>
                <a:close/>
                <a:moveTo>
                  <a:pt x="5786947" y="718633"/>
                </a:moveTo>
                <a:cubicBezTo>
                  <a:pt x="5823225" y="717367"/>
                  <a:pt x="5859195" y="725673"/>
                  <a:pt x="5891248" y="742716"/>
                </a:cubicBezTo>
                <a:cubicBezTo>
                  <a:pt x="5911709" y="757385"/>
                  <a:pt x="5896318" y="767886"/>
                  <a:pt x="5853584" y="767706"/>
                </a:cubicBezTo>
                <a:cubicBezTo>
                  <a:pt x="5810849" y="767525"/>
                  <a:pt x="5767391" y="756660"/>
                  <a:pt x="5749101" y="741992"/>
                </a:cubicBezTo>
                <a:cubicBezTo>
                  <a:pt x="5730812" y="727325"/>
                  <a:pt x="5747834" y="718814"/>
                  <a:pt x="5786947" y="718633"/>
                </a:cubicBezTo>
                <a:close/>
                <a:moveTo>
                  <a:pt x="3471868" y="713745"/>
                </a:moveTo>
                <a:cubicBezTo>
                  <a:pt x="3518587" y="713564"/>
                  <a:pt x="3554258" y="727507"/>
                  <a:pt x="3549008" y="743985"/>
                </a:cubicBezTo>
                <a:cubicBezTo>
                  <a:pt x="3543574" y="760644"/>
                  <a:pt x="3496133" y="776036"/>
                  <a:pt x="3446880" y="776579"/>
                </a:cubicBezTo>
                <a:cubicBezTo>
                  <a:pt x="3397627" y="777121"/>
                  <a:pt x="3359963" y="760825"/>
                  <a:pt x="3368654" y="744346"/>
                </a:cubicBezTo>
                <a:cubicBezTo>
                  <a:pt x="3377347" y="727868"/>
                  <a:pt x="3425151" y="713925"/>
                  <a:pt x="3471868" y="713745"/>
                </a:cubicBezTo>
                <a:close/>
                <a:moveTo>
                  <a:pt x="7470605" y="713201"/>
                </a:moveTo>
                <a:cubicBezTo>
                  <a:pt x="7485690" y="713618"/>
                  <a:pt x="7500628" y="716494"/>
                  <a:pt x="7514787" y="721712"/>
                </a:cubicBezTo>
                <a:cubicBezTo>
                  <a:pt x="7526739" y="726419"/>
                  <a:pt x="7524747" y="729317"/>
                  <a:pt x="7509717" y="729136"/>
                </a:cubicBezTo>
                <a:cubicBezTo>
                  <a:pt x="7494543" y="728699"/>
                  <a:pt x="7479568" y="725762"/>
                  <a:pt x="7465354" y="720444"/>
                </a:cubicBezTo>
                <a:cubicBezTo>
                  <a:pt x="7453584" y="715918"/>
                  <a:pt x="7455757" y="713021"/>
                  <a:pt x="7470605" y="713201"/>
                </a:cubicBezTo>
                <a:close/>
                <a:moveTo>
                  <a:pt x="5570196" y="711029"/>
                </a:moveTo>
                <a:cubicBezTo>
                  <a:pt x="5611662" y="711029"/>
                  <a:pt x="5659286" y="721893"/>
                  <a:pt x="5677756" y="736379"/>
                </a:cubicBezTo>
                <a:cubicBezTo>
                  <a:pt x="5696225" y="750866"/>
                  <a:pt x="5677756" y="763359"/>
                  <a:pt x="5633935" y="763179"/>
                </a:cubicBezTo>
                <a:cubicBezTo>
                  <a:pt x="5590115" y="762998"/>
                  <a:pt x="5545208" y="751770"/>
                  <a:pt x="5527644" y="737284"/>
                </a:cubicBezTo>
                <a:cubicBezTo>
                  <a:pt x="5510078" y="722798"/>
                  <a:pt x="5528729" y="711209"/>
                  <a:pt x="5570196" y="711029"/>
                </a:cubicBezTo>
                <a:close/>
                <a:moveTo>
                  <a:pt x="3267975" y="709580"/>
                </a:moveTo>
                <a:cubicBezTo>
                  <a:pt x="3315419" y="709580"/>
                  <a:pt x="3345296" y="722798"/>
                  <a:pt x="3336785" y="739096"/>
                </a:cubicBezTo>
                <a:cubicBezTo>
                  <a:pt x="3328276" y="755575"/>
                  <a:pt x="3281013" y="769698"/>
                  <a:pt x="3232303" y="770061"/>
                </a:cubicBezTo>
                <a:cubicBezTo>
                  <a:pt x="3183594" y="770422"/>
                  <a:pt x="3152266" y="756660"/>
                  <a:pt x="3161865" y="740001"/>
                </a:cubicBezTo>
                <a:cubicBezTo>
                  <a:pt x="3171461" y="723342"/>
                  <a:pt x="3220534" y="709580"/>
                  <a:pt x="3267975" y="709580"/>
                </a:cubicBezTo>
                <a:close/>
                <a:moveTo>
                  <a:pt x="3068246" y="703424"/>
                </a:moveTo>
                <a:cubicBezTo>
                  <a:pt x="3113695" y="703785"/>
                  <a:pt x="3138866" y="716099"/>
                  <a:pt x="3126915" y="731853"/>
                </a:cubicBezTo>
                <a:cubicBezTo>
                  <a:pt x="3114783" y="748151"/>
                  <a:pt x="3068788" y="760825"/>
                  <a:pt x="3020984" y="760645"/>
                </a:cubicBezTo>
                <a:cubicBezTo>
                  <a:pt x="2973180" y="760464"/>
                  <a:pt x="2946380" y="747063"/>
                  <a:pt x="2961954" y="730224"/>
                </a:cubicBezTo>
                <a:cubicBezTo>
                  <a:pt x="2977525" y="713384"/>
                  <a:pt x="3022796" y="703061"/>
                  <a:pt x="3068246" y="703424"/>
                </a:cubicBezTo>
                <a:close/>
                <a:moveTo>
                  <a:pt x="7237377" y="703061"/>
                </a:moveTo>
                <a:cubicBezTo>
                  <a:pt x="7256301" y="703379"/>
                  <a:pt x="7275022" y="706867"/>
                  <a:pt x="7292788" y="713382"/>
                </a:cubicBezTo>
                <a:cubicBezTo>
                  <a:pt x="7310896" y="720083"/>
                  <a:pt x="7308360" y="724246"/>
                  <a:pt x="7287898" y="724066"/>
                </a:cubicBezTo>
                <a:cubicBezTo>
                  <a:pt x="7268794" y="723800"/>
                  <a:pt x="7249890" y="720311"/>
                  <a:pt x="7231946" y="713745"/>
                </a:cubicBezTo>
                <a:cubicBezTo>
                  <a:pt x="7214923" y="707046"/>
                  <a:pt x="7217096" y="702881"/>
                  <a:pt x="7237377" y="703061"/>
                </a:cubicBezTo>
                <a:close/>
                <a:moveTo>
                  <a:pt x="5356888" y="701793"/>
                </a:moveTo>
                <a:cubicBezTo>
                  <a:pt x="5399983" y="702154"/>
                  <a:pt x="5447427" y="714468"/>
                  <a:pt x="5463361" y="728593"/>
                </a:cubicBezTo>
                <a:cubicBezTo>
                  <a:pt x="5480021" y="743622"/>
                  <a:pt x="5455031" y="757384"/>
                  <a:pt x="5411211" y="757021"/>
                </a:cubicBezTo>
                <a:cubicBezTo>
                  <a:pt x="5367389" y="756660"/>
                  <a:pt x="5317594" y="743440"/>
                  <a:pt x="5302564" y="728954"/>
                </a:cubicBezTo>
                <a:cubicBezTo>
                  <a:pt x="5287534" y="714468"/>
                  <a:pt x="5313790" y="701430"/>
                  <a:pt x="5356888" y="701793"/>
                </a:cubicBezTo>
                <a:close/>
                <a:moveTo>
                  <a:pt x="2863286" y="699077"/>
                </a:moveTo>
                <a:cubicBezTo>
                  <a:pt x="2905276" y="698896"/>
                  <a:pt x="2932076" y="711390"/>
                  <a:pt x="2919943" y="725876"/>
                </a:cubicBezTo>
                <a:cubicBezTo>
                  <a:pt x="2907630" y="740725"/>
                  <a:pt x="2857128" y="754487"/>
                  <a:pt x="2813128" y="754668"/>
                </a:cubicBezTo>
                <a:cubicBezTo>
                  <a:pt x="2769127" y="754848"/>
                  <a:pt x="2743231" y="741450"/>
                  <a:pt x="2757537" y="726420"/>
                </a:cubicBezTo>
                <a:cubicBezTo>
                  <a:pt x="2771842" y="711390"/>
                  <a:pt x="2821277" y="699257"/>
                  <a:pt x="2863286" y="699077"/>
                </a:cubicBezTo>
                <a:close/>
                <a:moveTo>
                  <a:pt x="5145750" y="695999"/>
                </a:moveTo>
                <a:cubicBezTo>
                  <a:pt x="5191381" y="696179"/>
                  <a:pt x="5237374" y="708312"/>
                  <a:pt x="5251860" y="724066"/>
                </a:cubicBezTo>
                <a:cubicBezTo>
                  <a:pt x="5266347" y="739820"/>
                  <a:pt x="5241178" y="752675"/>
                  <a:pt x="5193374" y="752495"/>
                </a:cubicBezTo>
                <a:cubicBezTo>
                  <a:pt x="5145930" y="752495"/>
                  <a:pt x="5099031" y="739457"/>
                  <a:pt x="5086356" y="723342"/>
                </a:cubicBezTo>
                <a:cubicBezTo>
                  <a:pt x="5073680" y="707226"/>
                  <a:pt x="5100118" y="695818"/>
                  <a:pt x="5145750" y="695999"/>
                </a:cubicBezTo>
                <a:close/>
                <a:moveTo>
                  <a:pt x="7015377" y="695818"/>
                </a:moveTo>
                <a:cubicBezTo>
                  <a:pt x="7037939" y="696202"/>
                  <a:pt x="7060248" y="700555"/>
                  <a:pt x="7081289" y="708673"/>
                </a:cubicBezTo>
                <a:cubicBezTo>
                  <a:pt x="7099397" y="716098"/>
                  <a:pt x="7096861" y="721168"/>
                  <a:pt x="7075494" y="721530"/>
                </a:cubicBezTo>
                <a:cubicBezTo>
                  <a:pt x="7051465" y="721587"/>
                  <a:pt x="7027635" y="717165"/>
                  <a:pt x="7005237" y="708492"/>
                </a:cubicBezTo>
                <a:cubicBezTo>
                  <a:pt x="6987129" y="700525"/>
                  <a:pt x="6991293" y="695455"/>
                  <a:pt x="7015377" y="695818"/>
                </a:cubicBezTo>
                <a:close/>
                <a:moveTo>
                  <a:pt x="2657764" y="693284"/>
                </a:moveTo>
                <a:cubicBezTo>
                  <a:pt x="2700136" y="693284"/>
                  <a:pt x="2720778" y="703605"/>
                  <a:pt x="2706291" y="718091"/>
                </a:cubicBezTo>
                <a:cubicBezTo>
                  <a:pt x="2691807" y="732577"/>
                  <a:pt x="2645452" y="745070"/>
                  <a:pt x="2600002" y="744890"/>
                </a:cubicBezTo>
                <a:cubicBezTo>
                  <a:pt x="2554549" y="744709"/>
                  <a:pt x="2537708" y="733301"/>
                  <a:pt x="2555093" y="718454"/>
                </a:cubicBezTo>
                <a:cubicBezTo>
                  <a:pt x="2572473" y="703605"/>
                  <a:pt x="2615574" y="693464"/>
                  <a:pt x="2657764" y="693284"/>
                </a:cubicBezTo>
                <a:close/>
                <a:moveTo>
                  <a:pt x="2458216" y="689299"/>
                </a:moveTo>
                <a:cubicBezTo>
                  <a:pt x="2496604" y="688394"/>
                  <a:pt x="2517248" y="700346"/>
                  <a:pt x="2501676" y="713384"/>
                </a:cubicBezTo>
                <a:cubicBezTo>
                  <a:pt x="2485741" y="726783"/>
                  <a:pt x="2435582" y="738915"/>
                  <a:pt x="2396109" y="738735"/>
                </a:cubicBezTo>
                <a:cubicBezTo>
                  <a:pt x="2356635" y="738552"/>
                  <a:pt x="2337980" y="726239"/>
                  <a:pt x="2356453" y="713021"/>
                </a:cubicBezTo>
                <a:cubicBezTo>
                  <a:pt x="2387975" y="697037"/>
                  <a:pt x="2422888" y="688898"/>
                  <a:pt x="2458216" y="689299"/>
                </a:cubicBezTo>
                <a:close/>
                <a:moveTo>
                  <a:pt x="4932259" y="687126"/>
                </a:moveTo>
                <a:cubicBezTo>
                  <a:pt x="4976080" y="686763"/>
                  <a:pt x="5028772" y="700344"/>
                  <a:pt x="5041268" y="715916"/>
                </a:cubicBezTo>
                <a:cubicBezTo>
                  <a:pt x="5054123" y="731851"/>
                  <a:pt x="5023160" y="746337"/>
                  <a:pt x="4975898" y="746337"/>
                </a:cubicBezTo>
                <a:cubicBezTo>
                  <a:pt x="4928637" y="746337"/>
                  <a:pt x="4876850" y="731309"/>
                  <a:pt x="4867252" y="715555"/>
                </a:cubicBezTo>
                <a:cubicBezTo>
                  <a:pt x="4857655" y="699801"/>
                  <a:pt x="4888439" y="687487"/>
                  <a:pt x="4932259" y="687126"/>
                </a:cubicBezTo>
                <a:close/>
                <a:moveTo>
                  <a:pt x="6787761" y="686402"/>
                </a:moveTo>
                <a:cubicBezTo>
                  <a:pt x="6813836" y="686502"/>
                  <a:pt x="6839659" y="691350"/>
                  <a:pt x="6863994" y="700707"/>
                </a:cubicBezTo>
                <a:cubicBezTo>
                  <a:pt x="6883370" y="709218"/>
                  <a:pt x="6879929" y="715917"/>
                  <a:pt x="6855666" y="716279"/>
                </a:cubicBezTo>
                <a:cubicBezTo>
                  <a:pt x="6828197" y="716208"/>
                  <a:pt x="6800999" y="710988"/>
                  <a:pt x="6775448" y="700888"/>
                </a:cubicBezTo>
                <a:cubicBezTo>
                  <a:pt x="6757340" y="692559"/>
                  <a:pt x="6763315" y="686402"/>
                  <a:pt x="6787761" y="686402"/>
                </a:cubicBezTo>
                <a:close/>
                <a:moveTo>
                  <a:pt x="2266272" y="683505"/>
                </a:moveTo>
                <a:cubicBezTo>
                  <a:pt x="2302854" y="684229"/>
                  <a:pt x="2316616" y="694009"/>
                  <a:pt x="2297962" y="706503"/>
                </a:cubicBezTo>
                <a:cubicBezTo>
                  <a:pt x="2266617" y="722301"/>
                  <a:pt x="2231816" y="729962"/>
                  <a:pt x="2196740" y="728776"/>
                </a:cubicBezTo>
                <a:cubicBezTo>
                  <a:pt x="2158894" y="728776"/>
                  <a:pt x="2145859" y="717911"/>
                  <a:pt x="2166319" y="704873"/>
                </a:cubicBezTo>
                <a:cubicBezTo>
                  <a:pt x="2197411" y="689735"/>
                  <a:pt x="2231708" y="682401"/>
                  <a:pt x="2266272" y="683505"/>
                </a:cubicBezTo>
                <a:close/>
                <a:moveTo>
                  <a:pt x="4728730" y="681693"/>
                </a:moveTo>
                <a:cubicBezTo>
                  <a:pt x="4775627" y="681873"/>
                  <a:pt x="4823795" y="695274"/>
                  <a:pt x="4833030" y="711570"/>
                </a:cubicBezTo>
                <a:cubicBezTo>
                  <a:pt x="4842627" y="728229"/>
                  <a:pt x="4808584" y="742716"/>
                  <a:pt x="4758607" y="742716"/>
                </a:cubicBezTo>
                <a:cubicBezTo>
                  <a:pt x="4708630" y="742716"/>
                  <a:pt x="4661186" y="727324"/>
                  <a:pt x="4655031" y="710665"/>
                </a:cubicBezTo>
                <a:cubicBezTo>
                  <a:pt x="4648873" y="694006"/>
                  <a:pt x="4681830" y="681512"/>
                  <a:pt x="4728730" y="681693"/>
                </a:cubicBezTo>
                <a:close/>
                <a:moveTo>
                  <a:pt x="2068176" y="680246"/>
                </a:moveTo>
                <a:cubicBezTo>
                  <a:pt x="2100951" y="680246"/>
                  <a:pt x="2114531" y="690206"/>
                  <a:pt x="2096605" y="701432"/>
                </a:cubicBezTo>
                <a:cubicBezTo>
                  <a:pt x="2065913" y="715644"/>
                  <a:pt x="2032465" y="722938"/>
                  <a:pt x="1998641" y="722800"/>
                </a:cubicBezTo>
                <a:cubicBezTo>
                  <a:pt x="1964599" y="722437"/>
                  <a:pt x="1951923" y="712116"/>
                  <a:pt x="1971297" y="700707"/>
                </a:cubicBezTo>
                <a:cubicBezTo>
                  <a:pt x="2001737" y="687001"/>
                  <a:pt x="2034784" y="680020"/>
                  <a:pt x="2068176" y="680246"/>
                </a:cubicBezTo>
                <a:close/>
                <a:moveTo>
                  <a:pt x="6571012" y="679521"/>
                </a:moveTo>
                <a:cubicBezTo>
                  <a:pt x="6600311" y="679902"/>
                  <a:pt x="6629284" y="685670"/>
                  <a:pt x="6656481" y="696542"/>
                </a:cubicBezTo>
                <a:cubicBezTo>
                  <a:pt x="6674589" y="705777"/>
                  <a:pt x="6666441" y="713744"/>
                  <a:pt x="6638373" y="713381"/>
                </a:cubicBezTo>
                <a:cubicBezTo>
                  <a:pt x="6609003" y="712672"/>
                  <a:pt x="6580031" y="706534"/>
                  <a:pt x="6552904" y="695274"/>
                </a:cubicBezTo>
                <a:cubicBezTo>
                  <a:pt x="6537332" y="686584"/>
                  <a:pt x="6546024" y="679341"/>
                  <a:pt x="6571012" y="679521"/>
                </a:cubicBezTo>
                <a:close/>
                <a:moveTo>
                  <a:pt x="1877860" y="674632"/>
                </a:moveTo>
                <a:cubicBezTo>
                  <a:pt x="1907920" y="674632"/>
                  <a:pt x="1917154" y="684409"/>
                  <a:pt x="1897780" y="694730"/>
                </a:cubicBezTo>
                <a:cubicBezTo>
                  <a:pt x="1868153" y="707163"/>
                  <a:pt x="1836285" y="713329"/>
                  <a:pt x="1804160" y="712838"/>
                </a:cubicBezTo>
                <a:cubicBezTo>
                  <a:pt x="1773199" y="712838"/>
                  <a:pt x="1764868" y="703241"/>
                  <a:pt x="1785511" y="692740"/>
                </a:cubicBezTo>
                <a:cubicBezTo>
                  <a:pt x="1814752" y="680548"/>
                  <a:pt x="1846169" y="674391"/>
                  <a:pt x="1877860" y="674632"/>
                </a:cubicBezTo>
                <a:close/>
                <a:moveTo>
                  <a:pt x="4516324" y="674089"/>
                </a:moveTo>
                <a:cubicBezTo>
                  <a:pt x="4567208" y="674269"/>
                  <a:pt x="4609398" y="686402"/>
                  <a:pt x="4617003" y="703785"/>
                </a:cubicBezTo>
                <a:cubicBezTo>
                  <a:pt x="4624790" y="721893"/>
                  <a:pt x="4591652" y="734570"/>
                  <a:pt x="4538235" y="734570"/>
                </a:cubicBezTo>
                <a:cubicBezTo>
                  <a:pt x="4484817" y="734570"/>
                  <a:pt x="4442627" y="721169"/>
                  <a:pt x="4437374" y="703242"/>
                </a:cubicBezTo>
                <a:cubicBezTo>
                  <a:pt x="4432123" y="685316"/>
                  <a:pt x="4465441" y="673908"/>
                  <a:pt x="4516324" y="674089"/>
                </a:cubicBezTo>
                <a:close/>
                <a:moveTo>
                  <a:pt x="1681572" y="671916"/>
                </a:moveTo>
                <a:cubicBezTo>
                  <a:pt x="1709460" y="671916"/>
                  <a:pt x="1716701" y="679159"/>
                  <a:pt x="1698774" y="688757"/>
                </a:cubicBezTo>
                <a:cubicBezTo>
                  <a:pt x="1671740" y="700859"/>
                  <a:pt x="1642384" y="706916"/>
                  <a:pt x="1612762" y="706502"/>
                </a:cubicBezTo>
                <a:cubicBezTo>
                  <a:pt x="1581980" y="706502"/>
                  <a:pt x="1575099" y="698897"/>
                  <a:pt x="1595922" y="688394"/>
                </a:cubicBezTo>
                <a:cubicBezTo>
                  <a:pt x="1623047" y="677105"/>
                  <a:pt x="1652203" y="671497"/>
                  <a:pt x="1681572" y="671916"/>
                </a:cubicBezTo>
                <a:close/>
                <a:moveTo>
                  <a:pt x="6346656" y="670287"/>
                </a:moveTo>
                <a:cubicBezTo>
                  <a:pt x="6378191" y="670844"/>
                  <a:pt x="6409314" y="677549"/>
                  <a:pt x="6438282" y="690024"/>
                </a:cubicBezTo>
                <a:cubicBezTo>
                  <a:pt x="6454759" y="699803"/>
                  <a:pt x="6443170" y="708132"/>
                  <a:pt x="6413836" y="708132"/>
                </a:cubicBezTo>
                <a:cubicBezTo>
                  <a:pt x="6381919" y="707856"/>
                  <a:pt x="6350386" y="701145"/>
                  <a:pt x="6321124" y="688395"/>
                </a:cubicBezTo>
                <a:cubicBezTo>
                  <a:pt x="6305914" y="678254"/>
                  <a:pt x="6318227" y="670287"/>
                  <a:pt x="6346656" y="670287"/>
                </a:cubicBezTo>
                <a:close/>
                <a:moveTo>
                  <a:pt x="4312068" y="668476"/>
                </a:moveTo>
                <a:cubicBezTo>
                  <a:pt x="4361504" y="668113"/>
                  <a:pt x="4407860" y="682056"/>
                  <a:pt x="4412567" y="698715"/>
                </a:cubicBezTo>
                <a:cubicBezTo>
                  <a:pt x="4417276" y="715374"/>
                  <a:pt x="4379429" y="729860"/>
                  <a:pt x="4329090" y="730404"/>
                </a:cubicBezTo>
                <a:cubicBezTo>
                  <a:pt x="4279293" y="730404"/>
                  <a:pt x="4233481" y="716642"/>
                  <a:pt x="4228411" y="699802"/>
                </a:cubicBezTo>
                <a:cubicBezTo>
                  <a:pt x="4223341" y="682962"/>
                  <a:pt x="4262634" y="668837"/>
                  <a:pt x="4312068" y="668476"/>
                </a:cubicBezTo>
                <a:close/>
                <a:moveTo>
                  <a:pt x="1483293" y="666845"/>
                </a:moveTo>
                <a:cubicBezTo>
                  <a:pt x="1509008" y="667026"/>
                  <a:pt x="1514439" y="673001"/>
                  <a:pt x="1496693" y="681693"/>
                </a:cubicBezTo>
                <a:cubicBezTo>
                  <a:pt x="1472462" y="691746"/>
                  <a:pt x="1446498" y="696913"/>
                  <a:pt x="1420279" y="696904"/>
                </a:cubicBezTo>
                <a:cubicBezTo>
                  <a:pt x="1391847" y="696904"/>
                  <a:pt x="1386418" y="690204"/>
                  <a:pt x="1407239" y="680969"/>
                </a:cubicBezTo>
                <a:cubicBezTo>
                  <a:pt x="1431468" y="671490"/>
                  <a:pt x="1457273" y="666697"/>
                  <a:pt x="1483293" y="666845"/>
                </a:cubicBezTo>
                <a:close/>
                <a:moveTo>
                  <a:pt x="6135701" y="665035"/>
                </a:moveTo>
                <a:cubicBezTo>
                  <a:pt x="6168303" y="664524"/>
                  <a:pt x="6200583" y="671524"/>
                  <a:pt x="6230042" y="685496"/>
                </a:cubicBezTo>
                <a:cubicBezTo>
                  <a:pt x="6248694" y="696361"/>
                  <a:pt x="6236922" y="704509"/>
                  <a:pt x="6201794" y="704328"/>
                </a:cubicBezTo>
                <a:cubicBezTo>
                  <a:pt x="6168812" y="704929"/>
                  <a:pt x="6136165" y="697669"/>
                  <a:pt x="6106548" y="683143"/>
                </a:cubicBezTo>
                <a:cubicBezTo>
                  <a:pt x="6089526" y="672096"/>
                  <a:pt x="6101839" y="665035"/>
                  <a:pt x="6135701" y="665035"/>
                </a:cubicBezTo>
                <a:close/>
                <a:moveTo>
                  <a:pt x="1288453" y="663585"/>
                </a:moveTo>
                <a:cubicBezTo>
                  <a:pt x="1309458" y="663585"/>
                  <a:pt x="1315975" y="669923"/>
                  <a:pt x="1300947" y="676803"/>
                </a:cubicBezTo>
                <a:cubicBezTo>
                  <a:pt x="1279018" y="684817"/>
                  <a:pt x="1256005" y="689399"/>
                  <a:pt x="1232682" y="690384"/>
                </a:cubicBezTo>
                <a:cubicBezTo>
                  <a:pt x="1210589" y="690384"/>
                  <a:pt x="1202984" y="684589"/>
                  <a:pt x="1217471" y="677709"/>
                </a:cubicBezTo>
                <a:cubicBezTo>
                  <a:pt x="1240235" y="669240"/>
                  <a:pt x="1264189" y="664471"/>
                  <a:pt x="1288453" y="663585"/>
                </a:cubicBezTo>
                <a:close/>
                <a:moveTo>
                  <a:pt x="4113787" y="661051"/>
                </a:moveTo>
                <a:cubicBezTo>
                  <a:pt x="4161592" y="661231"/>
                  <a:pt x="4206499" y="675356"/>
                  <a:pt x="4208128" y="691472"/>
                </a:cubicBezTo>
                <a:cubicBezTo>
                  <a:pt x="4209940" y="708311"/>
                  <a:pt x="4166662" y="723341"/>
                  <a:pt x="4116323" y="723161"/>
                </a:cubicBezTo>
                <a:cubicBezTo>
                  <a:pt x="4065983" y="722978"/>
                  <a:pt x="4021256" y="707768"/>
                  <a:pt x="4021981" y="691109"/>
                </a:cubicBezTo>
                <a:cubicBezTo>
                  <a:pt x="4022705" y="674449"/>
                  <a:pt x="4065983" y="660870"/>
                  <a:pt x="4113787" y="661051"/>
                </a:cubicBezTo>
                <a:close/>
                <a:moveTo>
                  <a:pt x="1101760" y="658517"/>
                </a:moveTo>
                <a:cubicBezTo>
                  <a:pt x="1119867" y="658517"/>
                  <a:pt x="1123671" y="663950"/>
                  <a:pt x="1110814" y="669562"/>
                </a:cubicBezTo>
                <a:cubicBezTo>
                  <a:pt x="1090879" y="676558"/>
                  <a:pt x="1070001" y="680526"/>
                  <a:pt x="1048886" y="681334"/>
                </a:cubicBezTo>
                <a:cubicBezTo>
                  <a:pt x="1030778" y="681334"/>
                  <a:pt x="1026976" y="675900"/>
                  <a:pt x="1040375" y="670106"/>
                </a:cubicBezTo>
                <a:cubicBezTo>
                  <a:pt x="1060149" y="663224"/>
                  <a:pt x="1080848" y="659317"/>
                  <a:pt x="1101760" y="658517"/>
                </a:cubicBezTo>
                <a:close/>
                <a:moveTo>
                  <a:pt x="3916234" y="656344"/>
                </a:moveTo>
                <a:cubicBezTo>
                  <a:pt x="3963858" y="656524"/>
                  <a:pt x="4006773" y="670830"/>
                  <a:pt x="4004600" y="686945"/>
                </a:cubicBezTo>
                <a:cubicBezTo>
                  <a:pt x="4002427" y="703061"/>
                  <a:pt x="3957520" y="718454"/>
                  <a:pt x="3907362" y="718091"/>
                </a:cubicBezTo>
                <a:cubicBezTo>
                  <a:pt x="3856841" y="718091"/>
                  <a:pt x="3815374" y="702519"/>
                  <a:pt x="3819176" y="686041"/>
                </a:cubicBezTo>
                <a:cubicBezTo>
                  <a:pt x="3822979" y="669562"/>
                  <a:pt x="3868610" y="656163"/>
                  <a:pt x="3916234" y="656344"/>
                </a:cubicBezTo>
                <a:close/>
                <a:moveTo>
                  <a:pt x="911810" y="656162"/>
                </a:moveTo>
                <a:cubicBezTo>
                  <a:pt x="924665" y="656342"/>
                  <a:pt x="926476" y="660688"/>
                  <a:pt x="915432" y="665217"/>
                </a:cubicBezTo>
                <a:cubicBezTo>
                  <a:pt x="899277" y="670566"/>
                  <a:pt x="882456" y="673614"/>
                  <a:pt x="865453" y="674270"/>
                </a:cubicBezTo>
                <a:cubicBezTo>
                  <a:pt x="849699" y="674270"/>
                  <a:pt x="847344" y="669563"/>
                  <a:pt x="862012" y="664492"/>
                </a:cubicBezTo>
                <a:cubicBezTo>
                  <a:pt x="878146" y="659403"/>
                  <a:pt x="894895" y="656601"/>
                  <a:pt x="911810" y="656162"/>
                </a:cubicBezTo>
                <a:close/>
                <a:moveTo>
                  <a:pt x="5922573" y="655801"/>
                </a:moveTo>
                <a:cubicBezTo>
                  <a:pt x="5956526" y="655168"/>
                  <a:pt x="5990151" y="662551"/>
                  <a:pt x="6020718" y="677347"/>
                </a:cubicBezTo>
                <a:cubicBezTo>
                  <a:pt x="6038826" y="689661"/>
                  <a:pt x="6024520" y="699077"/>
                  <a:pt x="5986312" y="698715"/>
                </a:cubicBezTo>
                <a:cubicBezTo>
                  <a:pt x="5952886" y="699103"/>
                  <a:pt x="5919834" y="691661"/>
                  <a:pt x="5889799" y="676986"/>
                </a:cubicBezTo>
                <a:cubicBezTo>
                  <a:pt x="5871510" y="665034"/>
                  <a:pt x="5886177" y="655618"/>
                  <a:pt x="5922573" y="655801"/>
                </a:cubicBezTo>
                <a:close/>
                <a:moveTo>
                  <a:pt x="3721395" y="649824"/>
                </a:moveTo>
                <a:cubicBezTo>
                  <a:pt x="3766846" y="650006"/>
                  <a:pt x="3805595" y="663768"/>
                  <a:pt x="3802698" y="679340"/>
                </a:cubicBezTo>
                <a:cubicBezTo>
                  <a:pt x="3799801" y="694914"/>
                  <a:pt x="3751635" y="710485"/>
                  <a:pt x="3701838" y="710305"/>
                </a:cubicBezTo>
                <a:cubicBezTo>
                  <a:pt x="3651498" y="710305"/>
                  <a:pt x="3611299" y="694914"/>
                  <a:pt x="3619811" y="678616"/>
                </a:cubicBezTo>
                <a:cubicBezTo>
                  <a:pt x="3629768" y="659603"/>
                  <a:pt x="3675944" y="649643"/>
                  <a:pt x="3721395" y="649824"/>
                </a:cubicBezTo>
                <a:close/>
                <a:moveTo>
                  <a:pt x="5716144" y="649281"/>
                </a:moveTo>
                <a:cubicBezTo>
                  <a:pt x="5751529" y="648908"/>
                  <a:pt x="5786511" y="656849"/>
                  <a:pt x="5818272" y="672459"/>
                </a:cubicBezTo>
                <a:cubicBezTo>
                  <a:pt x="5836380" y="684953"/>
                  <a:pt x="5817184" y="696178"/>
                  <a:pt x="5778796" y="695817"/>
                </a:cubicBezTo>
                <a:cubicBezTo>
                  <a:pt x="5740408" y="695454"/>
                  <a:pt x="5691518" y="684228"/>
                  <a:pt x="5675583" y="671915"/>
                </a:cubicBezTo>
                <a:cubicBezTo>
                  <a:pt x="5659648" y="659602"/>
                  <a:pt x="5679205" y="649098"/>
                  <a:pt x="5716144" y="649281"/>
                </a:cubicBezTo>
                <a:close/>
                <a:moveTo>
                  <a:pt x="7308359" y="646204"/>
                </a:moveTo>
                <a:cubicBezTo>
                  <a:pt x="7323461" y="646257"/>
                  <a:pt x="7338453" y="648827"/>
                  <a:pt x="7352723" y="653810"/>
                </a:cubicBezTo>
                <a:cubicBezTo>
                  <a:pt x="7364131" y="657973"/>
                  <a:pt x="7363587" y="660870"/>
                  <a:pt x="7351274" y="661053"/>
                </a:cubicBezTo>
                <a:cubicBezTo>
                  <a:pt x="7336045" y="661015"/>
                  <a:pt x="7320925" y="658444"/>
                  <a:pt x="7306547" y="653447"/>
                </a:cubicBezTo>
                <a:cubicBezTo>
                  <a:pt x="7295502" y="649281"/>
                  <a:pt x="7296226" y="646567"/>
                  <a:pt x="7308359" y="646204"/>
                </a:cubicBezTo>
                <a:close/>
                <a:moveTo>
                  <a:pt x="3522933" y="646204"/>
                </a:moveTo>
                <a:cubicBezTo>
                  <a:pt x="3572910" y="646204"/>
                  <a:pt x="3605141" y="657793"/>
                  <a:pt x="3599710" y="674271"/>
                </a:cubicBezTo>
                <a:cubicBezTo>
                  <a:pt x="3594277" y="690750"/>
                  <a:pt x="3551905" y="703968"/>
                  <a:pt x="3499755" y="704149"/>
                </a:cubicBezTo>
                <a:cubicBezTo>
                  <a:pt x="3447605" y="704329"/>
                  <a:pt x="3415553" y="691835"/>
                  <a:pt x="3423520" y="674815"/>
                </a:cubicBezTo>
                <a:cubicBezTo>
                  <a:pt x="3431488" y="657793"/>
                  <a:pt x="3472773" y="646384"/>
                  <a:pt x="3522933" y="646204"/>
                </a:cubicBezTo>
                <a:close/>
                <a:moveTo>
                  <a:pt x="5508810" y="641676"/>
                </a:moveTo>
                <a:cubicBezTo>
                  <a:pt x="5549191" y="641676"/>
                  <a:pt x="5593735" y="652179"/>
                  <a:pt x="5611118" y="665397"/>
                </a:cubicBezTo>
                <a:cubicBezTo>
                  <a:pt x="5629226" y="679340"/>
                  <a:pt x="5610033" y="689843"/>
                  <a:pt x="5566211" y="689480"/>
                </a:cubicBezTo>
                <a:cubicBezTo>
                  <a:pt x="5522391" y="689119"/>
                  <a:pt x="5479113" y="678615"/>
                  <a:pt x="5463722" y="664492"/>
                </a:cubicBezTo>
                <a:cubicBezTo>
                  <a:pt x="5448331" y="650367"/>
                  <a:pt x="5468429" y="641676"/>
                  <a:pt x="5508810" y="641676"/>
                </a:cubicBezTo>
                <a:close/>
                <a:moveTo>
                  <a:pt x="3323746" y="640046"/>
                </a:moveTo>
                <a:cubicBezTo>
                  <a:pt x="3370826" y="640046"/>
                  <a:pt x="3401610" y="651635"/>
                  <a:pt x="3394004" y="667026"/>
                </a:cubicBezTo>
                <a:cubicBezTo>
                  <a:pt x="3386400" y="682419"/>
                  <a:pt x="3339680" y="696542"/>
                  <a:pt x="3289523" y="696362"/>
                </a:cubicBezTo>
                <a:cubicBezTo>
                  <a:pt x="3239365" y="696181"/>
                  <a:pt x="3211297" y="683324"/>
                  <a:pt x="3221981" y="667389"/>
                </a:cubicBezTo>
                <a:cubicBezTo>
                  <a:pt x="3232665" y="651454"/>
                  <a:pt x="3276304" y="640046"/>
                  <a:pt x="3323746" y="640046"/>
                </a:cubicBezTo>
                <a:close/>
                <a:moveTo>
                  <a:pt x="7088349" y="636605"/>
                </a:moveTo>
                <a:cubicBezTo>
                  <a:pt x="7107906" y="637072"/>
                  <a:pt x="7127318" y="640363"/>
                  <a:pt x="7145933" y="646384"/>
                </a:cubicBezTo>
                <a:cubicBezTo>
                  <a:pt x="7160057" y="651635"/>
                  <a:pt x="7158971" y="656885"/>
                  <a:pt x="7143397" y="657249"/>
                </a:cubicBezTo>
                <a:cubicBezTo>
                  <a:pt x="7123679" y="656872"/>
                  <a:pt x="7104104" y="653703"/>
                  <a:pt x="7085272" y="647833"/>
                </a:cubicBezTo>
                <a:cubicBezTo>
                  <a:pt x="7069517" y="642219"/>
                  <a:pt x="7071148" y="636605"/>
                  <a:pt x="7088349" y="636605"/>
                </a:cubicBezTo>
                <a:close/>
                <a:moveTo>
                  <a:pt x="3129993" y="636061"/>
                </a:moveTo>
                <a:cubicBezTo>
                  <a:pt x="3173633" y="635700"/>
                  <a:pt x="3204054" y="648013"/>
                  <a:pt x="3195001" y="662317"/>
                </a:cubicBezTo>
                <a:cubicBezTo>
                  <a:pt x="3185946" y="676986"/>
                  <a:pt x="3137056" y="690385"/>
                  <a:pt x="3091244" y="690748"/>
                </a:cubicBezTo>
                <a:cubicBezTo>
                  <a:pt x="3045430" y="691109"/>
                  <a:pt x="3015916" y="677891"/>
                  <a:pt x="3026961" y="663224"/>
                </a:cubicBezTo>
                <a:cubicBezTo>
                  <a:pt x="3038006" y="648555"/>
                  <a:pt x="3086354" y="636424"/>
                  <a:pt x="3129993" y="636061"/>
                </a:cubicBezTo>
                <a:close/>
                <a:moveTo>
                  <a:pt x="5307453" y="635701"/>
                </a:moveTo>
                <a:cubicBezTo>
                  <a:pt x="5350368" y="635881"/>
                  <a:pt x="5396724" y="646746"/>
                  <a:pt x="5411934" y="660871"/>
                </a:cubicBezTo>
                <a:cubicBezTo>
                  <a:pt x="5427145" y="674994"/>
                  <a:pt x="5405235" y="686221"/>
                  <a:pt x="5362501" y="686402"/>
                </a:cubicBezTo>
                <a:cubicBezTo>
                  <a:pt x="5319766" y="686582"/>
                  <a:pt x="5270333" y="675176"/>
                  <a:pt x="5255664" y="660690"/>
                </a:cubicBezTo>
                <a:cubicBezTo>
                  <a:pt x="5241360" y="646565"/>
                  <a:pt x="5264538" y="635520"/>
                  <a:pt x="5307453" y="635701"/>
                </a:cubicBezTo>
                <a:close/>
                <a:moveTo>
                  <a:pt x="2939139" y="633165"/>
                </a:moveTo>
                <a:cubicBezTo>
                  <a:pt x="2982598" y="633347"/>
                  <a:pt x="3007585" y="644212"/>
                  <a:pt x="2993462" y="658878"/>
                </a:cubicBezTo>
                <a:cubicBezTo>
                  <a:pt x="2979337" y="673545"/>
                  <a:pt x="2937147" y="684410"/>
                  <a:pt x="2891876" y="684410"/>
                </a:cubicBezTo>
                <a:cubicBezTo>
                  <a:pt x="2845360" y="684410"/>
                  <a:pt x="2822361" y="672640"/>
                  <a:pt x="2837574" y="657610"/>
                </a:cubicBezTo>
                <a:cubicBezTo>
                  <a:pt x="2852784" y="642581"/>
                  <a:pt x="2895680" y="632984"/>
                  <a:pt x="2939139" y="633165"/>
                </a:cubicBezTo>
                <a:close/>
                <a:moveTo>
                  <a:pt x="6873774" y="630630"/>
                </a:moveTo>
                <a:cubicBezTo>
                  <a:pt x="6895864" y="630672"/>
                  <a:pt x="6917774" y="634721"/>
                  <a:pt x="6938418" y="642580"/>
                </a:cubicBezTo>
                <a:cubicBezTo>
                  <a:pt x="6954897" y="649643"/>
                  <a:pt x="6950732" y="654352"/>
                  <a:pt x="6928278" y="654352"/>
                </a:cubicBezTo>
                <a:cubicBezTo>
                  <a:pt x="6905988" y="654192"/>
                  <a:pt x="6883895" y="650019"/>
                  <a:pt x="6863090" y="642039"/>
                </a:cubicBezTo>
                <a:cubicBezTo>
                  <a:pt x="6847155" y="634976"/>
                  <a:pt x="6851501" y="630450"/>
                  <a:pt x="6873774" y="630630"/>
                </a:cubicBezTo>
                <a:close/>
                <a:moveTo>
                  <a:pt x="5101928" y="629906"/>
                </a:moveTo>
                <a:cubicBezTo>
                  <a:pt x="5146654" y="629906"/>
                  <a:pt x="5195002" y="642581"/>
                  <a:pt x="5206591" y="656886"/>
                </a:cubicBezTo>
                <a:cubicBezTo>
                  <a:pt x="5218180" y="671192"/>
                  <a:pt x="5191018" y="683505"/>
                  <a:pt x="5146293" y="683142"/>
                </a:cubicBezTo>
                <a:cubicBezTo>
                  <a:pt x="5101566" y="682781"/>
                  <a:pt x="5050502" y="669561"/>
                  <a:pt x="5040905" y="654894"/>
                </a:cubicBezTo>
                <a:cubicBezTo>
                  <a:pt x="5031309" y="640227"/>
                  <a:pt x="5059013" y="629543"/>
                  <a:pt x="5101928" y="629906"/>
                </a:cubicBezTo>
                <a:close/>
                <a:moveTo>
                  <a:pt x="2754454" y="627189"/>
                </a:moveTo>
                <a:cubicBezTo>
                  <a:pt x="2793754" y="627189"/>
                  <a:pt x="2815665" y="639502"/>
                  <a:pt x="2800812" y="652178"/>
                </a:cubicBezTo>
                <a:cubicBezTo>
                  <a:pt x="2785967" y="664852"/>
                  <a:pt x="2735264" y="677166"/>
                  <a:pt x="2695425" y="676441"/>
                </a:cubicBezTo>
                <a:cubicBezTo>
                  <a:pt x="2655589" y="675717"/>
                  <a:pt x="2633499" y="663404"/>
                  <a:pt x="2650336" y="650366"/>
                </a:cubicBezTo>
                <a:cubicBezTo>
                  <a:pt x="2667180" y="637329"/>
                  <a:pt x="2716069" y="626647"/>
                  <a:pt x="2754454" y="627189"/>
                </a:cubicBezTo>
                <a:close/>
                <a:moveTo>
                  <a:pt x="2561609" y="624473"/>
                </a:moveTo>
                <a:cubicBezTo>
                  <a:pt x="2601264" y="624473"/>
                  <a:pt x="2620098" y="634069"/>
                  <a:pt x="2605432" y="646383"/>
                </a:cubicBezTo>
                <a:cubicBezTo>
                  <a:pt x="2590219" y="659603"/>
                  <a:pt x="2548214" y="669743"/>
                  <a:pt x="2506925" y="670104"/>
                </a:cubicBezTo>
                <a:cubicBezTo>
                  <a:pt x="2465640" y="670467"/>
                  <a:pt x="2445177" y="660144"/>
                  <a:pt x="2463283" y="646565"/>
                </a:cubicBezTo>
                <a:cubicBezTo>
                  <a:pt x="2481394" y="632984"/>
                  <a:pt x="2521958" y="624473"/>
                  <a:pt x="2561609" y="624473"/>
                </a:cubicBezTo>
                <a:close/>
                <a:moveTo>
                  <a:pt x="4901656" y="622482"/>
                </a:moveTo>
                <a:cubicBezTo>
                  <a:pt x="4947651" y="622662"/>
                  <a:pt x="4993644" y="634071"/>
                  <a:pt x="5005415" y="649281"/>
                </a:cubicBezTo>
                <a:cubicBezTo>
                  <a:pt x="5017365" y="664492"/>
                  <a:pt x="4988756" y="676986"/>
                  <a:pt x="4940589" y="676986"/>
                </a:cubicBezTo>
                <a:cubicBezTo>
                  <a:pt x="4892423" y="676986"/>
                  <a:pt x="4846067" y="664311"/>
                  <a:pt x="4836107" y="648920"/>
                </a:cubicBezTo>
                <a:cubicBezTo>
                  <a:pt x="4826148" y="633527"/>
                  <a:pt x="4855664" y="622301"/>
                  <a:pt x="4901656" y="622482"/>
                </a:cubicBezTo>
                <a:close/>
                <a:moveTo>
                  <a:pt x="6661370" y="621938"/>
                </a:moveTo>
                <a:cubicBezTo>
                  <a:pt x="6686177" y="622094"/>
                  <a:pt x="6710749" y="626885"/>
                  <a:pt x="6733801" y="636063"/>
                </a:cubicBezTo>
                <a:cubicBezTo>
                  <a:pt x="6752089" y="644211"/>
                  <a:pt x="6746114" y="649825"/>
                  <a:pt x="6719676" y="649645"/>
                </a:cubicBezTo>
                <a:cubicBezTo>
                  <a:pt x="6694398" y="649647"/>
                  <a:pt x="6669374" y="644727"/>
                  <a:pt x="6645977" y="635159"/>
                </a:cubicBezTo>
                <a:cubicBezTo>
                  <a:pt x="6629137" y="627191"/>
                  <a:pt x="6635476" y="621758"/>
                  <a:pt x="6661370" y="621938"/>
                </a:cubicBezTo>
                <a:close/>
                <a:moveTo>
                  <a:pt x="2380172" y="618859"/>
                </a:moveTo>
                <a:cubicBezTo>
                  <a:pt x="2414215" y="619402"/>
                  <a:pt x="2430149" y="629543"/>
                  <a:pt x="2414031" y="640588"/>
                </a:cubicBezTo>
                <a:cubicBezTo>
                  <a:pt x="2382416" y="655713"/>
                  <a:pt x="2347666" y="663099"/>
                  <a:pt x="2312627" y="662137"/>
                </a:cubicBezTo>
                <a:cubicBezTo>
                  <a:pt x="2277319" y="662137"/>
                  <a:pt x="2262471" y="650911"/>
                  <a:pt x="2280033" y="639503"/>
                </a:cubicBezTo>
                <a:cubicBezTo>
                  <a:pt x="2311415" y="625142"/>
                  <a:pt x="2345656" y="618083"/>
                  <a:pt x="2380172" y="618859"/>
                </a:cubicBezTo>
                <a:close/>
                <a:moveTo>
                  <a:pt x="4707181" y="617048"/>
                </a:moveTo>
                <a:cubicBezTo>
                  <a:pt x="4754442" y="618136"/>
                  <a:pt x="4799349" y="629544"/>
                  <a:pt x="4808585" y="644392"/>
                </a:cubicBezTo>
                <a:cubicBezTo>
                  <a:pt x="4818725" y="659783"/>
                  <a:pt x="4787580" y="673003"/>
                  <a:pt x="4739412" y="673364"/>
                </a:cubicBezTo>
                <a:cubicBezTo>
                  <a:pt x="4691246" y="673727"/>
                  <a:pt x="4641086" y="660507"/>
                  <a:pt x="4633119" y="644755"/>
                </a:cubicBezTo>
                <a:cubicBezTo>
                  <a:pt x="4625151" y="629000"/>
                  <a:pt x="4659918" y="615963"/>
                  <a:pt x="4707181" y="617048"/>
                </a:cubicBezTo>
                <a:close/>
                <a:moveTo>
                  <a:pt x="2184789" y="616505"/>
                </a:moveTo>
                <a:cubicBezTo>
                  <a:pt x="2217022" y="615961"/>
                  <a:pt x="2230059" y="625560"/>
                  <a:pt x="2213220" y="636061"/>
                </a:cubicBezTo>
                <a:cubicBezTo>
                  <a:pt x="2183774" y="649415"/>
                  <a:pt x="2151761" y="656152"/>
                  <a:pt x="2119421" y="655798"/>
                </a:cubicBezTo>
                <a:cubicBezTo>
                  <a:pt x="2084291" y="655798"/>
                  <a:pt x="2071253" y="645658"/>
                  <a:pt x="2091169" y="634613"/>
                </a:cubicBezTo>
                <a:cubicBezTo>
                  <a:pt x="2120777" y="622119"/>
                  <a:pt x="2152663" y="615952"/>
                  <a:pt x="2184789" y="616505"/>
                </a:cubicBezTo>
                <a:close/>
                <a:moveTo>
                  <a:pt x="6458744" y="615783"/>
                </a:moveTo>
                <a:cubicBezTo>
                  <a:pt x="6486215" y="615996"/>
                  <a:pt x="6513375" y="621724"/>
                  <a:pt x="6538599" y="632623"/>
                </a:cubicBezTo>
                <a:cubicBezTo>
                  <a:pt x="6554353" y="641314"/>
                  <a:pt x="6545300" y="647289"/>
                  <a:pt x="6516870" y="647109"/>
                </a:cubicBezTo>
                <a:cubicBezTo>
                  <a:pt x="6488912" y="647095"/>
                  <a:pt x="6461244" y="641364"/>
                  <a:pt x="6435566" y="630269"/>
                </a:cubicBezTo>
                <a:cubicBezTo>
                  <a:pt x="6419087" y="621395"/>
                  <a:pt x="6429047" y="615239"/>
                  <a:pt x="6458744" y="615783"/>
                </a:cubicBezTo>
                <a:close/>
                <a:moveTo>
                  <a:pt x="1999365" y="610893"/>
                </a:moveTo>
                <a:cubicBezTo>
                  <a:pt x="2031597" y="611436"/>
                  <a:pt x="2042462" y="618680"/>
                  <a:pt x="2025076" y="629001"/>
                </a:cubicBezTo>
                <a:cubicBezTo>
                  <a:pt x="1997481" y="641610"/>
                  <a:pt x="1967409" y="647802"/>
                  <a:pt x="1937072" y="647108"/>
                </a:cubicBezTo>
                <a:cubicBezTo>
                  <a:pt x="1903752" y="647108"/>
                  <a:pt x="1893433" y="639504"/>
                  <a:pt x="1912265" y="629001"/>
                </a:cubicBezTo>
                <a:cubicBezTo>
                  <a:pt x="1939626" y="616662"/>
                  <a:pt x="1969358" y="610480"/>
                  <a:pt x="1999365" y="610893"/>
                </a:cubicBezTo>
                <a:close/>
                <a:moveTo>
                  <a:pt x="4512161" y="609806"/>
                </a:moveTo>
                <a:cubicBezTo>
                  <a:pt x="4559241" y="609986"/>
                  <a:pt x="4606502" y="622843"/>
                  <a:pt x="4613021" y="638417"/>
                </a:cubicBezTo>
                <a:cubicBezTo>
                  <a:pt x="4619720" y="654352"/>
                  <a:pt x="4582600" y="667931"/>
                  <a:pt x="4531898" y="667389"/>
                </a:cubicBezTo>
                <a:cubicBezTo>
                  <a:pt x="4481196" y="666846"/>
                  <a:pt x="4435384" y="652179"/>
                  <a:pt x="4432123" y="636786"/>
                </a:cubicBezTo>
                <a:cubicBezTo>
                  <a:pt x="4428865" y="621395"/>
                  <a:pt x="4465081" y="609625"/>
                  <a:pt x="4512161" y="609806"/>
                </a:cubicBezTo>
                <a:close/>
                <a:moveTo>
                  <a:pt x="1813760" y="608177"/>
                </a:moveTo>
                <a:cubicBezTo>
                  <a:pt x="1841465" y="608177"/>
                  <a:pt x="1852148" y="615600"/>
                  <a:pt x="1836395" y="624474"/>
                </a:cubicBezTo>
                <a:cubicBezTo>
                  <a:pt x="1809667" y="635480"/>
                  <a:pt x="1781092" y="641257"/>
                  <a:pt x="1752194" y="641495"/>
                </a:cubicBezTo>
                <a:cubicBezTo>
                  <a:pt x="1723765" y="641495"/>
                  <a:pt x="1713624" y="633708"/>
                  <a:pt x="1730282" y="624836"/>
                </a:cubicBezTo>
                <a:cubicBezTo>
                  <a:pt x="1756827" y="614106"/>
                  <a:pt x="1785131" y="608458"/>
                  <a:pt x="1813760" y="608177"/>
                </a:cubicBezTo>
                <a:close/>
                <a:moveTo>
                  <a:pt x="6249962" y="606004"/>
                </a:moveTo>
                <a:cubicBezTo>
                  <a:pt x="6279601" y="606648"/>
                  <a:pt x="6308825" y="613108"/>
                  <a:pt x="6335974" y="625016"/>
                </a:cubicBezTo>
                <a:cubicBezTo>
                  <a:pt x="6354082" y="634615"/>
                  <a:pt x="6343761" y="643124"/>
                  <a:pt x="6313157" y="642219"/>
                </a:cubicBezTo>
                <a:cubicBezTo>
                  <a:pt x="6283027" y="642105"/>
                  <a:pt x="6253224" y="635949"/>
                  <a:pt x="6225516" y="624111"/>
                </a:cubicBezTo>
                <a:cubicBezTo>
                  <a:pt x="6207408" y="614334"/>
                  <a:pt x="6218455" y="606004"/>
                  <a:pt x="6249962" y="606004"/>
                </a:cubicBezTo>
                <a:close/>
                <a:moveTo>
                  <a:pt x="4320941" y="605280"/>
                </a:moveTo>
                <a:cubicBezTo>
                  <a:pt x="4370013" y="605460"/>
                  <a:pt x="4413653" y="617956"/>
                  <a:pt x="4417637" y="634252"/>
                </a:cubicBezTo>
                <a:cubicBezTo>
                  <a:pt x="4421620" y="650550"/>
                  <a:pt x="4384499" y="663224"/>
                  <a:pt x="4332530" y="663044"/>
                </a:cubicBezTo>
                <a:cubicBezTo>
                  <a:pt x="4279655" y="663044"/>
                  <a:pt x="4237284" y="649282"/>
                  <a:pt x="4235652" y="632442"/>
                </a:cubicBezTo>
                <a:cubicBezTo>
                  <a:pt x="4234023" y="615601"/>
                  <a:pt x="4271868" y="605099"/>
                  <a:pt x="4320941" y="605280"/>
                </a:cubicBezTo>
                <a:close/>
                <a:moveTo>
                  <a:pt x="1634129" y="603468"/>
                </a:moveTo>
                <a:cubicBezTo>
                  <a:pt x="1659120" y="603468"/>
                  <a:pt x="1667083" y="610891"/>
                  <a:pt x="1650065" y="618678"/>
                </a:cubicBezTo>
                <a:cubicBezTo>
                  <a:pt x="1625421" y="627868"/>
                  <a:pt x="1599399" y="632767"/>
                  <a:pt x="1573109" y="633165"/>
                </a:cubicBezTo>
                <a:cubicBezTo>
                  <a:pt x="1547395" y="633165"/>
                  <a:pt x="1540150" y="625560"/>
                  <a:pt x="1557896" y="617593"/>
                </a:cubicBezTo>
                <a:cubicBezTo>
                  <a:pt x="1582360" y="608703"/>
                  <a:pt x="1608108" y="603930"/>
                  <a:pt x="1634129" y="603468"/>
                </a:cubicBezTo>
                <a:close/>
                <a:moveTo>
                  <a:pt x="6048059" y="602382"/>
                </a:moveTo>
                <a:cubicBezTo>
                  <a:pt x="6079382" y="602374"/>
                  <a:pt x="6110415" y="608334"/>
                  <a:pt x="6139503" y="619947"/>
                </a:cubicBezTo>
                <a:cubicBezTo>
                  <a:pt x="6157611" y="629905"/>
                  <a:pt x="6145298" y="639684"/>
                  <a:pt x="6112886" y="639504"/>
                </a:cubicBezTo>
                <a:cubicBezTo>
                  <a:pt x="6081150" y="639627"/>
                  <a:pt x="6049702" y="633473"/>
                  <a:pt x="6020355" y="621396"/>
                </a:cubicBezTo>
                <a:cubicBezTo>
                  <a:pt x="6002247" y="611617"/>
                  <a:pt x="6016553" y="602201"/>
                  <a:pt x="6048059" y="602382"/>
                </a:cubicBezTo>
                <a:close/>
                <a:moveTo>
                  <a:pt x="1449976" y="601114"/>
                </a:moveTo>
                <a:cubicBezTo>
                  <a:pt x="1472431" y="601114"/>
                  <a:pt x="1478404" y="606547"/>
                  <a:pt x="1463377" y="613608"/>
                </a:cubicBezTo>
                <a:cubicBezTo>
                  <a:pt x="1440270" y="622478"/>
                  <a:pt x="1415699" y="626961"/>
                  <a:pt x="1390944" y="626828"/>
                </a:cubicBezTo>
                <a:cubicBezTo>
                  <a:pt x="1368672" y="626828"/>
                  <a:pt x="1364327" y="620851"/>
                  <a:pt x="1380985" y="613608"/>
                </a:cubicBezTo>
                <a:cubicBezTo>
                  <a:pt x="1403077" y="605444"/>
                  <a:pt x="1426416" y="601214"/>
                  <a:pt x="1449976" y="601114"/>
                </a:cubicBezTo>
                <a:close/>
                <a:moveTo>
                  <a:pt x="4129000" y="598761"/>
                </a:moveTo>
                <a:cubicBezTo>
                  <a:pt x="4180063" y="598761"/>
                  <a:pt x="4219539" y="610350"/>
                  <a:pt x="4222797" y="626648"/>
                </a:cubicBezTo>
                <a:cubicBezTo>
                  <a:pt x="4226057" y="642944"/>
                  <a:pt x="4188030" y="656345"/>
                  <a:pt x="4134795" y="656345"/>
                </a:cubicBezTo>
                <a:cubicBezTo>
                  <a:pt x="4081557" y="656345"/>
                  <a:pt x="4040996" y="643668"/>
                  <a:pt x="4040815" y="627009"/>
                </a:cubicBezTo>
                <a:cubicBezTo>
                  <a:pt x="4040634" y="610350"/>
                  <a:pt x="4078299" y="598761"/>
                  <a:pt x="4129000" y="598761"/>
                </a:cubicBezTo>
                <a:close/>
                <a:moveTo>
                  <a:pt x="1266364" y="596948"/>
                </a:moveTo>
                <a:cubicBezTo>
                  <a:pt x="1285194" y="597855"/>
                  <a:pt x="1287910" y="601657"/>
                  <a:pt x="1272882" y="607813"/>
                </a:cubicBezTo>
                <a:cubicBezTo>
                  <a:pt x="1253705" y="614699"/>
                  <a:pt x="1233498" y="618250"/>
                  <a:pt x="1213127" y="618317"/>
                </a:cubicBezTo>
                <a:cubicBezTo>
                  <a:pt x="1193025" y="618317"/>
                  <a:pt x="1189405" y="613971"/>
                  <a:pt x="1204073" y="607632"/>
                </a:cubicBezTo>
                <a:cubicBezTo>
                  <a:pt x="1224026" y="600342"/>
                  <a:pt x="1245121" y="596722"/>
                  <a:pt x="1266364" y="596948"/>
                </a:cubicBezTo>
                <a:close/>
                <a:moveTo>
                  <a:pt x="1080209" y="594777"/>
                </a:moveTo>
                <a:cubicBezTo>
                  <a:pt x="1096505" y="594597"/>
                  <a:pt x="1100308" y="597855"/>
                  <a:pt x="1088537" y="602926"/>
                </a:cubicBezTo>
                <a:cubicBezTo>
                  <a:pt x="1072639" y="608540"/>
                  <a:pt x="1055962" y="611597"/>
                  <a:pt x="1039104" y="611981"/>
                </a:cubicBezTo>
                <a:cubicBezTo>
                  <a:pt x="1022264" y="611981"/>
                  <a:pt x="1019003" y="608720"/>
                  <a:pt x="1031137" y="603650"/>
                </a:cubicBezTo>
                <a:cubicBezTo>
                  <a:pt x="1046908" y="598078"/>
                  <a:pt x="1063477" y="595083"/>
                  <a:pt x="1080209" y="594777"/>
                </a:cubicBezTo>
                <a:close/>
                <a:moveTo>
                  <a:pt x="3935246" y="594596"/>
                </a:moveTo>
                <a:cubicBezTo>
                  <a:pt x="3985947" y="594776"/>
                  <a:pt x="4023248" y="606548"/>
                  <a:pt x="4022887" y="622663"/>
                </a:cubicBezTo>
                <a:cubicBezTo>
                  <a:pt x="4022887" y="639141"/>
                  <a:pt x="3982143" y="651816"/>
                  <a:pt x="3928908" y="651816"/>
                </a:cubicBezTo>
                <a:cubicBezTo>
                  <a:pt x="3875670" y="651816"/>
                  <a:pt x="3838369" y="638959"/>
                  <a:pt x="3841447" y="622300"/>
                </a:cubicBezTo>
                <a:cubicBezTo>
                  <a:pt x="3844525" y="605641"/>
                  <a:pt x="3884544" y="594415"/>
                  <a:pt x="3935246" y="594596"/>
                </a:cubicBezTo>
                <a:close/>
                <a:moveTo>
                  <a:pt x="5850322" y="594415"/>
                </a:moveTo>
                <a:cubicBezTo>
                  <a:pt x="5881806" y="593814"/>
                  <a:pt x="5912993" y="600574"/>
                  <a:pt x="5941405" y="614154"/>
                </a:cubicBezTo>
                <a:cubicBezTo>
                  <a:pt x="5959513" y="625923"/>
                  <a:pt x="5945751" y="634435"/>
                  <a:pt x="5906819" y="634072"/>
                </a:cubicBezTo>
                <a:cubicBezTo>
                  <a:pt x="5874704" y="634963"/>
                  <a:pt x="5842865" y="627935"/>
                  <a:pt x="5814107" y="613610"/>
                </a:cubicBezTo>
                <a:cubicBezTo>
                  <a:pt x="5795999" y="602021"/>
                  <a:pt x="5811934" y="594054"/>
                  <a:pt x="5850322" y="594415"/>
                </a:cubicBezTo>
                <a:close/>
                <a:moveTo>
                  <a:pt x="905097" y="591154"/>
                </a:moveTo>
                <a:cubicBezTo>
                  <a:pt x="917049" y="590793"/>
                  <a:pt x="917593" y="593690"/>
                  <a:pt x="906546" y="597853"/>
                </a:cubicBezTo>
                <a:cubicBezTo>
                  <a:pt x="894143" y="601821"/>
                  <a:pt x="881178" y="603777"/>
                  <a:pt x="868157" y="603648"/>
                </a:cubicBezTo>
                <a:cubicBezTo>
                  <a:pt x="858018" y="603648"/>
                  <a:pt x="857474" y="601114"/>
                  <a:pt x="867071" y="597492"/>
                </a:cubicBezTo>
                <a:cubicBezTo>
                  <a:pt x="879312" y="593308"/>
                  <a:pt x="892169" y="591166"/>
                  <a:pt x="905097" y="591154"/>
                </a:cubicBezTo>
                <a:close/>
                <a:moveTo>
                  <a:pt x="5648059" y="588620"/>
                </a:moveTo>
                <a:cubicBezTo>
                  <a:pt x="5680741" y="588109"/>
                  <a:pt x="5713078" y="595369"/>
                  <a:pt x="5742400" y="609808"/>
                </a:cubicBezTo>
                <a:cubicBezTo>
                  <a:pt x="5759603" y="621939"/>
                  <a:pt x="5742039" y="631537"/>
                  <a:pt x="5702563" y="631355"/>
                </a:cubicBezTo>
                <a:cubicBezTo>
                  <a:pt x="5663089" y="631355"/>
                  <a:pt x="5619631" y="621034"/>
                  <a:pt x="5604601" y="608901"/>
                </a:cubicBezTo>
                <a:cubicBezTo>
                  <a:pt x="5589571" y="596770"/>
                  <a:pt x="5609490" y="588259"/>
                  <a:pt x="5648059" y="588620"/>
                </a:cubicBezTo>
                <a:close/>
                <a:moveTo>
                  <a:pt x="3748916" y="588620"/>
                </a:moveTo>
                <a:cubicBezTo>
                  <a:pt x="3799076" y="588620"/>
                  <a:pt x="3834568" y="600752"/>
                  <a:pt x="3830764" y="616687"/>
                </a:cubicBezTo>
                <a:cubicBezTo>
                  <a:pt x="3826961" y="632622"/>
                  <a:pt x="3784951" y="644935"/>
                  <a:pt x="3733345" y="644755"/>
                </a:cubicBezTo>
                <a:cubicBezTo>
                  <a:pt x="3681738" y="644572"/>
                  <a:pt x="3645522" y="631717"/>
                  <a:pt x="3651859" y="615239"/>
                </a:cubicBezTo>
                <a:cubicBezTo>
                  <a:pt x="3658197" y="598760"/>
                  <a:pt x="3699663" y="588439"/>
                  <a:pt x="3748916" y="588620"/>
                </a:cubicBezTo>
                <a:close/>
                <a:moveTo>
                  <a:pt x="3561683" y="584636"/>
                </a:moveTo>
                <a:cubicBezTo>
                  <a:pt x="3609307" y="584455"/>
                  <a:pt x="3644798" y="596225"/>
                  <a:pt x="3640269" y="611255"/>
                </a:cubicBezTo>
                <a:cubicBezTo>
                  <a:pt x="3635562" y="626826"/>
                  <a:pt x="3591199" y="639864"/>
                  <a:pt x="3541222" y="640047"/>
                </a:cubicBezTo>
                <a:cubicBezTo>
                  <a:pt x="3491244" y="640227"/>
                  <a:pt x="3456114" y="627551"/>
                  <a:pt x="3462996" y="612160"/>
                </a:cubicBezTo>
                <a:cubicBezTo>
                  <a:pt x="3469876" y="596768"/>
                  <a:pt x="3514059" y="584816"/>
                  <a:pt x="3561683" y="584636"/>
                </a:cubicBezTo>
                <a:close/>
                <a:moveTo>
                  <a:pt x="7152633" y="583189"/>
                </a:moveTo>
                <a:cubicBezTo>
                  <a:pt x="7168315" y="583856"/>
                  <a:pt x="7183851" y="586595"/>
                  <a:pt x="7198808" y="591337"/>
                </a:cubicBezTo>
                <a:cubicBezTo>
                  <a:pt x="7208405" y="595141"/>
                  <a:pt x="7204603" y="598943"/>
                  <a:pt x="7191385" y="598580"/>
                </a:cubicBezTo>
                <a:cubicBezTo>
                  <a:pt x="7175722" y="597795"/>
                  <a:pt x="7160256" y="594871"/>
                  <a:pt x="7145390" y="589888"/>
                </a:cubicBezTo>
                <a:cubicBezTo>
                  <a:pt x="7137785" y="586449"/>
                  <a:pt x="7141407" y="583189"/>
                  <a:pt x="7152633" y="583189"/>
                </a:cubicBezTo>
                <a:close/>
                <a:moveTo>
                  <a:pt x="5447245" y="581014"/>
                </a:moveTo>
                <a:cubicBezTo>
                  <a:pt x="5485090" y="580833"/>
                  <a:pt x="5532350" y="590973"/>
                  <a:pt x="5548466" y="602925"/>
                </a:cubicBezTo>
                <a:cubicBezTo>
                  <a:pt x="5564583" y="614876"/>
                  <a:pt x="5544664" y="626284"/>
                  <a:pt x="5505370" y="626465"/>
                </a:cubicBezTo>
                <a:cubicBezTo>
                  <a:pt x="5466258" y="626465"/>
                  <a:pt x="5417729" y="615781"/>
                  <a:pt x="5402880" y="603650"/>
                </a:cubicBezTo>
                <a:cubicBezTo>
                  <a:pt x="5388032" y="591517"/>
                  <a:pt x="5409399" y="581196"/>
                  <a:pt x="5447245" y="581014"/>
                </a:cubicBezTo>
                <a:close/>
                <a:moveTo>
                  <a:pt x="3380244" y="579204"/>
                </a:moveTo>
                <a:cubicBezTo>
                  <a:pt x="3423703" y="579384"/>
                  <a:pt x="3458833" y="591880"/>
                  <a:pt x="3450502" y="605822"/>
                </a:cubicBezTo>
                <a:cubicBezTo>
                  <a:pt x="3437103" y="623025"/>
                  <a:pt x="3391472" y="632802"/>
                  <a:pt x="3346381" y="632622"/>
                </a:cubicBezTo>
                <a:cubicBezTo>
                  <a:pt x="3301293" y="632441"/>
                  <a:pt x="3267251" y="618497"/>
                  <a:pt x="3278840" y="604374"/>
                </a:cubicBezTo>
                <a:cubicBezTo>
                  <a:pt x="3290429" y="590249"/>
                  <a:pt x="3336785" y="579023"/>
                  <a:pt x="3380244" y="579204"/>
                </a:cubicBezTo>
                <a:close/>
                <a:moveTo>
                  <a:pt x="6949646" y="577212"/>
                </a:moveTo>
                <a:cubicBezTo>
                  <a:pt x="6968822" y="577723"/>
                  <a:pt x="6987835" y="580890"/>
                  <a:pt x="7006142" y="586628"/>
                </a:cubicBezTo>
                <a:cubicBezTo>
                  <a:pt x="7018092" y="591154"/>
                  <a:pt x="7016644" y="595863"/>
                  <a:pt x="7002882" y="596407"/>
                </a:cubicBezTo>
                <a:cubicBezTo>
                  <a:pt x="6983470" y="596192"/>
                  <a:pt x="6964185" y="593142"/>
                  <a:pt x="6945661" y="587352"/>
                </a:cubicBezTo>
                <a:cubicBezTo>
                  <a:pt x="6932443" y="582645"/>
                  <a:pt x="6934616" y="577573"/>
                  <a:pt x="6949646" y="577212"/>
                </a:cubicBezTo>
                <a:close/>
                <a:moveTo>
                  <a:pt x="3198261" y="576489"/>
                </a:moveTo>
                <a:cubicBezTo>
                  <a:pt x="3244253" y="576850"/>
                  <a:pt x="3269424" y="587171"/>
                  <a:pt x="3259644" y="601296"/>
                </a:cubicBezTo>
                <a:cubicBezTo>
                  <a:pt x="3249504" y="615963"/>
                  <a:pt x="3205321" y="627371"/>
                  <a:pt x="3156793" y="627008"/>
                </a:cubicBezTo>
                <a:cubicBezTo>
                  <a:pt x="3108264" y="626647"/>
                  <a:pt x="3084362" y="615419"/>
                  <a:pt x="3096494" y="601116"/>
                </a:cubicBezTo>
                <a:cubicBezTo>
                  <a:pt x="3108627" y="586810"/>
                  <a:pt x="3152266" y="576126"/>
                  <a:pt x="3198261" y="576489"/>
                </a:cubicBezTo>
                <a:close/>
                <a:moveTo>
                  <a:pt x="5260010" y="576126"/>
                </a:moveTo>
                <a:cubicBezTo>
                  <a:pt x="5302020" y="576307"/>
                  <a:pt x="5344393" y="586447"/>
                  <a:pt x="5358516" y="600029"/>
                </a:cubicBezTo>
                <a:cubicBezTo>
                  <a:pt x="5372461" y="613608"/>
                  <a:pt x="5349100" y="623387"/>
                  <a:pt x="5304193" y="622844"/>
                </a:cubicBezTo>
                <a:cubicBezTo>
                  <a:pt x="5259286" y="622300"/>
                  <a:pt x="5217639" y="611435"/>
                  <a:pt x="5205687" y="597673"/>
                </a:cubicBezTo>
                <a:cubicBezTo>
                  <a:pt x="5193736" y="583911"/>
                  <a:pt x="5218000" y="575944"/>
                  <a:pt x="5260010" y="576126"/>
                </a:cubicBezTo>
                <a:close/>
                <a:moveTo>
                  <a:pt x="3015552" y="571056"/>
                </a:moveTo>
                <a:cubicBezTo>
                  <a:pt x="3057018" y="570875"/>
                  <a:pt x="3084361" y="581920"/>
                  <a:pt x="3074221" y="594597"/>
                </a:cubicBezTo>
                <a:cubicBezTo>
                  <a:pt x="3063900" y="607634"/>
                  <a:pt x="3016276" y="619765"/>
                  <a:pt x="2972998" y="619948"/>
                </a:cubicBezTo>
                <a:cubicBezTo>
                  <a:pt x="2929722" y="620128"/>
                  <a:pt x="2902923" y="608359"/>
                  <a:pt x="2915053" y="595139"/>
                </a:cubicBezTo>
                <a:cubicBezTo>
                  <a:pt x="2927186" y="581920"/>
                  <a:pt x="2974086" y="571236"/>
                  <a:pt x="3015552" y="571056"/>
                </a:cubicBezTo>
                <a:close/>
                <a:moveTo>
                  <a:pt x="6746839" y="569245"/>
                </a:moveTo>
                <a:cubicBezTo>
                  <a:pt x="6769093" y="569785"/>
                  <a:pt x="6791130" y="573691"/>
                  <a:pt x="6812207" y="580834"/>
                </a:cubicBezTo>
                <a:cubicBezTo>
                  <a:pt x="6825969" y="586809"/>
                  <a:pt x="6819994" y="592604"/>
                  <a:pt x="6800075" y="592242"/>
                </a:cubicBezTo>
                <a:cubicBezTo>
                  <a:pt x="6777784" y="591478"/>
                  <a:pt x="6755747" y="587326"/>
                  <a:pt x="6734706" y="579929"/>
                </a:cubicBezTo>
                <a:cubicBezTo>
                  <a:pt x="6723117" y="574496"/>
                  <a:pt x="6729092" y="569245"/>
                  <a:pt x="6746839" y="569245"/>
                </a:cubicBezTo>
                <a:close/>
                <a:moveTo>
                  <a:pt x="5069697" y="568703"/>
                </a:moveTo>
                <a:cubicBezTo>
                  <a:pt x="5112975" y="569427"/>
                  <a:pt x="5156614" y="580472"/>
                  <a:pt x="5168203" y="593329"/>
                </a:cubicBezTo>
                <a:cubicBezTo>
                  <a:pt x="5179792" y="606186"/>
                  <a:pt x="5152632" y="618499"/>
                  <a:pt x="5107905" y="618136"/>
                </a:cubicBezTo>
                <a:cubicBezTo>
                  <a:pt x="5062817" y="618136"/>
                  <a:pt x="5016098" y="605462"/>
                  <a:pt x="5006502" y="591881"/>
                </a:cubicBezTo>
                <a:cubicBezTo>
                  <a:pt x="4996905" y="578299"/>
                  <a:pt x="5026421" y="567978"/>
                  <a:pt x="5069697" y="568703"/>
                </a:cubicBezTo>
                <a:close/>
                <a:moveTo>
                  <a:pt x="2828699" y="568520"/>
                </a:moveTo>
                <a:cubicBezTo>
                  <a:pt x="2869441" y="568520"/>
                  <a:pt x="2891152" y="578116"/>
                  <a:pt x="2878658" y="590612"/>
                </a:cubicBezTo>
                <a:cubicBezTo>
                  <a:pt x="2865822" y="603650"/>
                  <a:pt x="2823267" y="613790"/>
                  <a:pt x="2780896" y="613971"/>
                </a:cubicBezTo>
                <a:cubicBezTo>
                  <a:pt x="2738526" y="614151"/>
                  <a:pt x="2714987" y="603830"/>
                  <a:pt x="2730737" y="590430"/>
                </a:cubicBezTo>
                <a:cubicBezTo>
                  <a:pt x="2746493" y="577031"/>
                  <a:pt x="2787959" y="568520"/>
                  <a:pt x="2828699" y="568520"/>
                </a:cubicBezTo>
                <a:close/>
                <a:moveTo>
                  <a:pt x="4877935" y="563994"/>
                </a:moveTo>
                <a:cubicBezTo>
                  <a:pt x="4923386" y="563813"/>
                  <a:pt x="4966664" y="574134"/>
                  <a:pt x="4978797" y="588440"/>
                </a:cubicBezTo>
                <a:cubicBezTo>
                  <a:pt x="4991472" y="602926"/>
                  <a:pt x="4965940" y="614334"/>
                  <a:pt x="4918316" y="614515"/>
                </a:cubicBezTo>
                <a:cubicBezTo>
                  <a:pt x="4870692" y="614695"/>
                  <a:pt x="4824337" y="603650"/>
                  <a:pt x="4814379" y="588620"/>
                </a:cubicBezTo>
                <a:cubicBezTo>
                  <a:pt x="4804419" y="573592"/>
                  <a:pt x="4832486" y="564174"/>
                  <a:pt x="4877935" y="563994"/>
                </a:cubicBezTo>
                <a:close/>
                <a:moveTo>
                  <a:pt x="6554171" y="563631"/>
                </a:moveTo>
                <a:cubicBezTo>
                  <a:pt x="6577912" y="564207"/>
                  <a:pt x="6601398" y="568672"/>
                  <a:pt x="6623705" y="576849"/>
                </a:cubicBezTo>
                <a:cubicBezTo>
                  <a:pt x="6639278" y="584092"/>
                  <a:pt x="6632035" y="590250"/>
                  <a:pt x="6607409" y="589886"/>
                </a:cubicBezTo>
                <a:cubicBezTo>
                  <a:pt x="6582638" y="589518"/>
                  <a:pt x="6558120" y="584799"/>
                  <a:pt x="6534978" y="575944"/>
                </a:cubicBezTo>
                <a:cubicBezTo>
                  <a:pt x="6520673" y="568701"/>
                  <a:pt x="6529727" y="563087"/>
                  <a:pt x="6554171" y="563631"/>
                </a:cubicBezTo>
                <a:close/>
                <a:moveTo>
                  <a:pt x="2652513" y="563269"/>
                </a:moveTo>
                <a:cubicBezTo>
                  <a:pt x="2689093" y="563630"/>
                  <a:pt x="2708104" y="573590"/>
                  <a:pt x="2695790" y="584635"/>
                </a:cubicBezTo>
                <a:cubicBezTo>
                  <a:pt x="2682028" y="596407"/>
                  <a:pt x="2633677" y="607271"/>
                  <a:pt x="2595656" y="606908"/>
                </a:cubicBezTo>
                <a:cubicBezTo>
                  <a:pt x="2557626" y="606547"/>
                  <a:pt x="2538613" y="596043"/>
                  <a:pt x="2553463" y="584635"/>
                </a:cubicBezTo>
                <a:cubicBezTo>
                  <a:pt x="2568312" y="573229"/>
                  <a:pt x="2615935" y="562906"/>
                  <a:pt x="2652513" y="563269"/>
                </a:cubicBezTo>
                <a:close/>
                <a:moveTo>
                  <a:pt x="2472703" y="561638"/>
                </a:moveTo>
                <a:cubicBezTo>
                  <a:pt x="2507834" y="561638"/>
                  <a:pt x="2524493" y="569969"/>
                  <a:pt x="2510188" y="580653"/>
                </a:cubicBezTo>
                <a:cubicBezTo>
                  <a:pt x="2494976" y="592059"/>
                  <a:pt x="2450430" y="601475"/>
                  <a:pt x="2413490" y="601114"/>
                </a:cubicBezTo>
                <a:cubicBezTo>
                  <a:pt x="2376548" y="600751"/>
                  <a:pt x="2361884" y="591518"/>
                  <a:pt x="2377274" y="580653"/>
                </a:cubicBezTo>
                <a:cubicBezTo>
                  <a:pt x="2407135" y="566847"/>
                  <a:pt x="2439836" y="560332"/>
                  <a:pt x="2472703" y="561638"/>
                </a:cubicBezTo>
                <a:close/>
                <a:moveTo>
                  <a:pt x="2296696" y="557114"/>
                </a:moveTo>
                <a:cubicBezTo>
                  <a:pt x="2330918" y="557114"/>
                  <a:pt x="2344320" y="564537"/>
                  <a:pt x="2328746" y="575221"/>
                </a:cubicBezTo>
                <a:cubicBezTo>
                  <a:pt x="2301025" y="588384"/>
                  <a:pt x="2270512" y="594599"/>
                  <a:pt x="2239839" y="593329"/>
                </a:cubicBezTo>
                <a:cubicBezTo>
                  <a:pt x="2203623" y="593329"/>
                  <a:pt x="2190042" y="585723"/>
                  <a:pt x="2206157" y="575221"/>
                </a:cubicBezTo>
                <a:cubicBezTo>
                  <a:pt x="2234422" y="561935"/>
                  <a:pt x="2265497" y="555720"/>
                  <a:pt x="2296696" y="557114"/>
                </a:cubicBezTo>
                <a:close/>
                <a:moveTo>
                  <a:pt x="4689797" y="556931"/>
                </a:moveTo>
                <a:cubicBezTo>
                  <a:pt x="4736153" y="556750"/>
                  <a:pt x="4782148" y="567976"/>
                  <a:pt x="4792288" y="582282"/>
                </a:cubicBezTo>
                <a:cubicBezTo>
                  <a:pt x="4802789" y="596949"/>
                  <a:pt x="4772007" y="609262"/>
                  <a:pt x="4723478" y="609625"/>
                </a:cubicBezTo>
                <a:cubicBezTo>
                  <a:pt x="4674949" y="609986"/>
                  <a:pt x="4628411" y="597855"/>
                  <a:pt x="4620263" y="583187"/>
                </a:cubicBezTo>
                <a:cubicBezTo>
                  <a:pt x="4612115" y="568520"/>
                  <a:pt x="4643441" y="557111"/>
                  <a:pt x="4689797" y="556931"/>
                </a:cubicBezTo>
                <a:close/>
                <a:moveTo>
                  <a:pt x="6351546" y="556570"/>
                </a:moveTo>
                <a:cubicBezTo>
                  <a:pt x="6377765" y="556218"/>
                  <a:pt x="6403814" y="560824"/>
                  <a:pt x="6428323" y="570151"/>
                </a:cubicBezTo>
                <a:cubicBezTo>
                  <a:pt x="6446430" y="578660"/>
                  <a:pt x="6440636" y="584817"/>
                  <a:pt x="6413112" y="584998"/>
                </a:cubicBezTo>
                <a:cubicBezTo>
                  <a:pt x="6386617" y="585431"/>
                  <a:pt x="6360292" y="580694"/>
                  <a:pt x="6335611" y="571056"/>
                </a:cubicBezTo>
                <a:cubicBezTo>
                  <a:pt x="6317503" y="562725"/>
                  <a:pt x="6324746" y="556750"/>
                  <a:pt x="6351546" y="556570"/>
                </a:cubicBezTo>
                <a:close/>
                <a:moveTo>
                  <a:pt x="2119784" y="554214"/>
                </a:moveTo>
                <a:cubicBezTo>
                  <a:pt x="2148937" y="553853"/>
                  <a:pt x="2161973" y="561640"/>
                  <a:pt x="2146764" y="570693"/>
                </a:cubicBezTo>
                <a:cubicBezTo>
                  <a:pt x="2119294" y="582468"/>
                  <a:pt x="2089740" y="588626"/>
                  <a:pt x="2059845" y="588801"/>
                </a:cubicBezTo>
                <a:cubicBezTo>
                  <a:pt x="2028518" y="588801"/>
                  <a:pt x="2015483" y="579748"/>
                  <a:pt x="2033045" y="570693"/>
                </a:cubicBezTo>
                <a:cubicBezTo>
                  <a:pt x="2060642" y="559710"/>
                  <a:pt x="2090087" y="554117"/>
                  <a:pt x="2119784" y="554214"/>
                </a:cubicBezTo>
                <a:close/>
                <a:moveTo>
                  <a:pt x="4504191" y="552585"/>
                </a:moveTo>
                <a:cubicBezTo>
                  <a:pt x="4552902" y="552585"/>
                  <a:pt x="4594730" y="564355"/>
                  <a:pt x="4600163" y="579565"/>
                </a:cubicBezTo>
                <a:cubicBezTo>
                  <a:pt x="4605594" y="594775"/>
                  <a:pt x="4572095" y="606364"/>
                  <a:pt x="4520126" y="606003"/>
                </a:cubicBezTo>
                <a:cubicBezTo>
                  <a:pt x="4468158" y="605640"/>
                  <a:pt x="4427777" y="593327"/>
                  <a:pt x="4423975" y="577755"/>
                </a:cubicBezTo>
                <a:cubicBezTo>
                  <a:pt x="4420171" y="562182"/>
                  <a:pt x="4454577" y="552224"/>
                  <a:pt x="4504191" y="552585"/>
                </a:cubicBezTo>
                <a:close/>
                <a:moveTo>
                  <a:pt x="1936348" y="551317"/>
                </a:moveTo>
                <a:cubicBezTo>
                  <a:pt x="1964235" y="551317"/>
                  <a:pt x="1974376" y="558380"/>
                  <a:pt x="1958440" y="566891"/>
                </a:cubicBezTo>
                <a:cubicBezTo>
                  <a:pt x="1932331" y="577418"/>
                  <a:pt x="1904385" y="582708"/>
                  <a:pt x="1876230" y="582463"/>
                </a:cubicBezTo>
                <a:cubicBezTo>
                  <a:pt x="1847618" y="582463"/>
                  <a:pt x="1838931" y="575039"/>
                  <a:pt x="1855044" y="566528"/>
                </a:cubicBezTo>
                <a:cubicBezTo>
                  <a:pt x="1880918" y="556274"/>
                  <a:pt x="1908517" y="551108"/>
                  <a:pt x="1936348" y="551317"/>
                </a:cubicBezTo>
                <a:close/>
                <a:moveTo>
                  <a:pt x="6153990" y="550956"/>
                </a:moveTo>
                <a:cubicBezTo>
                  <a:pt x="6182586" y="550616"/>
                  <a:pt x="6210961" y="555971"/>
                  <a:pt x="6237466" y="566710"/>
                </a:cubicBezTo>
                <a:cubicBezTo>
                  <a:pt x="6254669" y="575945"/>
                  <a:pt x="6244709" y="583006"/>
                  <a:pt x="6213383" y="582825"/>
                </a:cubicBezTo>
                <a:cubicBezTo>
                  <a:pt x="6184882" y="583087"/>
                  <a:pt x="6156638" y="577415"/>
                  <a:pt x="6130449" y="566166"/>
                </a:cubicBezTo>
                <a:cubicBezTo>
                  <a:pt x="6115238" y="557475"/>
                  <a:pt x="6125378" y="551136"/>
                  <a:pt x="6153990" y="550956"/>
                </a:cubicBezTo>
                <a:close/>
                <a:moveTo>
                  <a:pt x="1763058" y="547335"/>
                </a:moveTo>
                <a:cubicBezTo>
                  <a:pt x="1789675" y="547335"/>
                  <a:pt x="1797280" y="553310"/>
                  <a:pt x="1780259" y="561277"/>
                </a:cubicBezTo>
                <a:cubicBezTo>
                  <a:pt x="1757155" y="570172"/>
                  <a:pt x="1732600" y="574716"/>
                  <a:pt x="1707828" y="574678"/>
                </a:cubicBezTo>
                <a:cubicBezTo>
                  <a:pt x="1680668" y="574678"/>
                  <a:pt x="1673605" y="568520"/>
                  <a:pt x="1691350" y="560372"/>
                </a:cubicBezTo>
                <a:cubicBezTo>
                  <a:pt x="1714256" y="551709"/>
                  <a:pt x="1738558" y="547291"/>
                  <a:pt x="1763058" y="547335"/>
                </a:cubicBezTo>
                <a:close/>
                <a:moveTo>
                  <a:pt x="1587051" y="545161"/>
                </a:moveTo>
                <a:cubicBezTo>
                  <a:pt x="1610591" y="544981"/>
                  <a:pt x="1616747" y="550051"/>
                  <a:pt x="1601354" y="556933"/>
                </a:cubicBezTo>
                <a:cubicBezTo>
                  <a:pt x="1579772" y="565096"/>
                  <a:pt x="1556884" y="569208"/>
                  <a:pt x="1533814" y="569064"/>
                </a:cubicBezTo>
                <a:cubicBezTo>
                  <a:pt x="1510635" y="569064"/>
                  <a:pt x="1505928" y="563452"/>
                  <a:pt x="1522768" y="556389"/>
                </a:cubicBezTo>
                <a:cubicBezTo>
                  <a:pt x="1543375" y="548931"/>
                  <a:pt x="1565140" y="545131"/>
                  <a:pt x="1587051" y="545161"/>
                </a:cubicBezTo>
                <a:close/>
                <a:moveTo>
                  <a:pt x="5962952" y="544437"/>
                </a:moveTo>
                <a:cubicBezTo>
                  <a:pt x="5993314" y="544579"/>
                  <a:pt x="6023348" y="550735"/>
                  <a:pt x="6051318" y="562544"/>
                </a:cubicBezTo>
                <a:cubicBezTo>
                  <a:pt x="6069426" y="571960"/>
                  <a:pt x="6056932" y="580652"/>
                  <a:pt x="6025245" y="580652"/>
                </a:cubicBezTo>
                <a:cubicBezTo>
                  <a:pt x="5994562" y="580773"/>
                  <a:pt x="5964180" y="574610"/>
                  <a:pt x="5935972" y="562544"/>
                </a:cubicBezTo>
                <a:cubicBezTo>
                  <a:pt x="5919676" y="553128"/>
                  <a:pt x="5932351" y="544437"/>
                  <a:pt x="5962952" y="544437"/>
                </a:cubicBezTo>
                <a:close/>
                <a:moveTo>
                  <a:pt x="1417922" y="541359"/>
                </a:moveTo>
                <a:cubicBezTo>
                  <a:pt x="1437660" y="541359"/>
                  <a:pt x="1441281" y="545523"/>
                  <a:pt x="1426796" y="551500"/>
                </a:cubicBezTo>
                <a:cubicBezTo>
                  <a:pt x="1408000" y="558322"/>
                  <a:pt x="1388136" y="561756"/>
                  <a:pt x="1368128" y="561640"/>
                </a:cubicBezTo>
                <a:cubicBezTo>
                  <a:pt x="1348029" y="561640"/>
                  <a:pt x="1344588" y="557111"/>
                  <a:pt x="1359619" y="551136"/>
                </a:cubicBezTo>
                <a:cubicBezTo>
                  <a:pt x="1378323" y="544487"/>
                  <a:pt x="1398058" y="541177"/>
                  <a:pt x="1417922" y="541359"/>
                </a:cubicBezTo>
                <a:close/>
                <a:moveTo>
                  <a:pt x="1244629" y="538643"/>
                </a:moveTo>
                <a:cubicBezTo>
                  <a:pt x="1259476" y="538823"/>
                  <a:pt x="1262737" y="543532"/>
                  <a:pt x="1251872" y="547154"/>
                </a:cubicBezTo>
                <a:cubicBezTo>
                  <a:pt x="1235502" y="552612"/>
                  <a:pt x="1218410" y="555601"/>
                  <a:pt x="1201172" y="556027"/>
                </a:cubicBezTo>
                <a:cubicBezTo>
                  <a:pt x="1185596" y="556027"/>
                  <a:pt x="1181069" y="552405"/>
                  <a:pt x="1191392" y="547878"/>
                </a:cubicBezTo>
                <a:cubicBezTo>
                  <a:pt x="1208559" y="542110"/>
                  <a:pt x="1226522" y="538998"/>
                  <a:pt x="1244629" y="538643"/>
                </a:cubicBezTo>
                <a:close/>
                <a:moveTo>
                  <a:pt x="5772098" y="538462"/>
                </a:moveTo>
                <a:cubicBezTo>
                  <a:pt x="5804120" y="537766"/>
                  <a:pt x="5835919" y="543941"/>
                  <a:pt x="5865353" y="556570"/>
                </a:cubicBezTo>
                <a:cubicBezTo>
                  <a:pt x="5880744" y="567254"/>
                  <a:pt x="5865534" y="575945"/>
                  <a:pt x="5832216" y="576126"/>
                </a:cubicBezTo>
                <a:cubicBezTo>
                  <a:pt x="5799772" y="576613"/>
                  <a:pt x="5767621" y="569934"/>
                  <a:pt x="5738055" y="556570"/>
                </a:cubicBezTo>
                <a:cubicBezTo>
                  <a:pt x="5724113" y="546790"/>
                  <a:pt x="5740048" y="538462"/>
                  <a:pt x="5772098" y="538462"/>
                </a:cubicBezTo>
                <a:close/>
                <a:moveTo>
                  <a:pt x="1077306" y="535021"/>
                </a:moveTo>
                <a:cubicBezTo>
                  <a:pt x="1087446" y="535021"/>
                  <a:pt x="1088531" y="538823"/>
                  <a:pt x="1079298" y="541903"/>
                </a:cubicBezTo>
                <a:cubicBezTo>
                  <a:pt x="1066062" y="545855"/>
                  <a:pt x="1052372" y="548047"/>
                  <a:pt x="1038555" y="548422"/>
                </a:cubicBezTo>
                <a:cubicBezTo>
                  <a:pt x="1027873" y="548422"/>
                  <a:pt x="1025518" y="544981"/>
                  <a:pt x="1034028" y="541720"/>
                </a:cubicBezTo>
                <a:cubicBezTo>
                  <a:pt x="1048079" y="537504"/>
                  <a:pt x="1062640" y="535249"/>
                  <a:pt x="1077306" y="535021"/>
                </a:cubicBezTo>
                <a:close/>
                <a:moveTo>
                  <a:pt x="5587217" y="533753"/>
                </a:moveTo>
                <a:cubicBezTo>
                  <a:pt x="5619640" y="532388"/>
                  <a:pt x="5651890" y="539175"/>
                  <a:pt x="5681015" y="553491"/>
                </a:cubicBezTo>
                <a:cubicBezTo>
                  <a:pt x="5696588" y="564717"/>
                  <a:pt x="5681015" y="573048"/>
                  <a:pt x="5642265" y="573048"/>
                </a:cubicBezTo>
                <a:cubicBezTo>
                  <a:pt x="5603513" y="573048"/>
                  <a:pt x="5562591" y="564173"/>
                  <a:pt x="5547561" y="552585"/>
                </a:cubicBezTo>
                <a:cubicBezTo>
                  <a:pt x="5532531" y="540996"/>
                  <a:pt x="5551002" y="533753"/>
                  <a:pt x="5587217" y="533753"/>
                </a:cubicBezTo>
                <a:close/>
                <a:moveTo>
                  <a:pt x="7023344" y="528864"/>
                </a:moveTo>
                <a:cubicBezTo>
                  <a:pt x="7038119" y="529267"/>
                  <a:pt x="7052788" y="531582"/>
                  <a:pt x="7066983" y="535745"/>
                </a:cubicBezTo>
                <a:cubicBezTo>
                  <a:pt x="7077486" y="539367"/>
                  <a:pt x="7076579" y="542988"/>
                  <a:pt x="7064991" y="543350"/>
                </a:cubicBezTo>
                <a:cubicBezTo>
                  <a:pt x="7049147" y="543179"/>
                  <a:pt x="7033393" y="540677"/>
                  <a:pt x="7018274" y="535926"/>
                </a:cubicBezTo>
                <a:cubicBezTo>
                  <a:pt x="7008677" y="532305"/>
                  <a:pt x="7011212" y="528864"/>
                  <a:pt x="7023344" y="528864"/>
                </a:cubicBezTo>
                <a:close/>
                <a:moveTo>
                  <a:pt x="5404692" y="526873"/>
                </a:moveTo>
                <a:cubicBezTo>
                  <a:pt x="5443985" y="527598"/>
                  <a:pt x="5484004" y="536833"/>
                  <a:pt x="5497584" y="547879"/>
                </a:cubicBezTo>
                <a:cubicBezTo>
                  <a:pt x="5511165" y="558924"/>
                  <a:pt x="5490341" y="569064"/>
                  <a:pt x="5449962" y="568703"/>
                </a:cubicBezTo>
                <a:cubicBezTo>
                  <a:pt x="5409401" y="568703"/>
                  <a:pt x="5365942" y="558019"/>
                  <a:pt x="5354171" y="546249"/>
                </a:cubicBezTo>
                <a:cubicBezTo>
                  <a:pt x="5342401" y="534480"/>
                  <a:pt x="5365398" y="526149"/>
                  <a:pt x="5404692" y="526873"/>
                </a:cubicBezTo>
                <a:close/>
                <a:moveTo>
                  <a:pt x="4242535" y="525424"/>
                </a:moveTo>
                <a:cubicBezTo>
                  <a:pt x="4219556" y="536492"/>
                  <a:pt x="4194340" y="542131"/>
                  <a:pt x="4168836" y="541903"/>
                </a:cubicBezTo>
                <a:cubicBezTo>
                  <a:pt x="4203785" y="547334"/>
                  <a:pt x="4223159" y="554941"/>
                  <a:pt x="4234930" y="567073"/>
                </a:cubicBezTo>
                <a:cubicBezTo>
                  <a:pt x="4243803" y="553673"/>
                  <a:pt x="4271146" y="547878"/>
                  <a:pt x="4309715" y="544256"/>
                </a:cubicBezTo>
                <a:cubicBezTo>
                  <a:pt x="4286265" y="542660"/>
                  <a:pt x="4263397" y="536249"/>
                  <a:pt x="4242535" y="525424"/>
                </a:cubicBezTo>
                <a:close/>
                <a:moveTo>
                  <a:pt x="3426058" y="524881"/>
                </a:moveTo>
                <a:cubicBezTo>
                  <a:pt x="3471326" y="525244"/>
                  <a:pt x="3501204" y="535928"/>
                  <a:pt x="3493780" y="549690"/>
                </a:cubicBezTo>
                <a:cubicBezTo>
                  <a:pt x="3486356" y="563633"/>
                  <a:pt x="3442715" y="574858"/>
                  <a:pt x="3394912" y="574678"/>
                </a:cubicBezTo>
                <a:cubicBezTo>
                  <a:pt x="3347107" y="574497"/>
                  <a:pt x="3315780" y="562728"/>
                  <a:pt x="3326464" y="548242"/>
                </a:cubicBezTo>
                <a:cubicBezTo>
                  <a:pt x="3337148" y="533755"/>
                  <a:pt x="3380787" y="524520"/>
                  <a:pt x="3426058" y="524881"/>
                </a:cubicBezTo>
                <a:close/>
                <a:moveTo>
                  <a:pt x="6832488" y="523432"/>
                </a:moveTo>
                <a:cubicBezTo>
                  <a:pt x="6850812" y="523953"/>
                  <a:pt x="6868956" y="526999"/>
                  <a:pt x="6886448" y="532485"/>
                </a:cubicBezTo>
                <a:cubicBezTo>
                  <a:pt x="6897676" y="537014"/>
                  <a:pt x="6893330" y="541540"/>
                  <a:pt x="6877576" y="541360"/>
                </a:cubicBezTo>
                <a:cubicBezTo>
                  <a:pt x="6859124" y="540812"/>
                  <a:pt x="6840854" y="537704"/>
                  <a:pt x="6823252" y="532124"/>
                </a:cubicBezTo>
                <a:cubicBezTo>
                  <a:pt x="6812387" y="527598"/>
                  <a:pt x="6816914" y="523252"/>
                  <a:pt x="6832488" y="523432"/>
                </a:cubicBezTo>
                <a:close/>
                <a:moveTo>
                  <a:pt x="5215647" y="522165"/>
                </a:moveTo>
                <a:cubicBezTo>
                  <a:pt x="5253672" y="521621"/>
                  <a:pt x="5302020" y="531581"/>
                  <a:pt x="5315602" y="543533"/>
                </a:cubicBezTo>
                <a:cubicBezTo>
                  <a:pt x="5330088" y="555483"/>
                  <a:pt x="5306366" y="566347"/>
                  <a:pt x="5265624" y="566528"/>
                </a:cubicBezTo>
                <a:cubicBezTo>
                  <a:pt x="5224880" y="566710"/>
                  <a:pt x="5177439" y="555663"/>
                  <a:pt x="5165669" y="543713"/>
                </a:cubicBezTo>
                <a:cubicBezTo>
                  <a:pt x="5153898" y="531761"/>
                  <a:pt x="5177619" y="522708"/>
                  <a:pt x="5215647" y="522165"/>
                </a:cubicBezTo>
                <a:close/>
                <a:moveTo>
                  <a:pt x="3250048" y="521801"/>
                </a:moveTo>
                <a:cubicBezTo>
                  <a:pt x="3291151" y="521983"/>
                  <a:pt x="3323745" y="533209"/>
                  <a:pt x="3313605" y="545885"/>
                </a:cubicBezTo>
                <a:cubicBezTo>
                  <a:pt x="3298757" y="561457"/>
                  <a:pt x="3254211" y="570148"/>
                  <a:pt x="3211840" y="569968"/>
                </a:cubicBezTo>
                <a:cubicBezTo>
                  <a:pt x="3169467" y="569787"/>
                  <a:pt x="3139409" y="557291"/>
                  <a:pt x="3151179" y="544437"/>
                </a:cubicBezTo>
                <a:cubicBezTo>
                  <a:pt x="3162948" y="531580"/>
                  <a:pt x="3208943" y="521620"/>
                  <a:pt x="3250048" y="521801"/>
                </a:cubicBezTo>
                <a:close/>
                <a:moveTo>
                  <a:pt x="4062544" y="518725"/>
                </a:moveTo>
                <a:cubicBezTo>
                  <a:pt x="4038405" y="530835"/>
                  <a:pt x="4011864" y="537394"/>
                  <a:pt x="3984861" y="537918"/>
                </a:cubicBezTo>
                <a:cubicBezTo>
                  <a:pt x="4018903" y="542447"/>
                  <a:pt x="4039184" y="550232"/>
                  <a:pt x="4050773" y="562184"/>
                </a:cubicBezTo>
                <a:cubicBezTo>
                  <a:pt x="4063449" y="550775"/>
                  <a:pt x="4088257" y="545161"/>
                  <a:pt x="4122119" y="541359"/>
                </a:cubicBezTo>
                <a:cubicBezTo>
                  <a:pt x="4090249" y="536108"/>
                  <a:pt x="4070512" y="529590"/>
                  <a:pt x="4062544" y="518725"/>
                </a:cubicBezTo>
                <a:close/>
                <a:moveTo>
                  <a:pt x="3077844" y="517639"/>
                </a:moveTo>
                <a:cubicBezTo>
                  <a:pt x="3120579" y="517820"/>
                  <a:pt x="3144662" y="527236"/>
                  <a:pt x="3134158" y="539911"/>
                </a:cubicBezTo>
                <a:cubicBezTo>
                  <a:pt x="3123657" y="552587"/>
                  <a:pt x="3081283" y="562727"/>
                  <a:pt x="3037283" y="562908"/>
                </a:cubicBezTo>
                <a:cubicBezTo>
                  <a:pt x="2993281" y="563088"/>
                  <a:pt x="2967206" y="552406"/>
                  <a:pt x="2980785" y="539186"/>
                </a:cubicBezTo>
                <a:cubicBezTo>
                  <a:pt x="2994366" y="525968"/>
                  <a:pt x="3035108" y="517457"/>
                  <a:pt x="3077844" y="517639"/>
                </a:cubicBezTo>
                <a:close/>
                <a:moveTo>
                  <a:pt x="3883096" y="516733"/>
                </a:moveTo>
                <a:cubicBezTo>
                  <a:pt x="3872051" y="520174"/>
                  <a:pt x="3862635" y="523976"/>
                  <a:pt x="3850139" y="526692"/>
                </a:cubicBezTo>
                <a:cubicBezTo>
                  <a:pt x="3837645" y="529409"/>
                  <a:pt x="3823703" y="530675"/>
                  <a:pt x="3811751" y="532487"/>
                </a:cubicBezTo>
                <a:cubicBezTo>
                  <a:pt x="3824319" y="535485"/>
                  <a:pt x="3836712" y="539173"/>
                  <a:pt x="3848873" y="543532"/>
                </a:cubicBezTo>
                <a:cubicBezTo>
                  <a:pt x="3856882" y="547424"/>
                  <a:pt x="3864414" y="552224"/>
                  <a:pt x="3871327" y="557838"/>
                </a:cubicBezTo>
                <a:cubicBezTo>
                  <a:pt x="3887261" y="545705"/>
                  <a:pt x="3917863" y="539730"/>
                  <a:pt x="3958968" y="538101"/>
                </a:cubicBezTo>
                <a:cubicBezTo>
                  <a:pt x="3916776" y="534479"/>
                  <a:pt x="3894141" y="527236"/>
                  <a:pt x="3883096" y="517457"/>
                </a:cubicBezTo>
                <a:close/>
                <a:moveTo>
                  <a:pt x="5031310" y="515646"/>
                </a:moveTo>
                <a:cubicBezTo>
                  <a:pt x="5075493" y="515828"/>
                  <a:pt x="5115148" y="525425"/>
                  <a:pt x="5127643" y="537738"/>
                </a:cubicBezTo>
                <a:cubicBezTo>
                  <a:pt x="5141042" y="551137"/>
                  <a:pt x="5116416" y="561277"/>
                  <a:pt x="5070423" y="561097"/>
                </a:cubicBezTo>
                <a:cubicBezTo>
                  <a:pt x="5024428" y="560916"/>
                  <a:pt x="4984230" y="550956"/>
                  <a:pt x="4973183" y="537919"/>
                </a:cubicBezTo>
                <a:cubicBezTo>
                  <a:pt x="4962137" y="524881"/>
                  <a:pt x="4987127" y="515465"/>
                  <a:pt x="5031310" y="515646"/>
                </a:cubicBezTo>
                <a:close/>
                <a:moveTo>
                  <a:pt x="6634026" y="515645"/>
                </a:moveTo>
                <a:cubicBezTo>
                  <a:pt x="6655575" y="516039"/>
                  <a:pt x="6676905" y="519890"/>
                  <a:pt x="6697222" y="527054"/>
                </a:cubicBezTo>
                <a:cubicBezTo>
                  <a:pt x="6708450" y="533029"/>
                  <a:pt x="6701748" y="537918"/>
                  <a:pt x="6682555" y="537736"/>
                </a:cubicBezTo>
                <a:cubicBezTo>
                  <a:pt x="6660970" y="536966"/>
                  <a:pt x="6639657" y="532810"/>
                  <a:pt x="6619360" y="525423"/>
                </a:cubicBezTo>
                <a:cubicBezTo>
                  <a:pt x="6608312" y="519991"/>
                  <a:pt x="6615194" y="515465"/>
                  <a:pt x="6634026" y="515645"/>
                </a:cubicBezTo>
                <a:close/>
                <a:moveTo>
                  <a:pt x="2902017" y="514921"/>
                </a:moveTo>
                <a:cubicBezTo>
                  <a:pt x="2941674" y="514379"/>
                  <a:pt x="2967386" y="524156"/>
                  <a:pt x="2956340" y="536108"/>
                </a:cubicBezTo>
                <a:cubicBezTo>
                  <a:pt x="2945295" y="548058"/>
                  <a:pt x="2900930" y="557837"/>
                  <a:pt x="2859845" y="558018"/>
                </a:cubicBezTo>
                <a:cubicBezTo>
                  <a:pt x="2819103" y="558018"/>
                  <a:pt x="2795925" y="548421"/>
                  <a:pt x="2808059" y="536469"/>
                </a:cubicBezTo>
                <a:cubicBezTo>
                  <a:pt x="2820189" y="524519"/>
                  <a:pt x="2862382" y="515464"/>
                  <a:pt x="2902017" y="514921"/>
                </a:cubicBezTo>
                <a:close/>
                <a:moveTo>
                  <a:pt x="6446794" y="510938"/>
                </a:moveTo>
                <a:cubicBezTo>
                  <a:pt x="6470171" y="511385"/>
                  <a:pt x="6493349" y="515541"/>
                  <a:pt x="6515423" y="523252"/>
                </a:cubicBezTo>
                <a:cubicBezTo>
                  <a:pt x="6529909" y="529590"/>
                  <a:pt x="6523209" y="535565"/>
                  <a:pt x="6501117" y="535565"/>
                </a:cubicBezTo>
                <a:cubicBezTo>
                  <a:pt x="6476418" y="535428"/>
                  <a:pt x="6451919" y="531080"/>
                  <a:pt x="6428686" y="522708"/>
                </a:cubicBezTo>
                <a:cubicBezTo>
                  <a:pt x="6416010" y="516372"/>
                  <a:pt x="6424340" y="510758"/>
                  <a:pt x="6446794" y="510938"/>
                </a:cubicBezTo>
                <a:close/>
                <a:moveTo>
                  <a:pt x="4852584" y="510756"/>
                </a:moveTo>
                <a:cubicBezTo>
                  <a:pt x="4894958" y="510938"/>
                  <a:pt x="4943123" y="522345"/>
                  <a:pt x="4951634" y="535021"/>
                </a:cubicBezTo>
                <a:cubicBezTo>
                  <a:pt x="4960146" y="547695"/>
                  <a:pt x="4930266" y="558923"/>
                  <a:pt x="4885903" y="558743"/>
                </a:cubicBezTo>
                <a:cubicBezTo>
                  <a:pt x="4839910" y="558743"/>
                  <a:pt x="4793191" y="546429"/>
                  <a:pt x="4786311" y="533209"/>
                </a:cubicBezTo>
                <a:cubicBezTo>
                  <a:pt x="4779429" y="519991"/>
                  <a:pt x="4810213" y="510575"/>
                  <a:pt x="4852584" y="510756"/>
                </a:cubicBezTo>
                <a:close/>
                <a:moveTo>
                  <a:pt x="2735084" y="510576"/>
                </a:moveTo>
                <a:cubicBezTo>
                  <a:pt x="2772567" y="510576"/>
                  <a:pt x="2792125" y="519448"/>
                  <a:pt x="2780537" y="530132"/>
                </a:cubicBezTo>
                <a:cubicBezTo>
                  <a:pt x="2768403" y="541359"/>
                  <a:pt x="2724400" y="551137"/>
                  <a:pt x="2685469" y="551137"/>
                </a:cubicBezTo>
                <a:cubicBezTo>
                  <a:pt x="2646538" y="551137"/>
                  <a:pt x="2627525" y="541721"/>
                  <a:pt x="2640742" y="530856"/>
                </a:cubicBezTo>
                <a:cubicBezTo>
                  <a:pt x="2653961" y="519992"/>
                  <a:pt x="2697601" y="510576"/>
                  <a:pt x="2735084" y="510576"/>
                </a:cubicBezTo>
                <a:close/>
                <a:moveTo>
                  <a:pt x="2559258" y="507317"/>
                </a:moveTo>
                <a:cubicBezTo>
                  <a:pt x="2594385" y="508765"/>
                  <a:pt x="2609959" y="516552"/>
                  <a:pt x="2595470" y="527054"/>
                </a:cubicBezTo>
                <a:cubicBezTo>
                  <a:pt x="2567297" y="540612"/>
                  <a:pt x="2536150" y="546840"/>
                  <a:pt x="2504937" y="545162"/>
                </a:cubicBezTo>
                <a:cubicBezTo>
                  <a:pt x="2466366" y="545162"/>
                  <a:pt x="2450610" y="536650"/>
                  <a:pt x="2468719" y="525424"/>
                </a:cubicBezTo>
                <a:cubicBezTo>
                  <a:pt x="2497038" y="512282"/>
                  <a:pt x="2528074" y="506073"/>
                  <a:pt x="2559258" y="507317"/>
                </a:cubicBezTo>
                <a:close/>
                <a:moveTo>
                  <a:pt x="6257205" y="504781"/>
                </a:moveTo>
                <a:cubicBezTo>
                  <a:pt x="6282628" y="504203"/>
                  <a:pt x="6307916" y="508633"/>
                  <a:pt x="6331628" y="517819"/>
                </a:cubicBezTo>
                <a:cubicBezTo>
                  <a:pt x="6347744" y="525425"/>
                  <a:pt x="6340864" y="530856"/>
                  <a:pt x="6314606" y="531039"/>
                </a:cubicBezTo>
                <a:cubicBezTo>
                  <a:pt x="6288791" y="531687"/>
                  <a:pt x="6263112" y="527128"/>
                  <a:pt x="6239097" y="517638"/>
                </a:cubicBezTo>
                <a:cubicBezTo>
                  <a:pt x="6223887" y="510034"/>
                  <a:pt x="6231130" y="504781"/>
                  <a:pt x="6257205" y="504781"/>
                </a:cubicBezTo>
                <a:close/>
                <a:moveTo>
                  <a:pt x="4674585" y="504781"/>
                </a:moveTo>
                <a:cubicBezTo>
                  <a:pt x="4721665" y="504781"/>
                  <a:pt x="4762589" y="515102"/>
                  <a:pt x="4772367" y="529046"/>
                </a:cubicBezTo>
                <a:cubicBezTo>
                  <a:pt x="4781241" y="542988"/>
                  <a:pt x="4751181" y="553672"/>
                  <a:pt x="4701928" y="553490"/>
                </a:cubicBezTo>
                <a:cubicBezTo>
                  <a:pt x="4652675" y="553309"/>
                  <a:pt x="4611389" y="542445"/>
                  <a:pt x="4604509" y="528322"/>
                </a:cubicBezTo>
                <a:cubicBezTo>
                  <a:pt x="4597627" y="514197"/>
                  <a:pt x="4627504" y="504781"/>
                  <a:pt x="4674585" y="504781"/>
                </a:cubicBezTo>
                <a:close/>
                <a:moveTo>
                  <a:pt x="2391036" y="504237"/>
                </a:moveTo>
                <a:cubicBezTo>
                  <a:pt x="2422183" y="504237"/>
                  <a:pt x="2437392" y="512385"/>
                  <a:pt x="2423630" y="522345"/>
                </a:cubicBezTo>
                <a:cubicBezTo>
                  <a:pt x="2395147" y="534964"/>
                  <a:pt x="2364236" y="541146"/>
                  <a:pt x="2333090" y="540452"/>
                </a:cubicBezTo>
                <a:cubicBezTo>
                  <a:pt x="2301042" y="540452"/>
                  <a:pt x="2287638" y="531399"/>
                  <a:pt x="2303755" y="522345"/>
                </a:cubicBezTo>
                <a:cubicBezTo>
                  <a:pt x="2331300" y="510383"/>
                  <a:pt x="2361010" y="504218"/>
                  <a:pt x="2391036" y="504237"/>
                </a:cubicBezTo>
                <a:close/>
                <a:moveTo>
                  <a:pt x="2221551" y="501884"/>
                </a:moveTo>
                <a:cubicBezTo>
                  <a:pt x="2250883" y="501884"/>
                  <a:pt x="2263741" y="509490"/>
                  <a:pt x="2249072" y="517999"/>
                </a:cubicBezTo>
                <a:cubicBezTo>
                  <a:pt x="2222378" y="528991"/>
                  <a:pt x="2193734" y="534472"/>
                  <a:pt x="2164872" y="534116"/>
                </a:cubicBezTo>
                <a:cubicBezTo>
                  <a:pt x="2134631" y="534116"/>
                  <a:pt x="2122314" y="526149"/>
                  <a:pt x="2138250" y="517457"/>
                </a:cubicBezTo>
                <a:cubicBezTo>
                  <a:pt x="2164707" y="506813"/>
                  <a:pt x="2193026" y="501521"/>
                  <a:pt x="2221551" y="501884"/>
                </a:cubicBezTo>
                <a:close/>
                <a:moveTo>
                  <a:pt x="6076127" y="499711"/>
                </a:moveTo>
                <a:cubicBezTo>
                  <a:pt x="6102974" y="499171"/>
                  <a:pt x="6129651" y="504100"/>
                  <a:pt x="6154533" y="514197"/>
                </a:cubicBezTo>
                <a:cubicBezTo>
                  <a:pt x="6171192" y="522708"/>
                  <a:pt x="6161776" y="529046"/>
                  <a:pt x="6131535" y="528864"/>
                </a:cubicBezTo>
                <a:cubicBezTo>
                  <a:pt x="6104356" y="529446"/>
                  <a:pt x="6077353" y="524391"/>
                  <a:pt x="6052224" y="514016"/>
                </a:cubicBezTo>
                <a:cubicBezTo>
                  <a:pt x="6035927" y="505686"/>
                  <a:pt x="6046067" y="499711"/>
                  <a:pt x="6076127" y="499711"/>
                </a:cubicBezTo>
                <a:close/>
                <a:moveTo>
                  <a:pt x="2054411" y="498081"/>
                </a:moveTo>
                <a:cubicBezTo>
                  <a:pt x="2083021" y="498081"/>
                  <a:pt x="2093524" y="504239"/>
                  <a:pt x="2078132" y="512387"/>
                </a:cubicBezTo>
                <a:cubicBezTo>
                  <a:pt x="2053216" y="522573"/>
                  <a:pt x="2026452" y="527507"/>
                  <a:pt x="1999545" y="526873"/>
                </a:cubicBezTo>
                <a:cubicBezTo>
                  <a:pt x="1970574" y="526873"/>
                  <a:pt x="1961699" y="520174"/>
                  <a:pt x="1978902" y="511843"/>
                </a:cubicBezTo>
                <a:cubicBezTo>
                  <a:pt x="2002931" y="502359"/>
                  <a:pt x="2028589" y="497684"/>
                  <a:pt x="2054411" y="498081"/>
                </a:cubicBezTo>
                <a:close/>
                <a:moveTo>
                  <a:pt x="1890718" y="496089"/>
                </a:moveTo>
                <a:cubicBezTo>
                  <a:pt x="1914981" y="496089"/>
                  <a:pt x="1920412" y="502245"/>
                  <a:pt x="1903756" y="509851"/>
                </a:cubicBezTo>
                <a:cubicBezTo>
                  <a:pt x="1880651" y="518408"/>
                  <a:pt x="1856131" y="522465"/>
                  <a:pt x="1831506" y="521801"/>
                </a:cubicBezTo>
                <a:cubicBezTo>
                  <a:pt x="1805975" y="521801"/>
                  <a:pt x="1800177" y="515826"/>
                  <a:pt x="1816837" y="508222"/>
                </a:cubicBezTo>
                <a:cubicBezTo>
                  <a:pt x="1840448" y="499448"/>
                  <a:pt x="1865548" y="495329"/>
                  <a:pt x="1890718" y="496089"/>
                </a:cubicBezTo>
                <a:close/>
                <a:moveTo>
                  <a:pt x="5890521" y="493191"/>
                </a:moveTo>
                <a:cubicBezTo>
                  <a:pt x="5918953" y="492775"/>
                  <a:pt x="5947193" y="497944"/>
                  <a:pt x="5973635" y="508402"/>
                </a:cubicBezTo>
                <a:cubicBezTo>
                  <a:pt x="5990658" y="517457"/>
                  <a:pt x="5977801" y="525061"/>
                  <a:pt x="5945751" y="524880"/>
                </a:cubicBezTo>
                <a:cubicBezTo>
                  <a:pt x="5917183" y="525169"/>
                  <a:pt x="5888851" y="519688"/>
                  <a:pt x="5862453" y="508765"/>
                </a:cubicBezTo>
                <a:cubicBezTo>
                  <a:pt x="5848150" y="500254"/>
                  <a:pt x="5861007" y="493191"/>
                  <a:pt x="5890521" y="493191"/>
                </a:cubicBezTo>
                <a:close/>
                <a:moveTo>
                  <a:pt x="1723039" y="491926"/>
                </a:moveTo>
                <a:cubicBezTo>
                  <a:pt x="1744952" y="491926"/>
                  <a:pt x="1752916" y="497177"/>
                  <a:pt x="1740060" y="503334"/>
                </a:cubicBezTo>
                <a:cubicBezTo>
                  <a:pt x="1718549" y="511045"/>
                  <a:pt x="1695914" y="515085"/>
                  <a:pt x="1673062" y="515285"/>
                </a:cubicBezTo>
                <a:cubicBezTo>
                  <a:pt x="1650789" y="515285"/>
                  <a:pt x="1643184" y="510034"/>
                  <a:pt x="1656765" y="503695"/>
                </a:cubicBezTo>
                <a:cubicBezTo>
                  <a:pt x="1678041" y="496112"/>
                  <a:pt x="1700443" y="492135"/>
                  <a:pt x="1723039" y="491926"/>
                </a:cubicBezTo>
                <a:close/>
                <a:moveTo>
                  <a:pt x="1551921" y="489934"/>
                </a:moveTo>
                <a:cubicBezTo>
                  <a:pt x="1569484" y="490114"/>
                  <a:pt x="1574736" y="495004"/>
                  <a:pt x="1562967" y="500074"/>
                </a:cubicBezTo>
                <a:cubicBezTo>
                  <a:pt x="1543846" y="506352"/>
                  <a:pt x="1523889" y="509770"/>
                  <a:pt x="1503755" y="510215"/>
                </a:cubicBezTo>
                <a:cubicBezTo>
                  <a:pt x="1484379" y="510215"/>
                  <a:pt x="1478947" y="504783"/>
                  <a:pt x="1492890" y="499530"/>
                </a:cubicBezTo>
                <a:cubicBezTo>
                  <a:pt x="1511994" y="493470"/>
                  <a:pt x="1531877" y="490238"/>
                  <a:pt x="1551921" y="489934"/>
                </a:cubicBezTo>
                <a:close/>
                <a:moveTo>
                  <a:pt x="5710712" y="488485"/>
                </a:moveTo>
                <a:cubicBezTo>
                  <a:pt x="5741110" y="487989"/>
                  <a:pt x="5771294" y="493656"/>
                  <a:pt x="5799439" y="505144"/>
                </a:cubicBezTo>
                <a:cubicBezTo>
                  <a:pt x="5815013" y="514379"/>
                  <a:pt x="5799439" y="523252"/>
                  <a:pt x="5766303" y="523252"/>
                </a:cubicBezTo>
                <a:cubicBezTo>
                  <a:pt x="5735770" y="523664"/>
                  <a:pt x="5705505" y="517488"/>
                  <a:pt x="5677574" y="505144"/>
                </a:cubicBezTo>
                <a:cubicBezTo>
                  <a:pt x="5664717" y="496272"/>
                  <a:pt x="5680110" y="488666"/>
                  <a:pt x="5710712" y="488485"/>
                </a:cubicBezTo>
                <a:close/>
                <a:moveTo>
                  <a:pt x="1388045" y="486493"/>
                </a:moveTo>
                <a:cubicBezTo>
                  <a:pt x="1403074" y="486493"/>
                  <a:pt x="1407964" y="490477"/>
                  <a:pt x="1398004" y="494641"/>
                </a:cubicBezTo>
                <a:cubicBezTo>
                  <a:pt x="1381671" y="499929"/>
                  <a:pt x="1364649" y="502796"/>
                  <a:pt x="1347485" y="503152"/>
                </a:cubicBezTo>
                <a:cubicBezTo>
                  <a:pt x="1332272" y="503152"/>
                  <a:pt x="1327383" y="499169"/>
                  <a:pt x="1337708" y="495004"/>
                </a:cubicBezTo>
                <a:cubicBezTo>
                  <a:pt x="1354002" y="489833"/>
                  <a:pt x="1370950" y="486970"/>
                  <a:pt x="1388045" y="486493"/>
                </a:cubicBezTo>
                <a:close/>
                <a:moveTo>
                  <a:pt x="1225426" y="485044"/>
                </a:moveTo>
                <a:cubicBezTo>
                  <a:pt x="1234482" y="485044"/>
                  <a:pt x="1235748" y="488665"/>
                  <a:pt x="1227963" y="491562"/>
                </a:cubicBezTo>
                <a:cubicBezTo>
                  <a:pt x="1214653" y="495408"/>
                  <a:pt x="1200892" y="497480"/>
                  <a:pt x="1187038" y="497720"/>
                </a:cubicBezTo>
                <a:cubicBezTo>
                  <a:pt x="1176172" y="497720"/>
                  <a:pt x="1174905" y="493916"/>
                  <a:pt x="1184321" y="490838"/>
                </a:cubicBezTo>
                <a:cubicBezTo>
                  <a:pt x="1197702" y="487064"/>
                  <a:pt x="1211520" y="485114"/>
                  <a:pt x="1225426" y="485044"/>
                </a:cubicBezTo>
                <a:close/>
                <a:moveTo>
                  <a:pt x="4246881" y="482146"/>
                </a:moveTo>
                <a:lnTo>
                  <a:pt x="4202154" y="493374"/>
                </a:lnTo>
                <a:lnTo>
                  <a:pt x="4243983" y="508585"/>
                </a:lnTo>
                <a:lnTo>
                  <a:pt x="4293780" y="494823"/>
                </a:lnTo>
                <a:close/>
                <a:moveTo>
                  <a:pt x="4414559" y="481966"/>
                </a:moveTo>
                <a:lnTo>
                  <a:pt x="4359319" y="495642"/>
                </a:lnTo>
                <a:lnTo>
                  <a:pt x="4358063" y="495184"/>
                </a:lnTo>
                <a:lnTo>
                  <a:pt x="4358244" y="495908"/>
                </a:lnTo>
                <a:lnTo>
                  <a:pt x="4359319" y="495642"/>
                </a:lnTo>
                <a:lnTo>
                  <a:pt x="4421078" y="518181"/>
                </a:lnTo>
                <a:cubicBezTo>
                  <a:pt x="4431036" y="508041"/>
                  <a:pt x="4452948" y="502971"/>
                  <a:pt x="4489888" y="500074"/>
                </a:cubicBezTo>
                <a:cubicBezTo>
                  <a:pt x="4463797" y="499302"/>
                  <a:pt x="4438148" y="493136"/>
                  <a:pt x="4414559" y="481966"/>
                </a:cubicBezTo>
                <a:close/>
                <a:moveTo>
                  <a:pt x="5525470" y="481603"/>
                </a:moveTo>
                <a:cubicBezTo>
                  <a:pt x="5556355" y="480532"/>
                  <a:pt x="5587056" y="486735"/>
                  <a:pt x="5615104" y="499710"/>
                </a:cubicBezTo>
                <a:cubicBezTo>
                  <a:pt x="5631220" y="510394"/>
                  <a:pt x="5615104" y="517818"/>
                  <a:pt x="5578889" y="517818"/>
                </a:cubicBezTo>
                <a:cubicBezTo>
                  <a:pt x="5547665" y="519506"/>
                  <a:pt x="5516522" y="513276"/>
                  <a:pt x="5488350" y="499710"/>
                </a:cubicBezTo>
                <a:cubicBezTo>
                  <a:pt x="5475130" y="489570"/>
                  <a:pt x="5490884" y="481603"/>
                  <a:pt x="5525470" y="481603"/>
                </a:cubicBezTo>
                <a:close/>
                <a:moveTo>
                  <a:pt x="6901478" y="479791"/>
                </a:moveTo>
                <a:cubicBezTo>
                  <a:pt x="6915276" y="480124"/>
                  <a:pt x="6928966" y="482253"/>
                  <a:pt x="6942220" y="486129"/>
                </a:cubicBezTo>
                <a:cubicBezTo>
                  <a:pt x="6951636" y="489207"/>
                  <a:pt x="6949826" y="492648"/>
                  <a:pt x="6938418" y="492829"/>
                </a:cubicBezTo>
                <a:cubicBezTo>
                  <a:pt x="6924456" y="492595"/>
                  <a:pt x="6910586" y="490585"/>
                  <a:pt x="6897132" y="486854"/>
                </a:cubicBezTo>
                <a:cubicBezTo>
                  <a:pt x="6886087" y="483232"/>
                  <a:pt x="6888260" y="479611"/>
                  <a:pt x="6901478" y="479791"/>
                </a:cubicBezTo>
                <a:close/>
                <a:moveTo>
                  <a:pt x="4073951" y="478888"/>
                </a:moveTo>
                <a:lnTo>
                  <a:pt x="4025422" y="489209"/>
                </a:lnTo>
                <a:cubicBezTo>
                  <a:pt x="4033572" y="491745"/>
                  <a:pt x="4043530" y="493918"/>
                  <a:pt x="4049507" y="496815"/>
                </a:cubicBezTo>
                <a:cubicBezTo>
                  <a:pt x="4055060" y="499452"/>
                  <a:pt x="4060391" y="502541"/>
                  <a:pt x="4065442" y="506049"/>
                </a:cubicBezTo>
                <a:lnTo>
                  <a:pt x="4114512" y="491382"/>
                </a:lnTo>
                <a:close/>
                <a:moveTo>
                  <a:pt x="5350368" y="478345"/>
                </a:moveTo>
                <a:cubicBezTo>
                  <a:pt x="5382014" y="476742"/>
                  <a:pt x="5413577" y="482829"/>
                  <a:pt x="5442356" y="496091"/>
                </a:cubicBezTo>
                <a:cubicBezTo>
                  <a:pt x="5457386" y="506956"/>
                  <a:pt x="5439820" y="515828"/>
                  <a:pt x="5401794" y="516009"/>
                </a:cubicBezTo>
                <a:cubicBezTo>
                  <a:pt x="5363767" y="516189"/>
                  <a:pt x="5320128" y="507317"/>
                  <a:pt x="5306727" y="496452"/>
                </a:cubicBezTo>
                <a:cubicBezTo>
                  <a:pt x="5293329" y="485588"/>
                  <a:pt x="5313066" y="478345"/>
                  <a:pt x="5350368" y="478345"/>
                </a:cubicBezTo>
                <a:close/>
                <a:moveTo>
                  <a:pt x="6718047" y="474723"/>
                </a:moveTo>
                <a:cubicBezTo>
                  <a:pt x="6735738" y="474936"/>
                  <a:pt x="6753321" y="477742"/>
                  <a:pt x="6770197" y="483053"/>
                </a:cubicBezTo>
                <a:cubicBezTo>
                  <a:pt x="6780338" y="487036"/>
                  <a:pt x="6776716" y="491019"/>
                  <a:pt x="6762410" y="491202"/>
                </a:cubicBezTo>
                <a:cubicBezTo>
                  <a:pt x="6744593" y="490949"/>
                  <a:pt x="6726883" y="488082"/>
                  <a:pt x="6709899" y="482690"/>
                </a:cubicBezTo>
                <a:cubicBezTo>
                  <a:pt x="6699939" y="478706"/>
                  <a:pt x="6703924" y="474723"/>
                  <a:pt x="6718047" y="474723"/>
                </a:cubicBezTo>
                <a:close/>
                <a:moveTo>
                  <a:pt x="3904825" y="474179"/>
                </a:moveTo>
                <a:lnTo>
                  <a:pt x="3851951" y="484863"/>
                </a:lnTo>
                <a:lnTo>
                  <a:pt x="3889976" y="499169"/>
                </a:lnTo>
                <a:lnTo>
                  <a:pt x="3941041" y="486131"/>
                </a:lnTo>
                <a:close/>
                <a:moveTo>
                  <a:pt x="5176353" y="471102"/>
                </a:moveTo>
                <a:cubicBezTo>
                  <a:pt x="5215466" y="471102"/>
                  <a:pt x="5257657" y="480518"/>
                  <a:pt x="5269970" y="491382"/>
                </a:cubicBezTo>
                <a:cubicBezTo>
                  <a:pt x="5282283" y="502247"/>
                  <a:pt x="5259469" y="512024"/>
                  <a:pt x="5220356" y="512207"/>
                </a:cubicBezTo>
                <a:cubicBezTo>
                  <a:pt x="5181060" y="512207"/>
                  <a:pt x="5136697" y="502610"/>
                  <a:pt x="5124746" y="491745"/>
                </a:cubicBezTo>
                <a:cubicBezTo>
                  <a:pt x="5112794" y="480881"/>
                  <a:pt x="5137240" y="471102"/>
                  <a:pt x="5176353" y="471102"/>
                </a:cubicBezTo>
                <a:close/>
                <a:moveTo>
                  <a:pt x="3303103" y="471102"/>
                </a:moveTo>
                <a:cubicBezTo>
                  <a:pt x="3346200" y="471102"/>
                  <a:pt x="3375534" y="480518"/>
                  <a:pt x="3368471" y="492650"/>
                </a:cubicBezTo>
                <a:cubicBezTo>
                  <a:pt x="3361411" y="504783"/>
                  <a:pt x="3318676" y="515647"/>
                  <a:pt x="3273769" y="515828"/>
                </a:cubicBezTo>
                <a:cubicBezTo>
                  <a:pt x="3228862" y="516008"/>
                  <a:pt x="3199707" y="505868"/>
                  <a:pt x="3208943" y="493374"/>
                </a:cubicBezTo>
                <a:cubicBezTo>
                  <a:pt x="3218178" y="480881"/>
                  <a:pt x="3260007" y="471102"/>
                  <a:pt x="3303103" y="471102"/>
                </a:cubicBezTo>
                <a:close/>
                <a:moveTo>
                  <a:pt x="3133617" y="468566"/>
                </a:moveTo>
                <a:cubicBezTo>
                  <a:pt x="3175988" y="468566"/>
                  <a:pt x="3198805" y="477801"/>
                  <a:pt x="3188845" y="489209"/>
                </a:cubicBezTo>
                <a:cubicBezTo>
                  <a:pt x="3178524" y="501523"/>
                  <a:pt x="3139048" y="510575"/>
                  <a:pt x="3094685" y="510395"/>
                </a:cubicBezTo>
                <a:cubicBezTo>
                  <a:pt x="3050321" y="510214"/>
                  <a:pt x="3027504" y="501159"/>
                  <a:pt x="3040361" y="488846"/>
                </a:cubicBezTo>
                <a:cubicBezTo>
                  <a:pt x="3053218" y="476533"/>
                  <a:pt x="3091244" y="468566"/>
                  <a:pt x="3133617" y="468566"/>
                </a:cubicBezTo>
                <a:close/>
                <a:moveTo>
                  <a:pt x="6536065" y="468023"/>
                </a:moveTo>
                <a:cubicBezTo>
                  <a:pt x="6555566" y="468512"/>
                  <a:pt x="6574905" y="471805"/>
                  <a:pt x="6593466" y="477801"/>
                </a:cubicBezTo>
                <a:cubicBezTo>
                  <a:pt x="6605598" y="482871"/>
                  <a:pt x="6600889" y="487397"/>
                  <a:pt x="6583325" y="487761"/>
                </a:cubicBezTo>
                <a:cubicBezTo>
                  <a:pt x="6562647" y="487578"/>
                  <a:pt x="6542131" y="484219"/>
                  <a:pt x="6522483" y="477801"/>
                </a:cubicBezTo>
                <a:cubicBezTo>
                  <a:pt x="6510170" y="472550"/>
                  <a:pt x="6516869" y="467841"/>
                  <a:pt x="6536065" y="468023"/>
                </a:cubicBezTo>
                <a:close/>
                <a:moveTo>
                  <a:pt x="5002336" y="467480"/>
                </a:moveTo>
                <a:cubicBezTo>
                  <a:pt x="5044709" y="467480"/>
                  <a:pt x="5084908" y="475810"/>
                  <a:pt x="5097402" y="487580"/>
                </a:cubicBezTo>
                <a:cubicBezTo>
                  <a:pt x="5109897" y="499349"/>
                  <a:pt x="5087624" y="509128"/>
                  <a:pt x="5043985" y="509309"/>
                </a:cubicBezTo>
                <a:cubicBezTo>
                  <a:pt x="5000344" y="509489"/>
                  <a:pt x="4959241" y="500437"/>
                  <a:pt x="4948193" y="488304"/>
                </a:cubicBezTo>
                <a:cubicBezTo>
                  <a:pt x="4937148" y="476171"/>
                  <a:pt x="4960326" y="467480"/>
                  <a:pt x="5002336" y="467480"/>
                </a:cubicBezTo>
                <a:close/>
                <a:moveTo>
                  <a:pt x="2968111" y="466574"/>
                </a:moveTo>
                <a:cubicBezTo>
                  <a:pt x="3005231" y="466755"/>
                  <a:pt x="3029134" y="475627"/>
                  <a:pt x="3018993" y="486131"/>
                </a:cubicBezTo>
                <a:cubicBezTo>
                  <a:pt x="3008490" y="496996"/>
                  <a:pt x="2964670" y="506592"/>
                  <a:pt x="2926282" y="506773"/>
                </a:cubicBezTo>
                <a:cubicBezTo>
                  <a:pt x="2887893" y="506953"/>
                  <a:pt x="2862019" y="496813"/>
                  <a:pt x="2875217" y="485768"/>
                </a:cubicBezTo>
                <a:cubicBezTo>
                  <a:pt x="2888437" y="474723"/>
                  <a:pt x="2930989" y="466392"/>
                  <a:pt x="2968111" y="466574"/>
                </a:cubicBezTo>
                <a:close/>
                <a:moveTo>
                  <a:pt x="6357340" y="463315"/>
                </a:moveTo>
                <a:cubicBezTo>
                  <a:pt x="6379655" y="463634"/>
                  <a:pt x="6401778" y="467484"/>
                  <a:pt x="6422889" y="474721"/>
                </a:cubicBezTo>
                <a:cubicBezTo>
                  <a:pt x="6435746" y="480698"/>
                  <a:pt x="6428142" y="485948"/>
                  <a:pt x="6406774" y="485768"/>
                </a:cubicBezTo>
                <a:cubicBezTo>
                  <a:pt x="6383742" y="485669"/>
                  <a:pt x="6360899" y="481625"/>
                  <a:pt x="6339232" y="473816"/>
                </a:cubicBezTo>
                <a:cubicBezTo>
                  <a:pt x="6328187" y="468022"/>
                  <a:pt x="6337240" y="462952"/>
                  <a:pt x="6357340" y="463315"/>
                </a:cubicBezTo>
                <a:close/>
                <a:moveTo>
                  <a:pt x="4835745" y="463132"/>
                </a:moveTo>
                <a:cubicBezTo>
                  <a:pt x="4880291" y="463495"/>
                  <a:pt x="4919764" y="473272"/>
                  <a:pt x="4929181" y="485405"/>
                </a:cubicBezTo>
                <a:cubicBezTo>
                  <a:pt x="4938597" y="497538"/>
                  <a:pt x="4910529" y="507315"/>
                  <a:pt x="4865441" y="507315"/>
                </a:cubicBezTo>
                <a:cubicBezTo>
                  <a:pt x="4820715" y="507315"/>
                  <a:pt x="4778705" y="496994"/>
                  <a:pt x="4770376" y="484500"/>
                </a:cubicBezTo>
                <a:cubicBezTo>
                  <a:pt x="4762046" y="472006"/>
                  <a:pt x="4791201" y="462771"/>
                  <a:pt x="4835745" y="463132"/>
                </a:cubicBezTo>
                <a:close/>
                <a:moveTo>
                  <a:pt x="2805886" y="462771"/>
                </a:moveTo>
                <a:cubicBezTo>
                  <a:pt x="2842102" y="462771"/>
                  <a:pt x="2861477" y="470919"/>
                  <a:pt x="2849525" y="480878"/>
                </a:cubicBezTo>
                <a:cubicBezTo>
                  <a:pt x="2837575" y="490838"/>
                  <a:pt x="2796471" y="500072"/>
                  <a:pt x="2756994" y="498986"/>
                </a:cubicBezTo>
                <a:cubicBezTo>
                  <a:pt x="2717522" y="497899"/>
                  <a:pt x="2702668" y="490114"/>
                  <a:pt x="2716250" y="479610"/>
                </a:cubicBezTo>
                <a:cubicBezTo>
                  <a:pt x="2729834" y="469109"/>
                  <a:pt x="2768946" y="462771"/>
                  <a:pt x="2805886" y="462771"/>
                </a:cubicBezTo>
                <a:close/>
                <a:moveTo>
                  <a:pt x="3735698" y="462048"/>
                </a:moveTo>
                <a:cubicBezTo>
                  <a:pt x="3711988" y="472196"/>
                  <a:pt x="3686521" y="477610"/>
                  <a:pt x="3660733" y="477983"/>
                </a:cubicBezTo>
                <a:cubicBezTo>
                  <a:pt x="3694051" y="482146"/>
                  <a:pt x="3709081" y="489209"/>
                  <a:pt x="3717773" y="499169"/>
                </a:cubicBezTo>
                <a:lnTo>
                  <a:pt x="3717590" y="498444"/>
                </a:lnTo>
                <a:cubicBezTo>
                  <a:pt x="3738101" y="488671"/>
                  <a:pt x="3760286" y="482895"/>
                  <a:pt x="3782961" y="481422"/>
                </a:cubicBezTo>
                <a:cubicBezTo>
                  <a:pt x="3753988" y="476896"/>
                  <a:pt x="3742760" y="470196"/>
                  <a:pt x="3735698" y="462048"/>
                </a:cubicBezTo>
                <a:close/>
                <a:moveTo>
                  <a:pt x="2639474" y="460781"/>
                </a:moveTo>
                <a:cubicBezTo>
                  <a:pt x="2675509" y="460600"/>
                  <a:pt x="2692892" y="467661"/>
                  <a:pt x="2680217" y="477620"/>
                </a:cubicBezTo>
                <a:cubicBezTo>
                  <a:pt x="2667361" y="487760"/>
                  <a:pt x="2630422" y="495728"/>
                  <a:pt x="2593660" y="495728"/>
                </a:cubicBezTo>
                <a:cubicBezTo>
                  <a:pt x="2556904" y="495728"/>
                  <a:pt x="2540787" y="488123"/>
                  <a:pt x="2555636" y="477620"/>
                </a:cubicBezTo>
                <a:cubicBezTo>
                  <a:pt x="2581855" y="465442"/>
                  <a:pt x="2610595" y="459669"/>
                  <a:pt x="2639474" y="460781"/>
                </a:cubicBezTo>
                <a:close/>
                <a:moveTo>
                  <a:pt x="3571643" y="457520"/>
                </a:moveTo>
                <a:cubicBezTo>
                  <a:pt x="3540339" y="470485"/>
                  <a:pt x="3506641" y="476656"/>
                  <a:pt x="3472773" y="475628"/>
                </a:cubicBezTo>
                <a:cubicBezTo>
                  <a:pt x="3519492" y="477983"/>
                  <a:pt x="3539410" y="485044"/>
                  <a:pt x="3541946" y="496633"/>
                </a:cubicBezTo>
                <a:cubicBezTo>
                  <a:pt x="3555164" y="492287"/>
                  <a:pt x="3564580" y="488123"/>
                  <a:pt x="3576893" y="485044"/>
                </a:cubicBezTo>
                <a:cubicBezTo>
                  <a:pt x="3589207" y="481966"/>
                  <a:pt x="3604237" y="480156"/>
                  <a:pt x="3619628" y="477439"/>
                </a:cubicBezTo>
                <a:cubicBezTo>
                  <a:pt x="3589931" y="473274"/>
                  <a:pt x="3575808" y="467299"/>
                  <a:pt x="3571643" y="457520"/>
                </a:cubicBezTo>
                <a:close/>
                <a:moveTo>
                  <a:pt x="6175901" y="457157"/>
                </a:moveTo>
                <a:cubicBezTo>
                  <a:pt x="6200575" y="457044"/>
                  <a:pt x="6225082" y="461211"/>
                  <a:pt x="6248332" y="469470"/>
                </a:cubicBezTo>
                <a:cubicBezTo>
                  <a:pt x="6262275" y="475808"/>
                  <a:pt x="6255032" y="481602"/>
                  <a:pt x="6232217" y="482146"/>
                </a:cubicBezTo>
                <a:cubicBezTo>
                  <a:pt x="6207556" y="482266"/>
                  <a:pt x="6183059" y="478161"/>
                  <a:pt x="6159786" y="470013"/>
                </a:cubicBezTo>
                <a:cubicBezTo>
                  <a:pt x="6143669" y="463314"/>
                  <a:pt x="6151999" y="457520"/>
                  <a:pt x="6175901" y="457157"/>
                </a:cubicBezTo>
                <a:close/>
                <a:moveTo>
                  <a:pt x="2481394" y="456796"/>
                </a:moveTo>
                <a:cubicBezTo>
                  <a:pt x="2512359" y="456796"/>
                  <a:pt x="2528476" y="464402"/>
                  <a:pt x="2515619" y="472911"/>
                </a:cubicBezTo>
                <a:cubicBezTo>
                  <a:pt x="2488786" y="484502"/>
                  <a:pt x="2459738" y="490124"/>
                  <a:pt x="2430513" y="489390"/>
                </a:cubicBezTo>
                <a:cubicBezTo>
                  <a:pt x="2398642" y="489390"/>
                  <a:pt x="2383069" y="481422"/>
                  <a:pt x="2397195" y="472731"/>
                </a:cubicBezTo>
                <a:cubicBezTo>
                  <a:pt x="2423810" y="461520"/>
                  <a:pt x="2452511" y="456088"/>
                  <a:pt x="2481394" y="456796"/>
                </a:cubicBezTo>
                <a:close/>
                <a:moveTo>
                  <a:pt x="2318607" y="454804"/>
                </a:moveTo>
                <a:cubicBezTo>
                  <a:pt x="2347578" y="454804"/>
                  <a:pt x="2360978" y="461142"/>
                  <a:pt x="2348483" y="469110"/>
                </a:cubicBezTo>
                <a:cubicBezTo>
                  <a:pt x="2323207" y="480121"/>
                  <a:pt x="2295827" y="485438"/>
                  <a:pt x="2268267" y="484683"/>
                </a:cubicBezTo>
                <a:cubicBezTo>
                  <a:pt x="2238388" y="484683"/>
                  <a:pt x="2225533" y="477982"/>
                  <a:pt x="2239110" y="469834"/>
                </a:cubicBezTo>
                <a:cubicBezTo>
                  <a:pt x="2264246" y="459269"/>
                  <a:pt x="2291335" y="454150"/>
                  <a:pt x="2318607" y="454804"/>
                </a:cubicBezTo>
                <a:close/>
                <a:moveTo>
                  <a:pt x="5996634" y="452992"/>
                </a:moveTo>
                <a:cubicBezTo>
                  <a:pt x="6022034" y="452492"/>
                  <a:pt x="6047295" y="456857"/>
                  <a:pt x="6071057" y="465849"/>
                </a:cubicBezTo>
                <a:cubicBezTo>
                  <a:pt x="6087716" y="473997"/>
                  <a:pt x="6078119" y="479974"/>
                  <a:pt x="6048060" y="479791"/>
                </a:cubicBezTo>
                <a:cubicBezTo>
                  <a:pt x="6022642" y="480407"/>
                  <a:pt x="5997371" y="475784"/>
                  <a:pt x="5973819" y="466212"/>
                </a:cubicBezTo>
                <a:cubicBezTo>
                  <a:pt x="5959333" y="458606"/>
                  <a:pt x="5969110" y="452992"/>
                  <a:pt x="5996634" y="452992"/>
                </a:cubicBezTo>
                <a:close/>
                <a:moveTo>
                  <a:pt x="2154188" y="451364"/>
                </a:moveTo>
                <a:cubicBezTo>
                  <a:pt x="2181893" y="451545"/>
                  <a:pt x="2192033" y="456978"/>
                  <a:pt x="2178452" y="464583"/>
                </a:cubicBezTo>
                <a:cubicBezTo>
                  <a:pt x="2155474" y="473940"/>
                  <a:pt x="2130828" y="478557"/>
                  <a:pt x="2106020" y="478164"/>
                </a:cubicBezTo>
                <a:cubicBezTo>
                  <a:pt x="2075957" y="478164"/>
                  <a:pt x="2065821" y="472369"/>
                  <a:pt x="2081754" y="464221"/>
                </a:cubicBezTo>
                <a:cubicBezTo>
                  <a:pt x="2104860" y="455336"/>
                  <a:pt x="2129454" y="450971"/>
                  <a:pt x="2154188" y="451364"/>
                </a:cubicBezTo>
                <a:close/>
                <a:moveTo>
                  <a:pt x="1994654" y="449190"/>
                </a:moveTo>
                <a:cubicBezTo>
                  <a:pt x="2018196" y="449190"/>
                  <a:pt x="2027432" y="455165"/>
                  <a:pt x="2014031" y="461503"/>
                </a:cubicBezTo>
                <a:cubicBezTo>
                  <a:pt x="1991236" y="469820"/>
                  <a:pt x="1967132" y="473991"/>
                  <a:pt x="1942870" y="473816"/>
                </a:cubicBezTo>
                <a:cubicBezTo>
                  <a:pt x="1918783" y="473635"/>
                  <a:pt x="1910091" y="467660"/>
                  <a:pt x="1924217" y="461142"/>
                </a:cubicBezTo>
                <a:cubicBezTo>
                  <a:pt x="1946831" y="453125"/>
                  <a:pt x="1970661" y="449083"/>
                  <a:pt x="1994654" y="449190"/>
                </a:cubicBezTo>
                <a:close/>
                <a:moveTo>
                  <a:pt x="5822075" y="447017"/>
                </a:moveTo>
                <a:cubicBezTo>
                  <a:pt x="5848825" y="446534"/>
                  <a:pt x="5875408" y="451332"/>
                  <a:pt x="5900301" y="461142"/>
                </a:cubicBezTo>
                <a:cubicBezTo>
                  <a:pt x="5916055" y="469470"/>
                  <a:pt x="5903922" y="476352"/>
                  <a:pt x="5872777" y="476172"/>
                </a:cubicBezTo>
                <a:cubicBezTo>
                  <a:pt x="5845755" y="476700"/>
                  <a:pt x="5818902" y="471773"/>
                  <a:pt x="5793827" y="461686"/>
                </a:cubicBezTo>
                <a:cubicBezTo>
                  <a:pt x="5779341" y="453355"/>
                  <a:pt x="5792017" y="446836"/>
                  <a:pt x="5822075" y="447017"/>
                </a:cubicBezTo>
                <a:close/>
                <a:moveTo>
                  <a:pt x="1835670" y="445751"/>
                </a:moveTo>
                <a:cubicBezTo>
                  <a:pt x="1856131" y="445751"/>
                  <a:pt x="1865548" y="450097"/>
                  <a:pt x="1855226" y="455710"/>
                </a:cubicBezTo>
                <a:cubicBezTo>
                  <a:pt x="1834547" y="463431"/>
                  <a:pt x="1812654" y="467476"/>
                  <a:pt x="1790579" y="467661"/>
                </a:cubicBezTo>
                <a:cubicBezTo>
                  <a:pt x="1768310" y="467661"/>
                  <a:pt x="1759798" y="462410"/>
                  <a:pt x="1772474" y="456435"/>
                </a:cubicBezTo>
                <a:cubicBezTo>
                  <a:pt x="1792844" y="449541"/>
                  <a:pt x="1814174" y="445933"/>
                  <a:pt x="1835670" y="445751"/>
                </a:cubicBezTo>
                <a:close/>
                <a:moveTo>
                  <a:pt x="1678132" y="443939"/>
                </a:moveTo>
                <a:cubicBezTo>
                  <a:pt x="1696239" y="443939"/>
                  <a:pt x="1701673" y="448828"/>
                  <a:pt x="1689177" y="453718"/>
                </a:cubicBezTo>
                <a:cubicBezTo>
                  <a:pt x="1670292" y="459836"/>
                  <a:pt x="1650534" y="462892"/>
                  <a:pt x="1630690" y="462771"/>
                </a:cubicBezTo>
                <a:cubicBezTo>
                  <a:pt x="1613668" y="462771"/>
                  <a:pt x="1609143" y="458062"/>
                  <a:pt x="1620548" y="453355"/>
                </a:cubicBezTo>
                <a:cubicBezTo>
                  <a:pt x="1639146" y="447277"/>
                  <a:pt x="1658576" y="444102"/>
                  <a:pt x="1678132" y="443939"/>
                </a:cubicBezTo>
                <a:close/>
                <a:moveTo>
                  <a:pt x="5652767" y="442490"/>
                </a:moveTo>
                <a:cubicBezTo>
                  <a:pt x="5680908" y="442165"/>
                  <a:pt x="5708822" y="447589"/>
                  <a:pt x="5734794" y="458425"/>
                </a:cubicBezTo>
                <a:cubicBezTo>
                  <a:pt x="5748195" y="467116"/>
                  <a:pt x="5731897" y="474542"/>
                  <a:pt x="5700210" y="474359"/>
                </a:cubicBezTo>
                <a:cubicBezTo>
                  <a:pt x="5671454" y="474846"/>
                  <a:pt x="5642927" y="469165"/>
                  <a:pt x="5616551" y="457700"/>
                </a:cubicBezTo>
                <a:cubicBezTo>
                  <a:pt x="5604419" y="449372"/>
                  <a:pt x="5621078" y="442309"/>
                  <a:pt x="5652767" y="442490"/>
                </a:cubicBezTo>
                <a:close/>
                <a:moveTo>
                  <a:pt x="1522587" y="440861"/>
                </a:moveTo>
                <a:cubicBezTo>
                  <a:pt x="1538157" y="440861"/>
                  <a:pt x="1541780" y="444844"/>
                  <a:pt x="1530374" y="449009"/>
                </a:cubicBezTo>
                <a:cubicBezTo>
                  <a:pt x="1514132" y="454013"/>
                  <a:pt x="1497216" y="456515"/>
                  <a:pt x="1480211" y="456433"/>
                </a:cubicBezTo>
                <a:cubicBezTo>
                  <a:pt x="1466091" y="456433"/>
                  <a:pt x="1463193" y="452631"/>
                  <a:pt x="1473333" y="448465"/>
                </a:cubicBezTo>
                <a:cubicBezTo>
                  <a:pt x="1489284" y="443488"/>
                  <a:pt x="1505873" y="440925"/>
                  <a:pt x="1522587" y="440861"/>
                </a:cubicBezTo>
                <a:close/>
                <a:moveTo>
                  <a:pt x="1362508" y="439232"/>
                </a:moveTo>
                <a:cubicBezTo>
                  <a:pt x="1375547" y="439232"/>
                  <a:pt x="1378624" y="442310"/>
                  <a:pt x="1369027" y="445751"/>
                </a:cubicBezTo>
                <a:cubicBezTo>
                  <a:pt x="1356478" y="449387"/>
                  <a:pt x="1343512" y="451395"/>
                  <a:pt x="1330458" y="451726"/>
                </a:cubicBezTo>
                <a:cubicBezTo>
                  <a:pt x="1317237" y="451726"/>
                  <a:pt x="1314159" y="448648"/>
                  <a:pt x="1324120" y="445207"/>
                </a:cubicBezTo>
                <a:cubicBezTo>
                  <a:pt x="1336613" y="441572"/>
                  <a:pt x="1349507" y="439562"/>
                  <a:pt x="1362508" y="439232"/>
                </a:cubicBezTo>
                <a:close/>
                <a:moveTo>
                  <a:pt x="4253580" y="437059"/>
                </a:moveTo>
                <a:lnTo>
                  <a:pt x="4212657" y="447018"/>
                </a:lnTo>
                <a:lnTo>
                  <a:pt x="4248873" y="458064"/>
                </a:lnTo>
                <a:lnTo>
                  <a:pt x="4292693" y="448104"/>
                </a:lnTo>
                <a:close/>
                <a:moveTo>
                  <a:pt x="4082462" y="436515"/>
                </a:moveTo>
                <a:lnTo>
                  <a:pt x="4053309" y="443034"/>
                </a:lnTo>
                <a:lnTo>
                  <a:pt x="4082281" y="452993"/>
                </a:lnTo>
                <a:lnTo>
                  <a:pt x="4116143" y="445207"/>
                </a:lnTo>
                <a:close/>
                <a:moveTo>
                  <a:pt x="5480924" y="435973"/>
                </a:moveTo>
                <a:cubicBezTo>
                  <a:pt x="5510024" y="435336"/>
                  <a:pt x="5538901" y="441150"/>
                  <a:pt x="5565488" y="452993"/>
                </a:cubicBezTo>
                <a:cubicBezTo>
                  <a:pt x="5578525" y="462229"/>
                  <a:pt x="5560959" y="470015"/>
                  <a:pt x="5527280" y="469833"/>
                </a:cubicBezTo>
                <a:cubicBezTo>
                  <a:pt x="5493599" y="469652"/>
                  <a:pt x="5451047" y="461324"/>
                  <a:pt x="5440000" y="451725"/>
                </a:cubicBezTo>
                <a:cubicBezTo>
                  <a:pt x="5428955" y="442129"/>
                  <a:pt x="5448150" y="435610"/>
                  <a:pt x="5480924" y="435973"/>
                </a:cubicBezTo>
                <a:close/>
                <a:moveTo>
                  <a:pt x="6794280" y="434706"/>
                </a:moveTo>
                <a:cubicBezTo>
                  <a:pt x="6808095" y="434922"/>
                  <a:pt x="6821804" y="437055"/>
                  <a:pt x="6835022" y="441044"/>
                </a:cubicBezTo>
                <a:cubicBezTo>
                  <a:pt x="6842809" y="444122"/>
                  <a:pt x="6839187" y="446839"/>
                  <a:pt x="6827599" y="446839"/>
                </a:cubicBezTo>
                <a:cubicBezTo>
                  <a:pt x="6814525" y="446481"/>
                  <a:pt x="6801559" y="444409"/>
                  <a:pt x="6789029" y="440681"/>
                </a:cubicBezTo>
                <a:cubicBezTo>
                  <a:pt x="6780699" y="437784"/>
                  <a:pt x="6783235" y="434886"/>
                  <a:pt x="6794280" y="434706"/>
                </a:cubicBezTo>
                <a:close/>
                <a:moveTo>
                  <a:pt x="5311075" y="431808"/>
                </a:moveTo>
                <a:cubicBezTo>
                  <a:pt x="5341324" y="430633"/>
                  <a:pt x="5371407" y="436848"/>
                  <a:pt x="5398716" y="449916"/>
                </a:cubicBezTo>
                <a:cubicBezTo>
                  <a:pt x="5412658" y="459874"/>
                  <a:pt x="5395455" y="468024"/>
                  <a:pt x="5358696" y="468024"/>
                </a:cubicBezTo>
                <a:cubicBezTo>
                  <a:pt x="5321939" y="468024"/>
                  <a:pt x="5280834" y="460417"/>
                  <a:pt x="5268158" y="449916"/>
                </a:cubicBezTo>
                <a:cubicBezTo>
                  <a:pt x="5255483" y="439413"/>
                  <a:pt x="5275040" y="431808"/>
                  <a:pt x="5311075" y="431808"/>
                </a:cubicBezTo>
                <a:close/>
                <a:moveTo>
                  <a:pt x="3919131" y="431627"/>
                </a:moveTo>
                <a:lnTo>
                  <a:pt x="3881647" y="438870"/>
                </a:lnTo>
                <a:lnTo>
                  <a:pt x="3912612" y="448828"/>
                </a:lnTo>
                <a:lnTo>
                  <a:pt x="3946472" y="440319"/>
                </a:lnTo>
                <a:close/>
                <a:moveTo>
                  <a:pt x="6616282" y="428548"/>
                </a:moveTo>
                <a:cubicBezTo>
                  <a:pt x="6632922" y="428829"/>
                  <a:pt x="6649436" y="431451"/>
                  <a:pt x="6665352" y="436335"/>
                </a:cubicBezTo>
                <a:cubicBezTo>
                  <a:pt x="6674768" y="439956"/>
                  <a:pt x="6670785" y="443578"/>
                  <a:pt x="6657024" y="443759"/>
                </a:cubicBezTo>
                <a:cubicBezTo>
                  <a:pt x="6640328" y="443508"/>
                  <a:pt x="6623742" y="440884"/>
                  <a:pt x="6607771" y="435972"/>
                </a:cubicBezTo>
                <a:cubicBezTo>
                  <a:pt x="6598535" y="432169"/>
                  <a:pt x="6602881" y="428728"/>
                  <a:pt x="6616282" y="428548"/>
                </a:cubicBezTo>
                <a:close/>
                <a:moveTo>
                  <a:pt x="5148103" y="426736"/>
                </a:moveTo>
                <a:cubicBezTo>
                  <a:pt x="5186311" y="426736"/>
                  <a:pt x="5225061" y="435971"/>
                  <a:pt x="5235203" y="444844"/>
                </a:cubicBezTo>
                <a:cubicBezTo>
                  <a:pt x="5245341" y="453716"/>
                  <a:pt x="5221078" y="463856"/>
                  <a:pt x="5181965" y="462952"/>
                </a:cubicBezTo>
                <a:cubicBezTo>
                  <a:pt x="5142852" y="462047"/>
                  <a:pt x="5102652" y="454623"/>
                  <a:pt x="5093780" y="444844"/>
                </a:cubicBezTo>
                <a:cubicBezTo>
                  <a:pt x="5084727" y="434703"/>
                  <a:pt x="5109895" y="426736"/>
                  <a:pt x="5148103" y="426736"/>
                </a:cubicBezTo>
                <a:close/>
                <a:moveTo>
                  <a:pt x="3348916" y="426736"/>
                </a:moveTo>
                <a:cubicBezTo>
                  <a:pt x="3392194" y="426918"/>
                  <a:pt x="3417182" y="434885"/>
                  <a:pt x="3409939" y="447016"/>
                </a:cubicBezTo>
                <a:cubicBezTo>
                  <a:pt x="3402334" y="459149"/>
                  <a:pt x="3361953" y="468203"/>
                  <a:pt x="3316685" y="468021"/>
                </a:cubicBezTo>
                <a:cubicBezTo>
                  <a:pt x="3271414" y="467840"/>
                  <a:pt x="3247331" y="458605"/>
                  <a:pt x="3256384" y="447016"/>
                </a:cubicBezTo>
                <a:cubicBezTo>
                  <a:pt x="3265439" y="435427"/>
                  <a:pt x="3305638" y="426555"/>
                  <a:pt x="3348916" y="426736"/>
                </a:cubicBezTo>
                <a:close/>
                <a:moveTo>
                  <a:pt x="3190655" y="425468"/>
                </a:moveTo>
                <a:cubicBezTo>
                  <a:pt x="3228501" y="426555"/>
                  <a:pt x="3254033" y="434523"/>
                  <a:pt x="3246065" y="444663"/>
                </a:cubicBezTo>
                <a:cubicBezTo>
                  <a:pt x="3238098" y="454803"/>
                  <a:pt x="3193915" y="464219"/>
                  <a:pt x="3153897" y="464039"/>
                </a:cubicBezTo>
                <a:cubicBezTo>
                  <a:pt x="3113517" y="464039"/>
                  <a:pt x="3086173" y="454079"/>
                  <a:pt x="3098487" y="443576"/>
                </a:cubicBezTo>
                <a:cubicBezTo>
                  <a:pt x="3110800" y="433074"/>
                  <a:pt x="3152810" y="424382"/>
                  <a:pt x="3190655" y="425468"/>
                </a:cubicBezTo>
                <a:close/>
                <a:moveTo>
                  <a:pt x="3759783" y="425289"/>
                </a:moveTo>
                <a:lnTo>
                  <a:pt x="3704011" y="434886"/>
                </a:lnTo>
                <a:cubicBezTo>
                  <a:pt x="3726101" y="438507"/>
                  <a:pt x="3740226" y="444121"/>
                  <a:pt x="3743848" y="450820"/>
                </a:cubicBezTo>
                <a:lnTo>
                  <a:pt x="3794006" y="437422"/>
                </a:lnTo>
                <a:close/>
                <a:moveTo>
                  <a:pt x="6440997" y="424202"/>
                </a:moveTo>
                <a:cubicBezTo>
                  <a:pt x="6459324" y="424508"/>
                  <a:pt x="6477503" y="427498"/>
                  <a:pt x="6494959" y="433074"/>
                </a:cubicBezTo>
                <a:cubicBezTo>
                  <a:pt x="6506909" y="437964"/>
                  <a:pt x="6500390" y="442309"/>
                  <a:pt x="6481741" y="442129"/>
                </a:cubicBezTo>
                <a:cubicBezTo>
                  <a:pt x="6463289" y="441724"/>
                  <a:pt x="6444999" y="438675"/>
                  <a:pt x="6427418" y="433074"/>
                </a:cubicBezTo>
                <a:cubicBezTo>
                  <a:pt x="6416010" y="428186"/>
                  <a:pt x="6422709" y="423840"/>
                  <a:pt x="6440997" y="424202"/>
                </a:cubicBezTo>
                <a:close/>
                <a:moveTo>
                  <a:pt x="4973727" y="423658"/>
                </a:moveTo>
                <a:cubicBezTo>
                  <a:pt x="5011572" y="423658"/>
                  <a:pt x="5056116" y="432713"/>
                  <a:pt x="5065532" y="443395"/>
                </a:cubicBezTo>
                <a:cubicBezTo>
                  <a:pt x="5074948" y="454079"/>
                  <a:pt x="5049961" y="462410"/>
                  <a:pt x="5010304" y="462410"/>
                </a:cubicBezTo>
                <a:cubicBezTo>
                  <a:pt x="4969199" y="462410"/>
                  <a:pt x="4925923" y="452630"/>
                  <a:pt x="4917773" y="441766"/>
                </a:cubicBezTo>
                <a:cubicBezTo>
                  <a:pt x="4909625" y="430901"/>
                  <a:pt x="4935881" y="423658"/>
                  <a:pt x="4973727" y="423658"/>
                </a:cubicBezTo>
                <a:close/>
                <a:moveTo>
                  <a:pt x="3032575" y="421849"/>
                </a:moveTo>
                <a:cubicBezTo>
                  <a:pt x="3069878" y="421849"/>
                  <a:pt x="3091788" y="429997"/>
                  <a:pt x="3083277" y="439956"/>
                </a:cubicBezTo>
                <a:cubicBezTo>
                  <a:pt x="3074766" y="449916"/>
                  <a:pt x="3034024" y="458064"/>
                  <a:pt x="2994549" y="458064"/>
                </a:cubicBezTo>
                <a:cubicBezTo>
                  <a:pt x="2955437" y="458064"/>
                  <a:pt x="2932259" y="449553"/>
                  <a:pt x="2943667" y="439956"/>
                </a:cubicBezTo>
                <a:cubicBezTo>
                  <a:pt x="2955073" y="430360"/>
                  <a:pt x="2995274" y="421849"/>
                  <a:pt x="3032575" y="421849"/>
                </a:cubicBezTo>
                <a:close/>
                <a:moveTo>
                  <a:pt x="6264267" y="418227"/>
                </a:moveTo>
                <a:cubicBezTo>
                  <a:pt x="6285873" y="418367"/>
                  <a:pt x="6307321" y="421911"/>
                  <a:pt x="6327826" y="428728"/>
                </a:cubicBezTo>
                <a:cubicBezTo>
                  <a:pt x="6340139" y="434886"/>
                  <a:pt x="6332533" y="438871"/>
                  <a:pt x="6311528" y="438871"/>
                </a:cubicBezTo>
                <a:cubicBezTo>
                  <a:pt x="6290479" y="438616"/>
                  <a:pt x="6269594" y="435133"/>
                  <a:pt x="6249600" y="428548"/>
                </a:cubicBezTo>
                <a:cubicBezTo>
                  <a:pt x="6237648" y="423297"/>
                  <a:pt x="6244711" y="418407"/>
                  <a:pt x="6264267" y="418227"/>
                </a:cubicBezTo>
                <a:close/>
                <a:moveTo>
                  <a:pt x="2876122" y="418045"/>
                </a:moveTo>
                <a:cubicBezTo>
                  <a:pt x="2913062" y="418045"/>
                  <a:pt x="2930445" y="425107"/>
                  <a:pt x="2920488" y="434704"/>
                </a:cubicBezTo>
                <a:cubicBezTo>
                  <a:pt x="2910528" y="444300"/>
                  <a:pt x="2872338" y="452992"/>
                  <a:pt x="2834856" y="452992"/>
                </a:cubicBezTo>
                <a:cubicBezTo>
                  <a:pt x="2796468" y="452992"/>
                  <a:pt x="2777634" y="445387"/>
                  <a:pt x="2790313" y="434884"/>
                </a:cubicBezTo>
                <a:cubicBezTo>
                  <a:pt x="2802987" y="424383"/>
                  <a:pt x="2839201" y="418045"/>
                  <a:pt x="2876122" y="418045"/>
                </a:cubicBezTo>
                <a:close/>
                <a:moveTo>
                  <a:pt x="4808040" y="417864"/>
                </a:moveTo>
                <a:cubicBezTo>
                  <a:pt x="4849145" y="417683"/>
                  <a:pt x="4890972" y="426375"/>
                  <a:pt x="4900751" y="437783"/>
                </a:cubicBezTo>
                <a:cubicBezTo>
                  <a:pt x="4910529" y="449192"/>
                  <a:pt x="4884997" y="458064"/>
                  <a:pt x="4842263" y="458245"/>
                </a:cubicBezTo>
                <a:cubicBezTo>
                  <a:pt x="4798080" y="458245"/>
                  <a:pt x="4756975" y="449192"/>
                  <a:pt x="4748827" y="437603"/>
                </a:cubicBezTo>
                <a:cubicBezTo>
                  <a:pt x="4740679" y="426014"/>
                  <a:pt x="4766935" y="418046"/>
                  <a:pt x="4808040" y="417864"/>
                </a:cubicBezTo>
                <a:close/>
                <a:moveTo>
                  <a:pt x="3605322" y="416054"/>
                </a:moveTo>
                <a:lnTo>
                  <a:pt x="3528917" y="430313"/>
                </a:lnTo>
                <a:lnTo>
                  <a:pt x="3526735" y="429996"/>
                </a:lnTo>
                <a:lnTo>
                  <a:pt x="3526735" y="430720"/>
                </a:lnTo>
                <a:lnTo>
                  <a:pt x="3528917" y="430313"/>
                </a:lnTo>
                <a:lnTo>
                  <a:pt x="3554814" y="434077"/>
                </a:lnTo>
                <a:cubicBezTo>
                  <a:pt x="3563815" y="436985"/>
                  <a:pt x="3572328" y="441401"/>
                  <a:pt x="3579971" y="447199"/>
                </a:cubicBezTo>
                <a:cubicBezTo>
                  <a:pt x="3601292" y="438176"/>
                  <a:pt x="3624031" y="432967"/>
                  <a:pt x="3647151" y="431808"/>
                </a:cubicBezTo>
                <a:cubicBezTo>
                  <a:pt x="3637916" y="429454"/>
                  <a:pt x="3629044" y="427462"/>
                  <a:pt x="3621620" y="425108"/>
                </a:cubicBezTo>
                <a:cubicBezTo>
                  <a:pt x="3615919" y="422603"/>
                  <a:pt x="3610463" y="419572"/>
                  <a:pt x="3605322" y="416054"/>
                </a:cubicBezTo>
                <a:close/>
                <a:moveTo>
                  <a:pt x="2715889" y="415512"/>
                </a:moveTo>
                <a:cubicBezTo>
                  <a:pt x="2747215" y="415692"/>
                  <a:pt x="2765140" y="423116"/>
                  <a:pt x="2754095" y="431627"/>
                </a:cubicBezTo>
                <a:cubicBezTo>
                  <a:pt x="2727169" y="443570"/>
                  <a:pt x="2697873" y="449206"/>
                  <a:pt x="2668447" y="448104"/>
                </a:cubicBezTo>
                <a:cubicBezTo>
                  <a:pt x="2636031" y="448104"/>
                  <a:pt x="2618648" y="439956"/>
                  <a:pt x="2630783" y="431446"/>
                </a:cubicBezTo>
                <a:cubicBezTo>
                  <a:pt x="2657635" y="419958"/>
                  <a:pt x="2686699" y="414519"/>
                  <a:pt x="2715889" y="415512"/>
                </a:cubicBezTo>
                <a:close/>
                <a:moveTo>
                  <a:pt x="6101659" y="414242"/>
                </a:moveTo>
                <a:cubicBezTo>
                  <a:pt x="6123833" y="414328"/>
                  <a:pt x="6145829" y="418250"/>
                  <a:pt x="6166666" y="425831"/>
                </a:cubicBezTo>
                <a:cubicBezTo>
                  <a:pt x="6178436" y="431989"/>
                  <a:pt x="6168115" y="437240"/>
                  <a:pt x="6143850" y="436878"/>
                </a:cubicBezTo>
                <a:cubicBezTo>
                  <a:pt x="6121021" y="436962"/>
                  <a:pt x="6098374" y="432848"/>
                  <a:pt x="6077032" y="424746"/>
                </a:cubicBezTo>
                <a:cubicBezTo>
                  <a:pt x="6065987" y="418408"/>
                  <a:pt x="6077032" y="413701"/>
                  <a:pt x="6101659" y="414242"/>
                </a:cubicBezTo>
                <a:close/>
                <a:moveTo>
                  <a:pt x="2561976" y="413700"/>
                </a:moveTo>
                <a:cubicBezTo>
                  <a:pt x="2591490" y="413700"/>
                  <a:pt x="2605068" y="421305"/>
                  <a:pt x="2591666" y="429272"/>
                </a:cubicBezTo>
                <a:cubicBezTo>
                  <a:pt x="2565740" y="439711"/>
                  <a:pt x="2537945" y="444644"/>
                  <a:pt x="2510006" y="443758"/>
                </a:cubicBezTo>
                <a:cubicBezTo>
                  <a:pt x="2479400" y="443758"/>
                  <a:pt x="2465459" y="436154"/>
                  <a:pt x="2479222" y="428006"/>
                </a:cubicBezTo>
                <a:cubicBezTo>
                  <a:pt x="2505476" y="417445"/>
                  <a:pt x="2533690" y="412571"/>
                  <a:pt x="2561976" y="413700"/>
                </a:cubicBezTo>
                <a:close/>
                <a:moveTo>
                  <a:pt x="2407154" y="410440"/>
                </a:moveTo>
                <a:cubicBezTo>
                  <a:pt x="2436488" y="410621"/>
                  <a:pt x="2447173" y="416777"/>
                  <a:pt x="2433408" y="424563"/>
                </a:cubicBezTo>
                <a:cubicBezTo>
                  <a:pt x="2409110" y="434346"/>
                  <a:pt x="2382997" y="438854"/>
                  <a:pt x="2356814" y="437782"/>
                </a:cubicBezTo>
                <a:cubicBezTo>
                  <a:pt x="2327477" y="437782"/>
                  <a:pt x="2316614" y="431263"/>
                  <a:pt x="2331282" y="423295"/>
                </a:cubicBezTo>
                <a:cubicBezTo>
                  <a:pt x="2355455" y="413961"/>
                  <a:pt x="2381257" y="409590"/>
                  <a:pt x="2407154" y="410440"/>
                </a:cubicBezTo>
                <a:close/>
                <a:moveTo>
                  <a:pt x="5929997" y="408992"/>
                </a:moveTo>
                <a:cubicBezTo>
                  <a:pt x="5953751" y="408379"/>
                  <a:pt x="5977389" y="412503"/>
                  <a:pt x="5999531" y="421124"/>
                </a:cubicBezTo>
                <a:cubicBezTo>
                  <a:pt x="6013292" y="428367"/>
                  <a:pt x="6003333" y="433438"/>
                  <a:pt x="5975628" y="433257"/>
                </a:cubicBezTo>
                <a:cubicBezTo>
                  <a:pt x="5951662" y="433898"/>
                  <a:pt x="5927818" y="429647"/>
                  <a:pt x="5905551" y="420763"/>
                </a:cubicBezTo>
                <a:cubicBezTo>
                  <a:pt x="5892694" y="413701"/>
                  <a:pt x="5903015" y="408811"/>
                  <a:pt x="5929997" y="408992"/>
                </a:cubicBezTo>
                <a:close/>
                <a:moveTo>
                  <a:pt x="2250701" y="408628"/>
                </a:moveTo>
                <a:cubicBezTo>
                  <a:pt x="2278225" y="408628"/>
                  <a:pt x="2288184" y="414061"/>
                  <a:pt x="2274242" y="421485"/>
                </a:cubicBezTo>
                <a:cubicBezTo>
                  <a:pt x="2251861" y="430164"/>
                  <a:pt x="2227974" y="434228"/>
                  <a:pt x="2203982" y="433436"/>
                </a:cubicBezTo>
                <a:cubicBezTo>
                  <a:pt x="2175915" y="433436"/>
                  <a:pt x="2166319" y="427824"/>
                  <a:pt x="2181163" y="420398"/>
                </a:cubicBezTo>
                <a:cubicBezTo>
                  <a:pt x="2203383" y="412077"/>
                  <a:pt x="2226980" y="408081"/>
                  <a:pt x="2250701" y="408628"/>
                </a:cubicBezTo>
                <a:close/>
                <a:moveTo>
                  <a:pt x="2098777" y="406457"/>
                </a:moveTo>
                <a:cubicBezTo>
                  <a:pt x="2121049" y="407001"/>
                  <a:pt x="2129740" y="412615"/>
                  <a:pt x="2117609" y="418410"/>
                </a:cubicBezTo>
                <a:cubicBezTo>
                  <a:pt x="2095137" y="426141"/>
                  <a:pt x="2071488" y="429938"/>
                  <a:pt x="2047712" y="429635"/>
                </a:cubicBezTo>
                <a:cubicBezTo>
                  <a:pt x="2025803" y="429635"/>
                  <a:pt x="2017471" y="423478"/>
                  <a:pt x="2029604" y="417685"/>
                </a:cubicBezTo>
                <a:cubicBezTo>
                  <a:pt x="2051876" y="410111"/>
                  <a:pt x="2075254" y="406317"/>
                  <a:pt x="2098777" y="406457"/>
                </a:cubicBezTo>
                <a:close/>
                <a:moveTo>
                  <a:pt x="5765396" y="404826"/>
                </a:moveTo>
                <a:cubicBezTo>
                  <a:pt x="5790469" y="404427"/>
                  <a:pt x="5815377" y="408918"/>
                  <a:pt x="5838734" y="418045"/>
                </a:cubicBezTo>
                <a:cubicBezTo>
                  <a:pt x="5852496" y="425468"/>
                  <a:pt x="5838734" y="431807"/>
                  <a:pt x="5810123" y="431445"/>
                </a:cubicBezTo>
                <a:cubicBezTo>
                  <a:pt x="5784852" y="431924"/>
                  <a:pt x="5759736" y="427368"/>
                  <a:pt x="5736243" y="418045"/>
                </a:cubicBezTo>
                <a:cubicBezTo>
                  <a:pt x="5723386" y="410440"/>
                  <a:pt x="5736243" y="404646"/>
                  <a:pt x="5765396" y="404826"/>
                </a:cubicBezTo>
                <a:close/>
                <a:moveTo>
                  <a:pt x="1945403" y="403378"/>
                </a:moveTo>
                <a:cubicBezTo>
                  <a:pt x="1966408" y="403378"/>
                  <a:pt x="1975099" y="408087"/>
                  <a:pt x="1963509" y="413518"/>
                </a:cubicBezTo>
                <a:cubicBezTo>
                  <a:pt x="1943540" y="420461"/>
                  <a:pt x="1922535" y="423949"/>
                  <a:pt x="1901400" y="423839"/>
                </a:cubicBezTo>
                <a:cubicBezTo>
                  <a:pt x="1881302" y="423839"/>
                  <a:pt x="1873517" y="419132"/>
                  <a:pt x="1884198" y="413881"/>
                </a:cubicBezTo>
                <a:cubicBezTo>
                  <a:pt x="1903864" y="406967"/>
                  <a:pt x="1924561" y="403416"/>
                  <a:pt x="1945403" y="403378"/>
                </a:cubicBezTo>
                <a:close/>
                <a:moveTo>
                  <a:pt x="1787142" y="401929"/>
                </a:moveTo>
                <a:cubicBezTo>
                  <a:pt x="1805248" y="401929"/>
                  <a:pt x="1811766" y="405913"/>
                  <a:pt x="1800543" y="410620"/>
                </a:cubicBezTo>
                <a:cubicBezTo>
                  <a:pt x="1783028" y="416474"/>
                  <a:pt x="1764685" y="419472"/>
                  <a:pt x="1746218" y="419493"/>
                </a:cubicBezTo>
                <a:cubicBezTo>
                  <a:pt x="1728111" y="419493"/>
                  <a:pt x="1722496" y="414966"/>
                  <a:pt x="1734811" y="410259"/>
                </a:cubicBezTo>
                <a:cubicBezTo>
                  <a:pt x="1751740" y="404885"/>
                  <a:pt x="1769378" y="402079"/>
                  <a:pt x="1787142" y="401929"/>
                </a:cubicBezTo>
                <a:close/>
                <a:moveTo>
                  <a:pt x="5598987" y="400663"/>
                </a:moveTo>
                <a:cubicBezTo>
                  <a:pt x="5626351" y="400068"/>
                  <a:pt x="5653561" y="404931"/>
                  <a:pt x="5679024" y="414967"/>
                </a:cubicBezTo>
                <a:cubicBezTo>
                  <a:pt x="5692423" y="422753"/>
                  <a:pt x="5677393" y="429816"/>
                  <a:pt x="5647155" y="429816"/>
                </a:cubicBezTo>
                <a:cubicBezTo>
                  <a:pt x="5619781" y="430400"/>
                  <a:pt x="5592586" y="425280"/>
                  <a:pt x="5567298" y="414786"/>
                </a:cubicBezTo>
                <a:cubicBezTo>
                  <a:pt x="5556253" y="407362"/>
                  <a:pt x="5570920" y="400844"/>
                  <a:pt x="5598987" y="400663"/>
                </a:cubicBezTo>
                <a:close/>
                <a:moveTo>
                  <a:pt x="1639742" y="398671"/>
                </a:moveTo>
                <a:cubicBezTo>
                  <a:pt x="1654953" y="398671"/>
                  <a:pt x="1657852" y="402112"/>
                  <a:pt x="1648074" y="406094"/>
                </a:cubicBezTo>
                <a:cubicBezTo>
                  <a:pt x="1632701" y="411117"/>
                  <a:pt x="1616621" y="413622"/>
                  <a:pt x="1600449" y="413520"/>
                </a:cubicBezTo>
                <a:cubicBezTo>
                  <a:pt x="1585059" y="413520"/>
                  <a:pt x="1582343" y="410079"/>
                  <a:pt x="1592483" y="405914"/>
                </a:cubicBezTo>
                <a:cubicBezTo>
                  <a:pt x="1607768" y="401077"/>
                  <a:pt x="1623719" y="398635"/>
                  <a:pt x="1639742" y="398671"/>
                </a:cubicBezTo>
                <a:close/>
                <a:moveTo>
                  <a:pt x="1484736" y="397583"/>
                </a:moveTo>
                <a:cubicBezTo>
                  <a:pt x="1497773" y="397403"/>
                  <a:pt x="1501394" y="399937"/>
                  <a:pt x="1492884" y="403197"/>
                </a:cubicBezTo>
                <a:cubicBezTo>
                  <a:pt x="1480407" y="407167"/>
                  <a:pt x="1467405" y="409184"/>
                  <a:pt x="1454312" y="409173"/>
                </a:cubicBezTo>
                <a:cubicBezTo>
                  <a:pt x="1441457" y="409173"/>
                  <a:pt x="1438920" y="406456"/>
                  <a:pt x="1448519" y="403015"/>
                </a:cubicBezTo>
                <a:cubicBezTo>
                  <a:pt x="1460290" y="399610"/>
                  <a:pt x="1472475" y="397785"/>
                  <a:pt x="1484736" y="397583"/>
                </a:cubicBezTo>
                <a:close/>
                <a:moveTo>
                  <a:pt x="4414559" y="397402"/>
                </a:moveTo>
                <a:lnTo>
                  <a:pt x="4376171" y="407362"/>
                </a:lnTo>
                <a:lnTo>
                  <a:pt x="4416913" y="418951"/>
                </a:lnTo>
                <a:lnTo>
                  <a:pt x="4463269" y="408810"/>
                </a:lnTo>
                <a:close/>
                <a:moveTo>
                  <a:pt x="4568837" y="395592"/>
                </a:moveTo>
                <a:cubicBezTo>
                  <a:pt x="4553627" y="404284"/>
                  <a:pt x="4553627" y="404284"/>
                  <a:pt x="4517229" y="409898"/>
                </a:cubicBezTo>
                <a:cubicBezTo>
                  <a:pt x="4539240" y="410248"/>
                  <a:pt x="4560752" y="416500"/>
                  <a:pt x="4579520" y="428006"/>
                </a:cubicBezTo>
                <a:cubicBezTo>
                  <a:pt x="4588755" y="418951"/>
                  <a:pt x="4610304" y="414605"/>
                  <a:pt x="4640362" y="412613"/>
                </a:cubicBezTo>
                <a:cubicBezTo>
                  <a:pt x="4615612" y="411854"/>
                  <a:pt x="4591276" y="406063"/>
                  <a:pt x="4568837" y="395592"/>
                </a:cubicBezTo>
                <a:close/>
                <a:moveTo>
                  <a:pt x="4256840" y="395592"/>
                </a:moveTo>
                <a:lnTo>
                  <a:pt x="4227324" y="403016"/>
                </a:lnTo>
                <a:lnTo>
                  <a:pt x="4257926" y="413337"/>
                </a:lnTo>
                <a:lnTo>
                  <a:pt x="4294141" y="405552"/>
                </a:lnTo>
                <a:close/>
                <a:moveTo>
                  <a:pt x="5430766" y="395412"/>
                </a:moveTo>
                <a:cubicBezTo>
                  <a:pt x="5458638" y="394682"/>
                  <a:pt x="5486348" y="399866"/>
                  <a:pt x="5512070" y="410623"/>
                </a:cubicBezTo>
                <a:cubicBezTo>
                  <a:pt x="5524746" y="418771"/>
                  <a:pt x="5508448" y="426195"/>
                  <a:pt x="5475854" y="426195"/>
                </a:cubicBezTo>
                <a:cubicBezTo>
                  <a:pt x="5447118" y="427354"/>
                  <a:pt x="5418497" y="421902"/>
                  <a:pt x="5392197" y="410260"/>
                </a:cubicBezTo>
                <a:cubicBezTo>
                  <a:pt x="5381694" y="402112"/>
                  <a:pt x="5399440" y="395412"/>
                  <a:pt x="5430766" y="395412"/>
                </a:cubicBezTo>
                <a:close/>
                <a:moveTo>
                  <a:pt x="1337873" y="394505"/>
                </a:moveTo>
                <a:cubicBezTo>
                  <a:pt x="1346201" y="395048"/>
                  <a:pt x="1348014" y="396858"/>
                  <a:pt x="1341856" y="398670"/>
                </a:cubicBezTo>
                <a:cubicBezTo>
                  <a:pt x="1332911" y="401318"/>
                  <a:pt x="1323658" y="402722"/>
                  <a:pt x="1314332" y="402836"/>
                </a:cubicBezTo>
                <a:cubicBezTo>
                  <a:pt x="1304374" y="402836"/>
                  <a:pt x="1302381" y="400843"/>
                  <a:pt x="1310168" y="398307"/>
                </a:cubicBezTo>
                <a:cubicBezTo>
                  <a:pt x="1319204" y="395893"/>
                  <a:pt x="1328510" y="394615"/>
                  <a:pt x="1337873" y="394505"/>
                </a:cubicBezTo>
                <a:close/>
                <a:moveTo>
                  <a:pt x="6691608" y="393781"/>
                </a:moveTo>
                <a:cubicBezTo>
                  <a:pt x="6703904" y="393897"/>
                  <a:pt x="6716126" y="395539"/>
                  <a:pt x="6728004" y="398670"/>
                </a:cubicBezTo>
                <a:cubicBezTo>
                  <a:pt x="6736154" y="401387"/>
                  <a:pt x="6733618" y="404284"/>
                  <a:pt x="6723478" y="404465"/>
                </a:cubicBezTo>
                <a:cubicBezTo>
                  <a:pt x="6711925" y="404130"/>
                  <a:pt x="6700463" y="402550"/>
                  <a:pt x="6689254" y="399756"/>
                </a:cubicBezTo>
                <a:cubicBezTo>
                  <a:pt x="6680563" y="397041"/>
                  <a:pt x="6681831" y="393961"/>
                  <a:pt x="6691608" y="393781"/>
                </a:cubicBezTo>
                <a:close/>
                <a:moveTo>
                  <a:pt x="4100570" y="393600"/>
                </a:moveTo>
                <a:lnTo>
                  <a:pt x="4071054" y="400482"/>
                </a:lnTo>
                <a:lnTo>
                  <a:pt x="4092059" y="406457"/>
                </a:lnTo>
                <a:lnTo>
                  <a:pt x="4121031" y="400119"/>
                </a:lnTo>
                <a:close/>
                <a:moveTo>
                  <a:pt x="5272323" y="391789"/>
                </a:moveTo>
                <a:cubicBezTo>
                  <a:pt x="5300410" y="390450"/>
                  <a:pt x="5328395" y="396047"/>
                  <a:pt x="5353809" y="408087"/>
                </a:cubicBezTo>
                <a:cubicBezTo>
                  <a:pt x="5365579" y="416779"/>
                  <a:pt x="5347471" y="424202"/>
                  <a:pt x="5311436" y="424022"/>
                </a:cubicBezTo>
                <a:cubicBezTo>
                  <a:pt x="5275220" y="424022"/>
                  <a:pt x="5239005" y="416959"/>
                  <a:pt x="5228320" y="407724"/>
                </a:cubicBezTo>
                <a:cubicBezTo>
                  <a:pt x="5217638" y="398488"/>
                  <a:pt x="5236107" y="391608"/>
                  <a:pt x="5272323" y="391789"/>
                </a:cubicBezTo>
                <a:close/>
                <a:moveTo>
                  <a:pt x="3939412" y="389254"/>
                </a:moveTo>
                <a:lnTo>
                  <a:pt x="3904101" y="395412"/>
                </a:lnTo>
                <a:lnTo>
                  <a:pt x="3930357" y="404284"/>
                </a:lnTo>
                <a:lnTo>
                  <a:pt x="3962046" y="397041"/>
                </a:lnTo>
                <a:close/>
                <a:moveTo>
                  <a:pt x="6521758" y="387987"/>
                </a:moveTo>
                <a:cubicBezTo>
                  <a:pt x="6536897" y="388257"/>
                  <a:pt x="6551926" y="390509"/>
                  <a:pt x="6566485" y="394686"/>
                </a:cubicBezTo>
                <a:cubicBezTo>
                  <a:pt x="6575901" y="397946"/>
                  <a:pt x="6572099" y="401568"/>
                  <a:pt x="6558698" y="401749"/>
                </a:cubicBezTo>
                <a:cubicBezTo>
                  <a:pt x="6543488" y="401539"/>
                  <a:pt x="6528368" y="399224"/>
                  <a:pt x="6513791" y="394869"/>
                </a:cubicBezTo>
                <a:cubicBezTo>
                  <a:pt x="6504557" y="391608"/>
                  <a:pt x="6508540" y="388167"/>
                  <a:pt x="6521758" y="387987"/>
                </a:cubicBezTo>
                <a:close/>
                <a:moveTo>
                  <a:pt x="3393282" y="386357"/>
                </a:moveTo>
                <a:cubicBezTo>
                  <a:pt x="3434928" y="386357"/>
                  <a:pt x="3460279" y="394324"/>
                  <a:pt x="3453399" y="405008"/>
                </a:cubicBezTo>
                <a:cubicBezTo>
                  <a:pt x="3446337" y="416054"/>
                  <a:pt x="3408492" y="424382"/>
                  <a:pt x="3365213" y="424202"/>
                </a:cubicBezTo>
                <a:cubicBezTo>
                  <a:pt x="3321935" y="424021"/>
                  <a:pt x="3296947" y="415510"/>
                  <a:pt x="3305639" y="404465"/>
                </a:cubicBezTo>
                <a:cubicBezTo>
                  <a:pt x="3314331" y="393419"/>
                  <a:pt x="3351632" y="386357"/>
                  <a:pt x="3393282" y="386357"/>
                </a:cubicBezTo>
                <a:close/>
                <a:moveTo>
                  <a:pt x="5108992" y="386177"/>
                </a:moveTo>
                <a:cubicBezTo>
                  <a:pt x="5143576" y="386177"/>
                  <a:pt x="5185044" y="393963"/>
                  <a:pt x="5195365" y="403197"/>
                </a:cubicBezTo>
                <a:cubicBezTo>
                  <a:pt x="5205686" y="412432"/>
                  <a:pt x="5184320" y="420763"/>
                  <a:pt x="5148466" y="420763"/>
                </a:cubicBezTo>
                <a:cubicBezTo>
                  <a:pt x="5111345" y="420763"/>
                  <a:pt x="5070603" y="412432"/>
                  <a:pt x="5061368" y="402655"/>
                </a:cubicBezTo>
                <a:cubicBezTo>
                  <a:pt x="5052133" y="392876"/>
                  <a:pt x="5074406" y="386177"/>
                  <a:pt x="5108992" y="386177"/>
                </a:cubicBezTo>
                <a:close/>
                <a:moveTo>
                  <a:pt x="3234113" y="384365"/>
                </a:moveTo>
                <a:cubicBezTo>
                  <a:pt x="3271233" y="384365"/>
                  <a:pt x="3297852" y="392513"/>
                  <a:pt x="3290790" y="402472"/>
                </a:cubicBezTo>
                <a:cubicBezTo>
                  <a:pt x="3283729" y="412432"/>
                  <a:pt x="3242444" y="420580"/>
                  <a:pt x="3203873" y="420580"/>
                </a:cubicBezTo>
                <a:cubicBezTo>
                  <a:pt x="3165304" y="420580"/>
                  <a:pt x="3139048" y="411888"/>
                  <a:pt x="3147740" y="402472"/>
                </a:cubicBezTo>
                <a:cubicBezTo>
                  <a:pt x="3156431" y="393056"/>
                  <a:pt x="3196993" y="384365"/>
                  <a:pt x="3234113" y="384365"/>
                </a:cubicBezTo>
                <a:close/>
                <a:moveTo>
                  <a:pt x="6357884" y="383821"/>
                </a:moveTo>
                <a:cubicBezTo>
                  <a:pt x="6375319" y="383988"/>
                  <a:pt x="6392642" y="386670"/>
                  <a:pt x="6409311" y="391788"/>
                </a:cubicBezTo>
                <a:cubicBezTo>
                  <a:pt x="6420717" y="396134"/>
                  <a:pt x="6414198" y="400480"/>
                  <a:pt x="6396454" y="400119"/>
                </a:cubicBezTo>
                <a:cubicBezTo>
                  <a:pt x="6379051" y="399908"/>
                  <a:pt x="6361780" y="397102"/>
                  <a:pt x="6345208" y="391788"/>
                </a:cubicBezTo>
                <a:cubicBezTo>
                  <a:pt x="6335792" y="387623"/>
                  <a:pt x="6341949" y="383821"/>
                  <a:pt x="6357884" y="383821"/>
                </a:cubicBezTo>
                <a:close/>
                <a:moveTo>
                  <a:pt x="4952903" y="382373"/>
                </a:moveTo>
                <a:cubicBezTo>
                  <a:pt x="4990206" y="382373"/>
                  <a:pt x="5029319" y="391064"/>
                  <a:pt x="5038915" y="400480"/>
                </a:cubicBezTo>
                <a:cubicBezTo>
                  <a:pt x="5049056" y="410620"/>
                  <a:pt x="5023885" y="418588"/>
                  <a:pt x="4984592" y="418588"/>
                </a:cubicBezTo>
                <a:cubicBezTo>
                  <a:pt x="4945298" y="418588"/>
                  <a:pt x="4906910" y="409896"/>
                  <a:pt x="4898579" y="400480"/>
                </a:cubicBezTo>
                <a:cubicBezTo>
                  <a:pt x="4890251" y="391064"/>
                  <a:pt x="4915602" y="382373"/>
                  <a:pt x="4952903" y="382373"/>
                </a:cubicBezTo>
                <a:close/>
                <a:moveTo>
                  <a:pt x="3786763" y="382011"/>
                </a:moveTo>
                <a:lnTo>
                  <a:pt x="3735517" y="392514"/>
                </a:lnTo>
                <a:lnTo>
                  <a:pt x="3773181" y="403740"/>
                </a:lnTo>
                <a:lnTo>
                  <a:pt x="3820805" y="394324"/>
                </a:lnTo>
                <a:close/>
                <a:moveTo>
                  <a:pt x="3084906" y="380563"/>
                </a:moveTo>
                <a:cubicBezTo>
                  <a:pt x="3121304" y="380563"/>
                  <a:pt x="3142670" y="388350"/>
                  <a:pt x="3133798" y="398670"/>
                </a:cubicBezTo>
                <a:cubicBezTo>
                  <a:pt x="3124201" y="408087"/>
                  <a:pt x="3086174" y="415873"/>
                  <a:pt x="3048329" y="415691"/>
                </a:cubicBezTo>
                <a:cubicBezTo>
                  <a:pt x="3010484" y="415510"/>
                  <a:pt x="2989479" y="407725"/>
                  <a:pt x="3000344" y="397583"/>
                </a:cubicBezTo>
                <a:cubicBezTo>
                  <a:pt x="3011209" y="387445"/>
                  <a:pt x="3048510" y="380563"/>
                  <a:pt x="3084906" y="380563"/>
                </a:cubicBezTo>
                <a:close/>
                <a:moveTo>
                  <a:pt x="2932438" y="379114"/>
                </a:moveTo>
                <a:cubicBezTo>
                  <a:pt x="2968111" y="379114"/>
                  <a:pt x="2987124" y="385633"/>
                  <a:pt x="2976803" y="394866"/>
                </a:cubicBezTo>
                <a:cubicBezTo>
                  <a:pt x="2966300" y="404102"/>
                  <a:pt x="2931172" y="411164"/>
                  <a:pt x="2894412" y="410984"/>
                </a:cubicBezTo>
                <a:cubicBezTo>
                  <a:pt x="2857675" y="410801"/>
                  <a:pt x="2840109" y="403741"/>
                  <a:pt x="2852422" y="394325"/>
                </a:cubicBezTo>
                <a:cubicBezTo>
                  <a:pt x="2877443" y="382808"/>
                  <a:pt x="2904918" y="377588"/>
                  <a:pt x="2932438" y="379114"/>
                </a:cubicBezTo>
                <a:close/>
                <a:moveTo>
                  <a:pt x="6191293" y="378571"/>
                </a:moveTo>
                <a:cubicBezTo>
                  <a:pt x="6210969" y="378464"/>
                  <a:pt x="6230533" y="381523"/>
                  <a:pt x="6249238" y="387625"/>
                </a:cubicBezTo>
                <a:cubicBezTo>
                  <a:pt x="6261371" y="392515"/>
                  <a:pt x="6254852" y="397041"/>
                  <a:pt x="6235295" y="397222"/>
                </a:cubicBezTo>
                <a:cubicBezTo>
                  <a:pt x="6215442" y="397138"/>
                  <a:pt x="6195719" y="394024"/>
                  <a:pt x="6176807" y="387986"/>
                </a:cubicBezTo>
                <a:cubicBezTo>
                  <a:pt x="6165398" y="383099"/>
                  <a:pt x="6172098" y="378753"/>
                  <a:pt x="6191293" y="378571"/>
                </a:cubicBezTo>
                <a:close/>
                <a:moveTo>
                  <a:pt x="4794822" y="378027"/>
                </a:moveTo>
                <a:cubicBezTo>
                  <a:pt x="4835747" y="378027"/>
                  <a:pt x="4872504" y="385994"/>
                  <a:pt x="4881015" y="396135"/>
                </a:cubicBezTo>
                <a:cubicBezTo>
                  <a:pt x="4890431" y="406819"/>
                  <a:pt x="4864719" y="415328"/>
                  <a:pt x="4822346" y="414243"/>
                </a:cubicBezTo>
                <a:cubicBezTo>
                  <a:pt x="4779975" y="413155"/>
                  <a:pt x="4743396" y="405731"/>
                  <a:pt x="4735792" y="396135"/>
                </a:cubicBezTo>
                <a:cubicBezTo>
                  <a:pt x="4728186" y="386538"/>
                  <a:pt x="4753900" y="378027"/>
                  <a:pt x="4794822" y="378027"/>
                </a:cubicBezTo>
                <a:close/>
                <a:moveTo>
                  <a:pt x="2783796" y="375673"/>
                </a:moveTo>
                <a:cubicBezTo>
                  <a:pt x="2815121" y="375493"/>
                  <a:pt x="2834858" y="382555"/>
                  <a:pt x="2824356" y="390522"/>
                </a:cubicBezTo>
                <a:cubicBezTo>
                  <a:pt x="2798843" y="401775"/>
                  <a:pt x="2771103" y="407039"/>
                  <a:pt x="2743234" y="405913"/>
                </a:cubicBezTo>
                <a:cubicBezTo>
                  <a:pt x="2711187" y="405913"/>
                  <a:pt x="2693076" y="398307"/>
                  <a:pt x="2705390" y="390159"/>
                </a:cubicBezTo>
                <a:cubicBezTo>
                  <a:pt x="2730232" y="379922"/>
                  <a:pt x="2756939" y="374987"/>
                  <a:pt x="2783796" y="375673"/>
                </a:cubicBezTo>
                <a:close/>
                <a:moveTo>
                  <a:pt x="6031039" y="374949"/>
                </a:moveTo>
                <a:cubicBezTo>
                  <a:pt x="6052326" y="374438"/>
                  <a:pt x="6073521" y="377939"/>
                  <a:pt x="6093511" y="385270"/>
                </a:cubicBezTo>
                <a:cubicBezTo>
                  <a:pt x="6105824" y="391064"/>
                  <a:pt x="6098400" y="395230"/>
                  <a:pt x="6075403" y="395230"/>
                </a:cubicBezTo>
                <a:cubicBezTo>
                  <a:pt x="6053921" y="395790"/>
                  <a:pt x="6032528" y="392224"/>
                  <a:pt x="6012388" y="384726"/>
                </a:cubicBezTo>
                <a:cubicBezTo>
                  <a:pt x="6000618" y="378932"/>
                  <a:pt x="6008222" y="374949"/>
                  <a:pt x="6031039" y="374949"/>
                </a:cubicBezTo>
                <a:close/>
                <a:moveTo>
                  <a:pt x="2633677" y="374044"/>
                </a:moveTo>
                <a:cubicBezTo>
                  <a:pt x="2664103" y="373863"/>
                  <a:pt x="2680218" y="380562"/>
                  <a:pt x="2669355" y="387625"/>
                </a:cubicBezTo>
                <a:cubicBezTo>
                  <a:pt x="2645108" y="398145"/>
                  <a:pt x="2618795" y="403035"/>
                  <a:pt x="2592394" y="401929"/>
                </a:cubicBezTo>
                <a:cubicBezTo>
                  <a:pt x="2561249" y="401929"/>
                  <a:pt x="2546582" y="395410"/>
                  <a:pt x="2559261" y="387442"/>
                </a:cubicBezTo>
                <a:cubicBezTo>
                  <a:pt x="2582867" y="377876"/>
                  <a:pt x="2608220" y="373314"/>
                  <a:pt x="2633677" y="374044"/>
                </a:cubicBezTo>
                <a:close/>
                <a:moveTo>
                  <a:pt x="2489001" y="371145"/>
                </a:moveTo>
                <a:cubicBezTo>
                  <a:pt x="2517248" y="371327"/>
                  <a:pt x="2528836" y="376578"/>
                  <a:pt x="2516523" y="383821"/>
                </a:cubicBezTo>
                <a:cubicBezTo>
                  <a:pt x="2493599" y="393308"/>
                  <a:pt x="2468885" y="397635"/>
                  <a:pt x="2444093" y="396496"/>
                </a:cubicBezTo>
                <a:cubicBezTo>
                  <a:pt x="2413671" y="396496"/>
                  <a:pt x="2402262" y="390701"/>
                  <a:pt x="2416568" y="382916"/>
                </a:cubicBezTo>
                <a:cubicBezTo>
                  <a:pt x="2439675" y="374139"/>
                  <a:pt x="2464301" y="370135"/>
                  <a:pt x="2489001" y="371145"/>
                </a:cubicBezTo>
                <a:close/>
                <a:moveTo>
                  <a:pt x="5862094" y="369698"/>
                </a:moveTo>
                <a:cubicBezTo>
                  <a:pt x="5884968" y="369123"/>
                  <a:pt x="5907747" y="372806"/>
                  <a:pt x="5929273" y="380562"/>
                </a:cubicBezTo>
                <a:cubicBezTo>
                  <a:pt x="5942854" y="387081"/>
                  <a:pt x="5933618" y="392151"/>
                  <a:pt x="5907726" y="392151"/>
                </a:cubicBezTo>
                <a:cubicBezTo>
                  <a:pt x="5884850" y="392697"/>
                  <a:pt x="5862088" y="388760"/>
                  <a:pt x="5840726" y="380562"/>
                </a:cubicBezTo>
                <a:cubicBezTo>
                  <a:pt x="5829318" y="374405"/>
                  <a:pt x="5838372" y="369878"/>
                  <a:pt x="5862094" y="369698"/>
                </a:cubicBezTo>
                <a:close/>
                <a:moveTo>
                  <a:pt x="2333090" y="368974"/>
                </a:moveTo>
                <a:cubicBezTo>
                  <a:pt x="2358080" y="369154"/>
                  <a:pt x="2370395" y="374405"/>
                  <a:pt x="2359710" y="380563"/>
                </a:cubicBezTo>
                <a:cubicBezTo>
                  <a:pt x="2337943" y="388939"/>
                  <a:pt x="2314766" y="392999"/>
                  <a:pt x="2291444" y="392513"/>
                </a:cubicBezTo>
                <a:cubicBezTo>
                  <a:pt x="2265911" y="392513"/>
                  <a:pt x="2253779" y="387262"/>
                  <a:pt x="2265369" y="380924"/>
                </a:cubicBezTo>
                <a:cubicBezTo>
                  <a:pt x="2286988" y="372717"/>
                  <a:pt x="2309970" y="368660"/>
                  <a:pt x="2333090" y="368974"/>
                </a:cubicBezTo>
                <a:close/>
                <a:moveTo>
                  <a:pt x="2188591" y="366257"/>
                </a:moveTo>
                <a:cubicBezTo>
                  <a:pt x="2210686" y="366257"/>
                  <a:pt x="2221007" y="371690"/>
                  <a:pt x="2209238" y="377122"/>
                </a:cubicBezTo>
                <a:cubicBezTo>
                  <a:pt x="2188826" y="384028"/>
                  <a:pt x="2167405" y="387515"/>
                  <a:pt x="2145859" y="387443"/>
                </a:cubicBezTo>
                <a:cubicBezTo>
                  <a:pt x="2123221" y="387443"/>
                  <a:pt x="2113445" y="382011"/>
                  <a:pt x="2125756" y="376397"/>
                </a:cubicBezTo>
                <a:cubicBezTo>
                  <a:pt x="2146020" y="369650"/>
                  <a:pt x="2167245" y="366224"/>
                  <a:pt x="2188591" y="366257"/>
                </a:cubicBezTo>
                <a:close/>
                <a:moveTo>
                  <a:pt x="5704736" y="366076"/>
                </a:moveTo>
                <a:cubicBezTo>
                  <a:pt x="5729454" y="365395"/>
                  <a:pt x="5754063" y="369578"/>
                  <a:pt x="5777167" y="378389"/>
                </a:cubicBezTo>
                <a:cubicBezTo>
                  <a:pt x="5788395" y="385089"/>
                  <a:pt x="5775899" y="390703"/>
                  <a:pt x="5748919" y="390520"/>
                </a:cubicBezTo>
                <a:cubicBezTo>
                  <a:pt x="5724785" y="391062"/>
                  <a:pt x="5700784" y="386817"/>
                  <a:pt x="5678300" y="378026"/>
                </a:cubicBezTo>
                <a:cubicBezTo>
                  <a:pt x="5666891" y="371507"/>
                  <a:pt x="5678300" y="366076"/>
                  <a:pt x="5704736" y="366076"/>
                </a:cubicBezTo>
                <a:close/>
                <a:moveTo>
                  <a:pt x="2038475" y="364809"/>
                </a:moveTo>
                <a:cubicBezTo>
                  <a:pt x="2059482" y="364447"/>
                  <a:pt x="2068899" y="368793"/>
                  <a:pt x="2058935" y="373681"/>
                </a:cubicBezTo>
                <a:cubicBezTo>
                  <a:pt x="2040268" y="380289"/>
                  <a:pt x="2020603" y="383597"/>
                  <a:pt x="2000811" y="383460"/>
                </a:cubicBezTo>
                <a:cubicBezTo>
                  <a:pt x="1980166" y="383460"/>
                  <a:pt x="1972020" y="378933"/>
                  <a:pt x="1982705" y="373863"/>
                </a:cubicBezTo>
                <a:cubicBezTo>
                  <a:pt x="2000704" y="367907"/>
                  <a:pt x="2019518" y="364850"/>
                  <a:pt x="2038475" y="364809"/>
                </a:cubicBezTo>
                <a:close/>
                <a:moveTo>
                  <a:pt x="1897962" y="361911"/>
                </a:moveTo>
                <a:cubicBezTo>
                  <a:pt x="1914803" y="362454"/>
                  <a:pt x="1920775" y="365532"/>
                  <a:pt x="1911360" y="369878"/>
                </a:cubicBezTo>
                <a:cubicBezTo>
                  <a:pt x="1895045" y="375454"/>
                  <a:pt x="1877898" y="378268"/>
                  <a:pt x="1860660" y="378209"/>
                </a:cubicBezTo>
                <a:cubicBezTo>
                  <a:pt x="1841283" y="378209"/>
                  <a:pt x="1835307" y="374407"/>
                  <a:pt x="1847077" y="369698"/>
                </a:cubicBezTo>
                <a:cubicBezTo>
                  <a:pt x="1863537" y="364489"/>
                  <a:pt x="1880703" y="361861"/>
                  <a:pt x="1897962" y="361911"/>
                </a:cubicBezTo>
                <a:close/>
                <a:moveTo>
                  <a:pt x="5545027" y="361006"/>
                </a:moveTo>
                <a:cubicBezTo>
                  <a:pt x="5570826" y="360463"/>
                  <a:pt x="5596502" y="364763"/>
                  <a:pt x="5620716" y="373683"/>
                </a:cubicBezTo>
                <a:cubicBezTo>
                  <a:pt x="5633393" y="380926"/>
                  <a:pt x="5618907" y="387444"/>
                  <a:pt x="5590295" y="387444"/>
                </a:cubicBezTo>
                <a:cubicBezTo>
                  <a:pt x="5564460" y="388163"/>
                  <a:pt x="5538753" y="383538"/>
                  <a:pt x="5514787" y="373863"/>
                </a:cubicBezTo>
                <a:cubicBezTo>
                  <a:pt x="5504285" y="367164"/>
                  <a:pt x="5518408" y="361187"/>
                  <a:pt x="5545027" y="361006"/>
                </a:cubicBezTo>
                <a:close/>
                <a:moveTo>
                  <a:pt x="1752733" y="360643"/>
                </a:moveTo>
                <a:cubicBezTo>
                  <a:pt x="1766497" y="361006"/>
                  <a:pt x="1769937" y="363904"/>
                  <a:pt x="1759438" y="367886"/>
                </a:cubicBezTo>
                <a:cubicBezTo>
                  <a:pt x="1744988" y="372211"/>
                  <a:pt x="1729975" y="374287"/>
                  <a:pt x="1714889" y="374044"/>
                </a:cubicBezTo>
                <a:cubicBezTo>
                  <a:pt x="1698774" y="374044"/>
                  <a:pt x="1695877" y="370603"/>
                  <a:pt x="1708373" y="366438"/>
                </a:cubicBezTo>
                <a:cubicBezTo>
                  <a:pt x="1722766" y="362221"/>
                  <a:pt x="1737741" y="360267"/>
                  <a:pt x="1752733" y="360643"/>
                </a:cubicBezTo>
                <a:close/>
                <a:moveTo>
                  <a:pt x="1601529" y="358109"/>
                </a:moveTo>
                <a:cubicBezTo>
                  <a:pt x="1613300" y="357929"/>
                  <a:pt x="1616920" y="360282"/>
                  <a:pt x="1608954" y="363360"/>
                </a:cubicBezTo>
                <a:cubicBezTo>
                  <a:pt x="1597219" y="366969"/>
                  <a:pt x="1585016" y="368740"/>
                  <a:pt x="1572739" y="368613"/>
                </a:cubicBezTo>
                <a:cubicBezTo>
                  <a:pt x="1561692" y="368613"/>
                  <a:pt x="1558433" y="366440"/>
                  <a:pt x="1565313" y="363543"/>
                </a:cubicBezTo>
                <a:cubicBezTo>
                  <a:pt x="1577047" y="359898"/>
                  <a:pt x="1589252" y="358065"/>
                  <a:pt x="1601529" y="358109"/>
                </a:cubicBezTo>
                <a:close/>
                <a:moveTo>
                  <a:pt x="5390929" y="357746"/>
                </a:moveTo>
                <a:cubicBezTo>
                  <a:pt x="5417102" y="356411"/>
                  <a:pt x="5443234" y="361056"/>
                  <a:pt x="5467345" y="371327"/>
                </a:cubicBezTo>
                <a:cubicBezTo>
                  <a:pt x="5479839" y="379475"/>
                  <a:pt x="5464990" y="385450"/>
                  <a:pt x="5431130" y="385450"/>
                </a:cubicBezTo>
                <a:cubicBezTo>
                  <a:pt x="5405305" y="386556"/>
                  <a:pt x="5379565" y="381853"/>
                  <a:pt x="5355801" y="371688"/>
                </a:cubicBezTo>
                <a:cubicBezTo>
                  <a:pt x="5344573" y="363721"/>
                  <a:pt x="5359240" y="357746"/>
                  <a:pt x="5390929" y="357746"/>
                </a:cubicBezTo>
                <a:close/>
                <a:moveTo>
                  <a:pt x="4562319" y="356841"/>
                </a:moveTo>
                <a:cubicBezTo>
                  <a:pt x="4546488" y="366319"/>
                  <a:pt x="4528240" y="370975"/>
                  <a:pt x="4509805" y="370241"/>
                </a:cubicBezTo>
                <a:cubicBezTo>
                  <a:pt x="4521938" y="372595"/>
                  <a:pt x="4535337" y="374587"/>
                  <a:pt x="4546021" y="377304"/>
                </a:cubicBezTo>
                <a:cubicBezTo>
                  <a:pt x="4554138" y="380026"/>
                  <a:pt x="4562064" y="383294"/>
                  <a:pt x="4569742" y="387081"/>
                </a:cubicBezTo>
                <a:cubicBezTo>
                  <a:pt x="4579158" y="378752"/>
                  <a:pt x="4602517" y="374587"/>
                  <a:pt x="4635111" y="374044"/>
                </a:cubicBezTo>
                <a:cubicBezTo>
                  <a:pt x="4619720" y="371690"/>
                  <a:pt x="4603422" y="369878"/>
                  <a:pt x="4591472" y="367164"/>
                </a:cubicBezTo>
                <a:cubicBezTo>
                  <a:pt x="4581558" y="364304"/>
                  <a:pt x="4571822" y="360858"/>
                  <a:pt x="4562319" y="356841"/>
                </a:cubicBezTo>
                <a:close/>
                <a:moveTo>
                  <a:pt x="4413835" y="356841"/>
                </a:moveTo>
                <a:lnTo>
                  <a:pt x="4371281" y="367344"/>
                </a:lnTo>
                <a:lnTo>
                  <a:pt x="4413835" y="378570"/>
                </a:lnTo>
                <a:cubicBezTo>
                  <a:pt x="4430101" y="372728"/>
                  <a:pt x="4447252" y="369724"/>
                  <a:pt x="4464537" y="369698"/>
                </a:cubicBezTo>
                <a:close/>
                <a:moveTo>
                  <a:pt x="1456657" y="356841"/>
                </a:moveTo>
                <a:cubicBezTo>
                  <a:pt x="1464263" y="357021"/>
                  <a:pt x="1465712" y="358833"/>
                  <a:pt x="1459735" y="360825"/>
                </a:cubicBezTo>
                <a:cubicBezTo>
                  <a:pt x="1451243" y="363234"/>
                  <a:pt x="1442479" y="364512"/>
                  <a:pt x="1433659" y="364628"/>
                </a:cubicBezTo>
                <a:cubicBezTo>
                  <a:pt x="1425511" y="364628"/>
                  <a:pt x="1422977" y="362816"/>
                  <a:pt x="1428409" y="360825"/>
                </a:cubicBezTo>
                <a:cubicBezTo>
                  <a:pt x="1437589" y="358156"/>
                  <a:pt x="1447096" y="356814"/>
                  <a:pt x="1456657" y="356841"/>
                </a:cubicBezTo>
                <a:close/>
                <a:moveTo>
                  <a:pt x="6603426" y="355936"/>
                </a:moveTo>
                <a:cubicBezTo>
                  <a:pt x="6614199" y="356131"/>
                  <a:pt x="6624900" y="357652"/>
                  <a:pt x="6635295" y="360462"/>
                </a:cubicBezTo>
                <a:cubicBezTo>
                  <a:pt x="6642175" y="362635"/>
                  <a:pt x="6640546" y="365171"/>
                  <a:pt x="6631854" y="365352"/>
                </a:cubicBezTo>
                <a:cubicBezTo>
                  <a:pt x="6620229" y="365384"/>
                  <a:pt x="6608640" y="363800"/>
                  <a:pt x="6597450" y="360645"/>
                </a:cubicBezTo>
                <a:cubicBezTo>
                  <a:pt x="6591473" y="358289"/>
                  <a:pt x="6594553" y="356116"/>
                  <a:pt x="6603426" y="355936"/>
                </a:cubicBezTo>
                <a:close/>
                <a:moveTo>
                  <a:pt x="4260823" y="354307"/>
                </a:moveTo>
                <a:lnTo>
                  <a:pt x="4226780" y="363723"/>
                </a:lnTo>
                <a:lnTo>
                  <a:pt x="4262091" y="373682"/>
                </a:lnTo>
                <a:lnTo>
                  <a:pt x="4299211" y="366439"/>
                </a:lnTo>
                <a:close/>
                <a:moveTo>
                  <a:pt x="4108537" y="352858"/>
                </a:moveTo>
                <a:lnTo>
                  <a:pt x="4080470" y="361369"/>
                </a:lnTo>
                <a:lnTo>
                  <a:pt x="4106364" y="368068"/>
                </a:lnTo>
                <a:lnTo>
                  <a:pt x="4138053" y="361730"/>
                </a:lnTo>
                <a:close/>
                <a:moveTo>
                  <a:pt x="5235744" y="352857"/>
                </a:moveTo>
                <a:cubicBezTo>
                  <a:pt x="5262705" y="351596"/>
                  <a:pt x="5289594" y="356552"/>
                  <a:pt x="5314333" y="367343"/>
                </a:cubicBezTo>
                <a:cubicBezTo>
                  <a:pt x="5325741" y="375491"/>
                  <a:pt x="5308358" y="382192"/>
                  <a:pt x="5274676" y="382192"/>
                </a:cubicBezTo>
                <a:cubicBezTo>
                  <a:pt x="5247430" y="383700"/>
                  <a:pt x="5220222" y="378607"/>
                  <a:pt x="5195366" y="367343"/>
                </a:cubicBezTo>
                <a:cubicBezTo>
                  <a:pt x="5185225" y="359195"/>
                  <a:pt x="5203151" y="352857"/>
                  <a:pt x="5235744" y="352857"/>
                </a:cubicBezTo>
                <a:close/>
                <a:moveTo>
                  <a:pt x="6441360" y="350683"/>
                </a:moveTo>
                <a:cubicBezTo>
                  <a:pt x="6455285" y="350843"/>
                  <a:pt x="6469137" y="352976"/>
                  <a:pt x="6482465" y="357021"/>
                </a:cubicBezTo>
                <a:cubicBezTo>
                  <a:pt x="6489889" y="360099"/>
                  <a:pt x="6483914" y="363177"/>
                  <a:pt x="6470876" y="362996"/>
                </a:cubicBezTo>
                <a:cubicBezTo>
                  <a:pt x="6457567" y="362538"/>
                  <a:pt x="6444366" y="360409"/>
                  <a:pt x="6431581" y="356658"/>
                </a:cubicBezTo>
                <a:cubicBezTo>
                  <a:pt x="6423433" y="353580"/>
                  <a:pt x="6428322" y="350503"/>
                  <a:pt x="6441360" y="350683"/>
                </a:cubicBezTo>
                <a:close/>
                <a:moveTo>
                  <a:pt x="5078571" y="349236"/>
                </a:moveTo>
                <a:cubicBezTo>
                  <a:pt x="5111708" y="349236"/>
                  <a:pt x="5149373" y="356480"/>
                  <a:pt x="5159150" y="364628"/>
                </a:cubicBezTo>
                <a:cubicBezTo>
                  <a:pt x="5168929" y="372775"/>
                  <a:pt x="5146837" y="380925"/>
                  <a:pt x="5111526" y="380562"/>
                </a:cubicBezTo>
                <a:cubicBezTo>
                  <a:pt x="5076217" y="380201"/>
                  <a:pt x="5039095" y="372595"/>
                  <a:pt x="5031310" y="364266"/>
                </a:cubicBezTo>
                <a:cubicBezTo>
                  <a:pt x="5023523" y="355936"/>
                  <a:pt x="5045433" y="349056"/>
                  <a:pt x="5078571" y="349236"/>
                </a:cubicBezTo>
                <a:close/>
                <a:moveTo>
                  <a:pt x="3957519" y="349236"/>
                </a:moveTo>
                <a:lnTo>
                  <a:pt x="3921304" y="356660"/>
                </a:lnTo>
                <a:lnTo>
                  <a:pt x="3955164" y="365352"/>
                </a:lnTo>
                <a:lnTo>
                  <a:pt x="3986672" y="358833"/>
                </a:lnTo>
                <a:close/>
                <a:moveTo>
                  <a:pt x="3427504" y="348873"/>
                </a:moveTo>
                <a:cubicBezTo>
                  <a:pt x="3466436" y="348693"/>
                  <a:pt x="3493599" y="355936"/>
                  <a:pt x="3487622" y="365894"/>
                </a:cubicBezTo>
                <a:cubicBezTo>
                  <a:pt x="3481647" y="376034"/>
                  <a:pt x="3445975" y="384002"/>
                  <a:pt x="3404326" y="384002"/>
                </a:cubicBezTo>
                <a:cubicBezTo>
                  <a:pt x="3362679" y="384002"/>
                  <a:pt x="3338053" y="376034"/>
                  <a:pt x="3346020" y="365894"/>
                </a:cubicBezTo>
                <a:cubicBezTo>
                  <a:pt x="3353987" y="355753"/>
                  <a:pt x="3388574" y="349054"/>
                  <a:pt x="3427504" y="348873"/>
                </a:cubicBezTo>
                <a:close/>
                <a:moveTo>
                  <a:pt x="6277122" y="346882"/>
                </a:moveTo>
                <a:cubicBezTo>
                  <a:pt x="6292987" y="346982"/>
                  <a:pt x="6308764" y="349235"/>
                  <a:pt x="6324022" y="353581"/>
                </a:cubicBezTo>
                <a:cubicBezTo>
                  <a:pt x="6334886" y="357203"/>
                  <a:pt x="6330902" y="361187"/>
                  <a:pt x="6315872" y="361549"/>
                </a:cubicBezTo>
                <a:cubicBezTo>
                  <a:pt x="6299081" y="361572"/>
                  <a:pt x="6282375" y="359193"/>
                  <a:pt x="6266257" y="354488"/>
                </a:cubicBezTo>
                <a:cubicBezTo>
                  <a:pt x="6256478" y="350684"/>
                  <a:pt x="6261912" y="346882"/>
                  <a:pt x="6277122" y="346882"/>
                </a:cubicBezTo>
                <a:close/>
                <a:moveTo>
                  <a:pt x="3283186" y="346881"/>
                </a:moveTo>
                <a:cubicBezTo>
                  <a:pt x="3319038" y="346701"/>
                  <a:pt x="3344028" y="353039"/>
                  <a:pt x="3337870" y="362455"/>
                </a:cubicBezTo>
                <a:cubicBezTo>
                  <a:pt x="3331532" y="371328"/>
                  <a:pt x="3292963" y="379476"/>
                  <a:pt x="3255660" y="380563"/>
                </a:cubicBezTo>
                <a:cubicBezTo>
                  <a:pt x="3218359" y="381649"/>
                  <a:pt x="3193008" y="372596"/>
                  <a:pt x="3201337" y="363541"/>
                </a:cubicBezTo>
                <a:cubicBezTo>
                  <a:pt x="3209667" y="354488"/>
                  <a:pt x="3247332" y="347062"/>
                  <a:pt x="3283186" y="346881"/>
                </a:cubicBezTo>
                <a:close/>
                <a:moveTo>
                  <a:pt x="3812657" y="344347"/>
                </a:moveTo>
                <a:lnTo>
                  <a:pt x="3758334" y="354850"/>
                </a:lnTo>
                <a:lnTo>
                  <a:pt x="3796359" y="366439"/>
                </a:lnTo>
                <a:cubicBezTo>
                  <a:pt x="3802517" y="364627"/>
                  <a:pt x="3808853" y="362274"/>
                  <a:pt x="3816640" y="360462"/>
                </a:cubicBezTo>
                <a:cubicBezTo>
                  <a:pt x="3824427" y="358652"/>
                  <a:pt x="3834748" y="357204"/>
                  <a:pt x="3842535" y="355755"/>
                </a:cubicBezTo>
                <a:close/>
                <a:moveTo>
                  <a:pt x="4927913" y="344347"/>
                </a:moveTo>
                <a:cubicBezTo>
                  <a:pt x="4965757" y="344347"/>
                  <a:pt x="4998534" y="351951"/>
                  <a:pt x="5007767" y="361367"/>
                </a:cubicBezTo>
                <a:cubicBezTo>
                  <a:pt x="5016459" y="370602"/>
                  <a:pt x="4994188" y="377303"/>
                  <a:pt x="4955075" y="377121"/>
                </a:cubicBezTo>
                <a:cubicBezTo>
                  <a:pt x="4915963" y="376940"/>
                  <a:pt x="4882645" y="369517"/>
                  <a:pt x="4875401" y="360101"/>
                </a:cubicBezTo>
                <a:cubicBezTo>
                  <a:pt x="4868158" y="350685"/>
                  <a:pt x="4890068" y="344347"/>
                  <a:pt x="4927913" y="344347"/>
                </a:cubicBezTo>
                <a:close/>
                <a:moveTo>
                  <a:pt x="3138324" y="343804"/>
                </a:moveTo>
                <a:cubicBezTo>
                  <a:pt x="3173090" y="343804"/>
                  <a:pt x="3194820" y="350866"/>
                  <a:pt x="3186852" y="359377"/>
                </a:cubicBezTo>
                <a:cubicBezTo>
                  <a:pt x="3178885" y="367886"/>
                  <a:pt x="3141584" y="375492"/>
                  <a:pt x="3106454" y="375310"/>
                </a:cubicBezTo>
                <a:cubicBezTo>
                  <a:pt x="3070239" y="375310"/>
                  <a:pt x="3049234" y="368069"/>
                  <a:pt x="3058650" y="359377"/>
                </a:cubicBezTo>
                <a:cubicBezTo>
                  <a:pt x="3068066" y="350684"/>
                  <a:pt x="3103557" y="343804"/>
                  <a:pt x="3138324" y="343804"/>
                </a:cubicBezTo>
                <a:close/>
                <a:moveTo>
                  <a:pt x="2993101" y="342354"/>
                </a:moveTo>
                <a:cubicBezTo>
                  <a:pt x="3027324" y="342535"/>
                  <a:pt x="3043803" y="348329"/>
                  <a:pt x="3035292" y="356479"/>
                </a:cubicBezTo>
                <a:cubicBezTo>
                  <a:pt x="3026780" y="364627"/>
                  <a:pt x="2993281" y="371690"/>
                  <a:pt x="2957971" y="371690"/>
                </a:cubicBezTo>
                <a:cubicBezTo>
                  <a:pt x="2921755" y="371690"/>
                  <a:pt x="2903647" y="365171"/>
                  <a:pt x="2915236" y="356660"/>
                </a:cubicBezTo>
                <a:cubicBezTo>
                  <a:pt x="2926825" y="348149"/>
                  <a:pt x="2958876" y="342174"/>
                  <a:pt x="2993101" y="342354"/>
                </a:cubicBezTo>
                <a:close/>
                <a:moveTo>
                  <a:pt x="6117231" y="342174"/>
                </a:moveTo>
                <a:cubicBezTo>
                  <a:pt x="6135663" y="341659"/>
                  <a:pt x="6154045" y="344355"/>
                  <a:pt x="6171554" y="350142"/>
                </a:cubicBezTo>
                <a:cubicBezTo>
                  <a:pt x="6182238" y="355029"/>
                  <a:pt x="6176624" y="358289"/>
                  <a:pt x="6157611" y="358470"/>
                </a:cubicBezTo>
                <a:cubicBezTo>
                  <a:pt x="6139855" y="358805"/>
                  <a:pt x="6122170" y="356174"/>
                  <a:pt x="6105280" y="350683"/>
                </a:cubicBezTo>
                <a:cubicBezTo>
                  <a:pt x="6093872" y="345976"/>
                  <a:pt x="6098942" y="342536"/>
                  <a:pt x="6117231" y="342174"/>
                </a:cubicBezTo>
                <a:close/>
                <a:moveTo>
                  <a:pt x="4775446" y="341450"/>
                </a:moveTo>
                <a:cubicBezTo>
                  <a:pt x="4813111" y="341450"/>
                  <a:pt x="4850051" y="348873"/>
                  <a:pt x="4858200" y="358109"/>
                </a:cubicBezTo>
                <a:cubicBezTo>
                  <a:pt x="4866348" y="367344"/>
                  <a:pt x="4841902" y="376217"/>
                  <a:pt x="4802970" y="376217"/>
                </a:cubicBezTo>
                <a:cubicBezTo>
                  <a:pt x="4764040" y="376217"/>
                  <a:pt x="4726556" y="368430"/>
                  <a:pt x="4719494" y="358109"/>
                </a:cubicBezTo>
                <a:cubicBezTo>
                  <a:pt x="4712431" y="347788"/>
                  <a:pt x="4737782" y="341450"/>
                  <a:pt x="4775446" y="341450"/>
                </a:cubicBezTo>
                <a:close/>
                <a:moveTo>
                  <a:pt x="2844091" y="339097"/>
                </a:moveTo>
                <a:cubicBezTo>
                  <a:pt x="2874311" y="339097"/>
                  <a:pt x="2892599" y="345796"/>
                  <a:pt x="2882642" y="353039"/>
                </a:cubicBezTo>
                <a:cubicBezTo>
                  <a:pt x="2858188" y="363396"/>
                  <a:pt x="2831710" y="368160"/>
                  <a:pt x="2805160" y="366982"/>
                </a:cubicBezTo>
                <a:cubicBezTo>
                  <a:pt x="2774195" y="366982"/>
                  <a:pt x="2757355" y="359558"/>
                  <a:pt x="2768944" y="352315"/>
                </a:cubicBezTo>
                <a:cubicBezTo>
                  <a:pt x="2792847" y="342870"/>
                  <a:pt x="2818405" y="338372"/>
                  <a:pt x="2844091" y="339097"/>
                </a:cubicBezTo>
                <a:close/>
                <a:moveTo>
                  <a:pt x="5965850" y="338553"/>
                </a:moveTo>
                <a:cubicBezTo>
                  <a:pt x="5985220" y="338177"/>
                  <a:pt x="6004495" y="341369"/>
                  <a:pt x="6022709" y="347969"/>
                </a:cubicBezTo>
                <a:cubicBezTo>
                  <a:pt x="6033935" y="353401"/>
                  <a:pt x="6025606" y="357203"/>
                  <a:pt x="6002790" y="357022"/>
                </a:cubicBezTo>
                <a:cubicBezTo>
                  <a:pt x="5983284" y="357416"/>
                  <a:pt x="5963878" y="354159"/>
                  <a:pt x="5945569" y="347426"/>
                </a:cubicBezTo>
                <a:cubicBezTo>
                  <a:pt x="5935067" y="342175"/>
                  <a:pt x="5943396" y="338553"/>
                  <a:pt x="5965850" y="338553"/>
                </a:cubicBezTo>
                <a:close/>
                <a:moveTo>
                  <a:pt x="3667795" y="338191"/>
                </a:moveTo>
                <a:cubicBezTo>
                  <a:pt x="3657948" y="341413"/>
                  <a:pt x="3647908" y="344016"/>
                  <a:pt x="3637735" y="345976"/>
                </a:cubicBezTo>
                <a:cubicBezTo>
                  <a:pt x="3625422" y="348149"/>
                  <a:pt x="3609850" y="349417"/>
                  <a:pt x="3594640" y="351046"/>
                </a:cubicBezTo>
                <a:cubicBezTo>
                  <a:pt x="3612480" y="350126"/>
                  <a:pt x="3630084" y="355438"/>
                  <a:pt x="3644435" y="366076"/>
                </a:cubicBezTo>
                <a:cubicBezTo>
                  <a:pt x="3664546" y="358278"/>
                  <a:pt x="3685882" y="354107"/>
                  <a:pt x="3707450" y="353763"/>
                </a:cubicBezTo>
                <a:cubicBezTo>
                  <a:pt x="3698220" y="351888"/>
                  <a:pt x="3689093" y="349531"/>
                  <a:pt x="3680109" y="346700"/>
                </a:cubicBezTo>
                <a:cubicBezTo>
                  <a:pt x="3675540" y="344602"/>
                  <a:pt x="3671373" y="341721"/>
                  <a:pt x="3667795" y="338191"/>
                </a:cubicBezTo>
                <a:close/>
                <a:moveTo>
                  <a:pt x="2700497" y="337645"/>
                </a:moveTo>
                <a:cubicBezTo>
                  <a:pt x="2727838" y="337645"/>
                  <a:pt x="2743231" y="343259"/>
                  <a:pt x="2734179" y="349959"/>
                </a:cubicBezTo>
                <a:cubicBezTo>
                  <a:pt x="2711325" y="359768"/>
                  <a:pt x="2686592" y="364348"/>
                  <a:pt x="2661749" y="363360"/>
                </a:cubicBezTo>
                <a:cubicBezTo>
                  <a:pt x="2633137" y="363360"/>
                  <a:pt x="2617923" y="357565"/>
                  <a:pt x="2628065" y="350502"/>
                </a:cubicBezTo>
                <a:cubicBezTo>
                  <a:pt x="2651008" y="341100"/>
                  <a:pt x="2675707" y="336716"/>
                  <a:pt x="2700497" y="337645"/>
                </a:cubicBezTo>
                <a:close/>
                <a:moveTo>
                  <a:pt x="2557446" y="334930"/>
                </a:moveTo>
                <a:cubicBezTo>
                  <a:pt x="2584789" y="334930"/>
                  <a:pt x="2597648" y="339639"/>
                  <a:pt x="2587325" y="346338"/>
                </a:cubicBezTo>
                <a:cubicBezTo>
                  <a:pt x="2566050" y="355083"/>
                  <a:pt x="2543144" y="359157"/>
                  <a:pt x="2520146" y="358291"/>
                </a:cubicBezTo>
                <a:cubicBezTo>
                  <a:pt x="2491895" y="358291"/>
                  <a:pt x="2479400" y="353220"/>
                  <a:pt x="2490629" y="346519"/>
                </a:cubicBezTo>
                <a:cubicBezTo>
                  <a:pt x="2511850" y="338015"/>
                  <a:pt x="2534611" y="334065"/>
                  <a:pt x="2557446" y="334930"/>
                </a:cubicBezTo>
                <a:close/>
                <a:moveTo>
                  <a:pt x="5811934" y="334567"/>
                </a:moveTo>
                <a:cubicBezTo>
                  <a:pt x="5832286" y="334106"/>
                  <a:pt x="5852547" y="337421"/>
                  <a:pt x="5871689" y="344346"/>
                </a:cubicBezTo>
                <a:cubicBezTo>
                  <a:pt x="5882554" y="349960"/>
                  <a:pt x="5872777" y="354306"/>
                  <a:pt x="5849236" y="354306"/>
                </a:cubicBezTo>
                <a:cubicBezTo>
                  <a:pt x="5827845" y="355063"/>
                  <a:pt x="5806511" y="351681"/>
                  <a:pt x="5786401" y="344346"/>
                </a:cubicBezTo>
                <a:cubicBezTo>
                  <a:pt x="5775899" y="338552"/>
                  <a:pt x="5786401" y="334206"/>
                  <a:pt x="5811934" y="334567"/>
                </a:cubicBezTo>
                <a:close/>
                <a:moveTo>
                  <a:pt x="2416027" y="333120"/>
                </a:moveTo>
                <a:cubicBezTo>
                  <a:pt x="2439929" y="333120"/>
                  <a:pt x="2451338" y="338190"/>
                  <a:pt x="2440650" y="343984"/>
                </a:cubicBezTo>
                <a:cubicBezTo>
                  <a:pt x="2419811" y="351716"/>
                  <a:pt x="2397685" y="355404"/>
                  <a:pt x="2375465" y="354849"/>
                </a:cubicBezTo>
                <a:cubicBezTo>
                  <a:pt x="2351019" y="354849"/>
                  <a:pt x="2339249" y="349598"/>
                  <a:pt x="2351380" y="343803"/>
                </a:cubicBezTo>
                <a:cubicBezTo>
                  <a:pt x="2372115" y="336399"/>
                  <a:pt x="2394007" y="332781"/>
                  <a:pt x="2416027" y="333120"/>
                </a:cubicBezTo>
                <a:close/>
                <a:moveTo>
                  <a:pt x="2275512" y="330403"/>
                </a:moveTo>
                <a:cubicBezTo>
                  <a:pt x="2296695" y="330403"/>
                  <a:pt x="2307198" y="335292"/>
                  <a:pt x="2296516" y="340362"/>
                </a:cubicBezTo>
                <a:cubicBezTo>
                  <a:pt x="2277267" y="346849"/>
                  <a:pt x="2257075" y="350092"/>
                  <a:pt x="2236760" y="349959"/>
                </a:cubicBezTo>
                <a:cubicBezTo>
                  <a:pt x="2214849" y="349959"/>
                  <a:pt x="2204707" y="344889"/>
                  <a:pt x="2216118" y="339819"/>
                </a:cubicBezTo>
                <a:cubicBezTo>
                  <a:pt x="2235293" y="333538"/>
                  <a:pt x="2255337" y="330359"/>
                  <a:pt x="2275512" y="330403"/>
                </a:cubicBezTo>
                <a:close/>
                <a:moveTo>
                  <a:pt x="5656027" y="330224"/>
                </a:moveTo>
                <a:cubicBezTo>
                  <a:pt x="5678959" y="329859"/>
                  <a:pt x="5701772" y="333601"/>
                  <a:pt x="5723388" y="341270"/>
                </a:cubicBezTo>
                <a:cubicBezTo>
                  <a:pt x="5734794" y="347425"/>
                  <a:pt x="5723388" y="352678"/>
                  <a:pt x="5697130" y="352678"/>
                </a:cubicBezTo>
                <a:cubicBezTo>
                  <a:pt x="5674688" y="353020"/>
                  <a:pt x="5652365" y="349340"/>
                  <a:pt x="5631218" y="341813"/>
                </a:cubicBezTo>
                <a:cubicBezTo>
                  <a:pt x="5619629" y="335836"/>
                  <a:pt x="5631400" y="330405"/>
                  <a:pt x="5656027" y="330224"/>
                </a:cubicBezTo>
                <a:close/>
                <a:moveTo>
                  <a:pt x="2127022" y="328954"/>
                </a:moveTo>
                <a:cubicBezTo>
                  <a:pt x="2146764" y="328774"/>
                  <a:pt x="2155637" y="332757"/>
                  <a:pt x="2146764" y="337285"/>
                </a:cubicBezTo>
                <a:cubicBezTo>
                  <a:pt x="2129305" y="343414"/>
                  <a:pt x="2110926" y="346477"/>
                  <a:pt x="2092439" y="346338"/>
                </a:cubicBezTo>
                <a:cubicBezTo>
                  <a:pt x="2072700" y="346338"/>
                  <a:pt x="2064370" y="342173"/>
                  <a:pt x="2074329" y="337466"/>
                </a:cubicBezTo>
                <a:cubicBezTo>
                  <a:pt x="2091350" y="331939"/>
                  <a:pt x="2109133" y="329067"/>
                  <a:pt x="2127022" y="328954"/>
                </a:cubicBezTo>
                <a:close/>
                <a:moveTo>
                  <a:pt x="1988498" y="326240"/>
                </a:moveTo>
                <a:cubicBezTo>
                  <a:pt x="2006607" y="326240"/>
                  <a:pt x="2012764" y="329317"/>
                  <a:pt x="2004252" y="333302"/>
                </a:cubicBezTo>
                <a:cubicBezTo>
                  <a:pt x="1988247" y="338823"/>
                  <a:pt x="1971386" y="341519"/>
                  <a:pt x="1954457" y="341269"/>
                </a:cubicBezTo>
                <a:cubicBezTo>
                  <a:pt x="1937257" y="341269"/>
                  <a:pt x="1931279" y="337829"/>
                  <a:pt x="1940877" y="333663"/>
                </a:cubicBezTo>
                <a:cubicBezTo>
                  <a:pt x="1956267" y="328740"/>
                  <a:pt x="1972330" y="326236"/>
                  <a:pt x="1988498" y="326240"/>
                </a:cubicBezTo>
                <a:close/>
                <a:moveTo>
                  <a:pt x="1848525" y="326239"/>
                </a:moveTo>
                <a:cubicBezTo>
                  <a:pt x="1862651" y="326239"/>
                  <a:pt x="1866634" y="328956"/>
                  <a:pt x="1858484" y="332395"/>
                </a:cubicBezTo>
                <a:cubicBezTo>
                  <a:pt x="1844994" y="336559"/>
                  <a:pt x="1830962" y="338635"/>
                  <a:pt x="1816840" y="338553"/>
                </a:cubicBezTo>
                <a:cubicBezTo>
                  <a:pt x="1802531" y="338553"/>
                  <a:pt x="1798731" y="335655"/>
                  <a:pt x="1807241" y="332214"/>
                </a:cubicBezTo>
                <a:cubicBezTo>
                  <a:pt x="1820604" y="328074"/>
                  <a:pt x="1834529" y="326058"/>
                  <a:pt x="1848525" y="326239"/>
                </a:cubicBezTo>
                <a:close/>
                <a:moveTo>
                  <a:pt x="5499756" y="325696"/>
                </a:moveTo>
                <a:cubicBezTo>
                  <a:pt x="5523413" y="325154"/>
                  <a:pt x="5546956" y="329148"/>
                  <a:pt x="5569107" y="337466"/>
                </a:cubicBezTo>
                <a:cubicBezTo>
                  <a:pt x="5580335" y="343804"/>
                  <a:pt x="5566935" y="349599"/>
                  <a:pt x="5540318" y="349779"/>
                </a:cubicBezTo>
                <a:cubicBezTo>
                  <a:pt x="5516182" y="350426"/>
                  <a:pt x="5492144" y="346431"/>
                  <a:pt x="5469516" y="338009"/>
                </a:cubicBezTo>
                <a:cubicBezTo>
                  <a:pt x="5458108" y="331491"/>
                  <a:pt x="5472594" y="325696"/>
                  <a:pt x="5499756" y="325696"/>
                </a:cubicBezTo>
                <a:close/>
                <a:moveTo>
                  <a:pt x="1709632" y="322799"/>
                </a:moveTo>
                <a:cubicBezTo>
                  <a:pt x="1721584" y="322799"/>
                  <a:pt x="1725387" y="324971"/>
                  <a:pt x="1718143" y="327688"/>
                </a:cubicBezTo>
                <a:cubicBezTo>
                  <a:pt x="1707009" y="331117"/>
                  <a:pt x="1695399" y="332767"/>
                  <a:pt x="1683738" y="332575"/>
                </a:cubicBezTo>
                <a:cubicBezTo>
                  <a:pt x="1671968" y="332575"/>
                  <a:pt x="1669252" y="330222"/>
                  <a:pt x="1677402" y="327325"/>
                </a:cubicBezTo>
                <a:cubicBezTo>
                  <a:pt x="1687884" y="324337"/>
                  <a:pt x="1698733" y="322814"/>
                  <a:pt x="1709632" y="322799"/>
                </a:cubicBezTo>
                <a:close/>
                <a:moveTo>
                  <a:pt x="1570198" y="322618"/>
                </a:moveTo>
                <a:cubicBezTo>
                  <a:pt x="1577802" y="321711"/>
                  <a:pt x="1579795" y="323342"/>
                  <a:pt x="1574544" y="326239"/>
                </a:cubicBezTo>
                <a:cubicBezTo>
                  <a:pt x="1566594" y="328475"/>
                  <a:pt x="1558355" y="329633"/>
                  <a:pt x="1550098" y="329679"/>
                </a:cubicBezTo>
                <a:cubicBezTo>
                  <a:pt x="1541045" y="329679"/>
                  <a:pt x="1538690" y="327869"/>
                  <a:pt x="1545389" y="325876"/>
                </a:cubicBezTo>
                <a:cubicBezTo>
                  <a:pt x="1553484" y="323720"/>
                  <a:pt x="1561815" y="322623"/>
                  <a:pt x="1570198" y="322618"/>
                </a:cubicBezTo>
                <a:close/>
                <a:moveTo>
                  <a:pt x="5351817" y="322617"/>
                </a:moveTo>
                <a:cubicBezTo>
                  <a:pt x="5375732" y="321538"/>
                  <a:pt x="5399576" y="325935"/>
                  <a:pt x="5421531" y="335474"/>
                </a:cubicBezTo>
                <a:cubicBezTo>
                  <a:pt x="5432759" y="342717"/>
                  <a:pt x="5417910" y="347968"/>
                  <a:pt x="5386945" y="347968"/>
                </a:cubicBezTo>
                <a:cubicBezTo>
                  <a:pt x="5362493" y="349196"/>
                  <a:pt x="5338087" y="344797"/>
                  <a:pt x="5315601" y="335111"/>
                </a:cubicBezTo>
                <a:cubicBezTo>
                  <a:pt x="5305098" y="327688"/>
                  <a:pt x="5320852" y="322437"/>
                  <a:pt x="5351817" y="322617"/>
                </a:cubicBezTo>
                <a:close/>
                <a:moveTo>
                  <a:pt x="6512886" y="320082"/>
                </a:moveTo>
                <a:cubicBezTo>
                  <a:pt x="6522627" y="320019"/>
                  <a:pt x="6532315" y="321361"/>
                  <a:pt x="6541676" y="324066"/>
                </a:cubicBezTo>
                <a:cubicBezTo>
                  <a:pt x="6547834" y="326239"/>
                  <a:pt x="6546929" y="327868"/>
                  <a:pt x="6536788" y="328049"/>
                </a:cubicBezTo>
                <a:cubicBezTo>
                  <a:pt x="6527028" y="328163"/>
                  <a:pt x="6517321" y="326758"/>
                  <a:pt x="6507996" y="323884"/>
                </a:cubicBezTo>
                <a:cubicBezTo>
                  <a:pt x="6501839" y="321711"/>
                  <a:pt x="6503831" y="320262"/>
                  <a:pt x="6512886" y="320082"/>
                </a:cubicBezTo>
                <a:close/>
                <a:moveTo>
                  <a:pt x="4406953" y="318635"/>
                </a:moveTo>
                <a:cubicBezTo>
                  <a:pt x="4393916" y="326239"/>
                  <a:pt x="4386129" y="327507"/>
                  <a:pt x="4348465" y="330765"/>
                </a:cubicBezTo>
                <a:cubicBezTo>
                  <a:pt x="4370553" y="330887"/>
                  <a:pt x="4392353" y="335765"/>
                  <a:pt x="4412386" y="345071"/>
                </a:cubicBezTo>
                <a:cubicBezTo>
                  <a:pt x="4430209" y="337351"/>
                  <a:pt x="4449459" y="333463"/>
                  <a:pt x="4468883" y="333663"/>
                </a:cubicBezTo>
                <a:cubicBezTo>
                  <a:pt x="4456569" y="331672"/>
                  <a:pt x="4442444" y="330041"/>
                  <a:pt x="4432667" y="327507"/>
                </a:cubicBezTo>
                <a:cubicBezTo>
                  <a:pt x="4423922" y="325076"/>
                  <a:pt x="4415335" y="322112"/>
                  <a:pt x="4406953" y="318635"/>
                </a:cubicBezTo>
                <a:close/>
                <a:moveTo>
                  <a:pt x="5202790" y="318092"/>
                </a:moveTo>
                <a:cubicBezTo>
                  <a:pt x="5227637" y="317263"/>
                  <a:pt x="5252363" y="321900"/>
                  <a:pt x="5275221" y="331671"/>
                </a:cubicBezTo>
                <a:cubicBezTo>
                  <a:pt x="5284637" y="338734"/>
                  <a:pt x="5267254" y="345072"/>
                  <a:pt x="5236652" y="345072"/>
                </a:cubicBezTo>
                <a:cubicBezTo>
                  <a:pt x="5210799" y="346346"/>
                  <a:pt x="5185005" y="341572"/>
                  <a:pt x="5161324" y="331129"/>
                </a:cubicBezTo>
                <a:cubicBezTo>
                  <a:pt x="5152632" y="323886"/>
                  <a:pt x="5172006" y="317729"/>
                  <a:pt x="5202790" y="318092"/>
                </a:cubicBezTo>
                <a:close/>
                <a:moveTo>
                  <a:pt x="6359513" y="316462"/>
                </a:moveTo>
                <a:cubicBezTo>
                  <a:pt x="6371904" y="316086"/>
                  <a:pt x="6384269" y="317800"/>
                  <a:pt x="6396090" y="321532"/>
                </a:cubicBezTo>
                <a:cubicBezTo>
                  <a:pt x="6404964" y="324791"/>
                  <a:pt x="6401704" y="326783"/>
                  <a:pt x="6387942" y="326783"/>
                </a:cubicBezTo>
                <a:cubicBezTo>
                  <a:pt x="6375647" y="327074"/>
                  <a:pt x="6363395" y="325236"/>
                  <a:pt x="6351726" y="321350"/>
                </a:cubicBezTo>
                <a:cubicBezTo>
                  <a:pt x="6344302" y="318452"/>
                  <a:pt x="6347380" y="316643"/>
                  <a:pt x="6359513" y="316462"/>
                </a:cubicBezTo>
                <a:close/>
                <a:moveTo>
                  <a:pt x="4263359" y="315737"/>
                </a:moveTo>
                <a:lnTo>
                  <a:pt x="4216261" y="327732"/>
                </a:lnTo>
                <a:lnTo>
                  <a:pt x="4214830" y="327326"/>
                </a:lnTo>
                <a:lnTo>
                  <a:pt x="4215011" y="328051"/>
                </a:lnTo>
                <a:lnTo>
                  <a:pt x="4216261" y="327732"/>
                </a:lnTo>
                <a:lnTo>
                  <a:pt x="4263359" y="341088"/>
                </a:lnTo>
                <a:cubicBezTo>
                  <a:pt x="4282393" y="333319"/>
                  <a:pt x="4302738" y="329262"/>
                  <a:pt x="4323296" y="329136"/>
                </a:cubicBezTo>
                <a:cubicBezTo>
                  <a:pt x="4302647" y="328509"/>
                  <a:pt x="4282309" y="323962"/>
                  <a:pt x="4263359" y="315737"/>
                </a:cubicBezTo>
                <a:close/>
                <a:moveTo>
                  <a:pt x="5055030" y="315736"/>
                </a:moveTo>
                <a:cubicBezTo>
                  <a:pt x="5086539" y="315736"/>
                  <a:pt x="5122935" y="322617"/>
                  <a:pt x="5130722" y="330402"/>
                </a:cubicBezTo>
                <a:cubicBezTo>
                  <a:pt x="5138507" y="338189"/>
                  <a:pt x="5118409" y="344347"/>
                  <a:pt x="5085815" y="344347"/>
                </a:cubicBezTo>
                <a:cubicBezTo>
                  <a:pt x="5051953" y="344347"/>
                  <a:pt x="5016461" y="337104"/>
                  <a:pt x="5009762" y="329317"/>
                </a:cubicBezTo>
                <a:cubicBezTo>
                  <a:pt x="5003061" y="321530"/>
                  <a:pt x="5023524" y="315736"/>
                  <a:pt x="5055030" y="315736"/>
                </a:cubicBezTo>
                <a:close/>
                <a:moveTo>
                  <a:pt x="3467524" y="314288"/>
                </a:moveTo>
                <a:cubicBezTo>
                  <a:pt x="3505369" y="314288"/>
                  <a:pt x="3528910" y="321350"/>
                  <a:pt x="3524020" y="330042"/>
                </a:cubicBezTo>
                <a:cubicBezTo>
                  <a:pt x="3518950" y="339095"/>
                  <a:pt x="3485269" y="346338"/>
                  <a:pt x="3447424" y="346519"/>
                </a:cubicBezTo>
                <a:cubicBezTo>
                  <a:pt x="3409579" y="346701"/>
                  <a:pt x="3382055" y="339458"/>
                  <a:pt x="3388574" y="330223"/>
                </a:cubicBezTo>
                <a:cubicBezTo>
                  <a:pt x="3395093" y="320987"/>
                  <a:pt x="3429679" y="314288"/>
                  <a:pt x="3467524" y="314288"/>
                </a:cubicBezTo>
                <a:close/>
                <a:moveTo>
                  <a:pt x="4120489" y="313382"/>
                </a:moveTo>
                <a:cubicBezTo>
                  <a:pt x="4103927" y="320403"/>
                  <a:pt x="4086146" y="324095"/>
                  <a:pt x="4068156" y="324247"/>
                </a:cubicBezTo>
                <a:lnTo>
                  <a:pt x="4067432" y="324247"/>
                </a:lnTo>
                <a:lnTo>
                  <a:pt x="4111615" y="334387"/>
                </a:lnTo>
                <a:lnTo>
                  <a:pt x="4158153" y="325878"/>
                </a:lnTo>
                <a:cubicBezTo>
                  <a:pt x="4144779" y="324787"/>
                  <a:pt x="4131862" y="320502"/>
                  <a:pt x="4120489" y="313382"/>
                </a:cubicBezTo>
                <a:close/>
                <a:moveTo>
                  <a:pt x="6207044" y="311753"/>
                </a:moveTo>
                <a:cubicBezTo>
                  <a:pt x="6221316" y="311546"/>
                  <a:pt x="6235518" y="313749"/>
                  <a:pt x="6249054" y="318272"/>
                </a:cubicBezTo>
                <a:cubicBezTo>
                  <a:pt x="6258109" y="322074"/>
                  <a:pt x="6252676" y="324429"/>
                  <a:pt x="6235836" y="324246"/>
                </a:cubicBezTo>
                <a:cubicBezTo>
                  <a:pt x="6221608" y="324476"/>
                  <a:pt x="6207451" y="322209"/>
                  <a:pt x="6194007" y="317547"/>
                </a:cubicBezTo>
                <a:cubicBezTo>
                  <a:pt x="6186403" y="313926"/>
                  <a:pt x="6191473" y="311753"/>
                  <a:pt x="6207044" y="311753"/>
                </a:cubicBezTo>
                <a:close/>
                <a:moveTo>
                  <a:pt x="4909263" y="311570"/>
                </a:moveTo>
                <a:cubicBezTo>
                  <a:pt x="4944030" y="311753"/>
                  <a:pt x="4976080" y="317365"/>
                  <a:pt x="4984228" y="326239"/>
                </a:cubicBezTo>
                <a:cubicBezTo>
                  <a:pt x="4992559" y="334567"/>
                  <a:pt x="4971734" y="340906"/>
                  <a:pt x="4936063" y="340906"/>
                </a:cubicBezTo>
                <a:cubicBezTo>
                  <a:pt x="4900391" y="340906"/>
                  <a:pt x="4865985" y="334024"/>
                  <a:pt x="4859105" y="325332"/>
                </a:cubicBezTo>
                <a:cubicBezTo>
                  <a:pt x="4852223" y="316641"/>
                  <a:pt x="4874496" y="311390"/>
                  <a:pt x="4909263" y="311570"/>
                </a:cubicBezTo>
                <a:close/>
                <a:moveTo>
                  <a:pt x="3321754" y="311390"/>
                </a:moveTo>
                <a:cubicBezTo>
                  <a:pt x="3356702" y="311390"/>
                  <a:pt x="3380965" y="318633"/>
                  <a:pt x="3373541" y="326781"/>
                </a:cubicBezTo>
                <a:cubicBezTo>
                  <a:pt x="3366118" y="334931"/>
                  <a:pt x="3331351" y="342174"/>
                  <a:pt x="3296221" y="341992"/>
                </a:cubicBezTo>
                <a:cubicBezTo>
                  <a:pt x="3261093" y="341811"/>
                  <a:pt x="3236286" y="334568"/>
                  <a:pt x="3244795" y="326057"/>
                </a:cubicBezTo>
                <a:cubicBezTo>
                  <a:pt x="3253306" y="317547"/>
                  <a:pt x="3287529" y="311390"/>
                  <a:pt x="3321754" y="311390"/>
                </a:cubicBezTo>
                <a:close/>
                <a:moveTo>
                  <a:pt x="3979249" y="310485"/>
                </a:moveTo>
                <a:cubicBezTo>
                  <a:pt x="3970194" y="313021"/>
                  <a:pt x="3963314" y="315374"/>
                  <a:pt x="3954440" y="317186"/>
                </a:cubicBezTo>
                <a:cubicBezTo>
                  <a:pt x="3945567" y="318996"/>
                  <a:pt x="3935427" y="319901"/>
                  <a:pt x="3928184" y="320988"/>
                </a:cubicBezTo>
                <a:lnTo>
                  <a:pt x="3967660" y="331672"/>
                </a:lnTo>
                <a:cubicBezTo>
                  <a:pt x="3986338" y="326285"/>
                  <a:pt x="4005628" y="323302"/>
                  <a:pt x="4025061" y="322798"/>
                </a:cubicBezTo>
                <a:cubicBezTo>
                  <a:pt x="4009143" y="322631"/>
                  <a:pt x="3993497" y="318658"/>
                  <a:pt x="3979429" y="311209"/>
                </a:cubicBezTo>
                <a:close/>
                <a:moveTo>
                  <a:pt x="3181599" y="309761"/>
                </a:moveTo>
                <a:cubicBezTo>
                  <a:pt x="3214556" y="309761"/>
                  <a:pt x="3235198" y="316279"/>
                  <a:pt x="3228862" y="323884"/>
                </a:cubicBezTo>
                <a:cubicBezTo>
                  <a:pt x="3221980" y="331853"/>
                  <a:pt x="3186489" y="338733"/>
                  <a:pt x="3152447" y="338733"/>
                </a:cubicBezTo>
                <a:cubicBezTo>
                  <a:pt x="3118404" y="338733"/>
                  <a:pt x="3098123" y="332033"/>
                  <a:pt x="3105547" y="324247"/>
                </a:cubicBezTo>
                <a:cubicBezTo>
                  <a:pt x="3112973" y="316460"/>
                  <a:pt x="3148644" y="309761"/>
                  <a:pt x="3181599" y="309761"/>
                </a:cubicBezTo>
                <a:close/>
                <a:moveTo>
                  <a:pt x="6057112" y="308313"/>
                </a:moveTo>
                <a:cubicBezTo>
                  <a:pt x="6073017" y="308235"/>
                  <a:pt x="6088836" y="310619"/>
                  <a:pt x="6104012" y="315375"/>
                </a:cubicBezTo>
                <a:cubicBezTo>
                  <a:pt x="6114877" y="319721"/>
                  <a:pt x="6109445" y="322980"/>
                  <a:pt x="6091338" y="322980"/>
                </a:cubicBezTo>
                <a:cubicBezTo>
                  <a:pt x="6074627" y="323377"/>
                  <a:pt x="6057972" y="320927"/>
                  <a:pt x="6042084" y="315737"/>
                </a:cubicBezTo>
                <a:cubicBezTo>
                  <a:pt x="6032124" y="311391"/>
                  <a:pt x="6038643" y="308313"/>
                  <a:pt x="6057112" y="308313"/>
                </a:cubicBezTo>
                <a:close/>
                <a:moveTo>
                  <a:pt x="4763133" y="307588"/>
                </a:moveTo>
                <a:cubicBezTo>
                  <a:pt x="4797720" y="307588"/>
                  <a:pt x="4834659" y="314831"/>
                  <a:pt x="4841539" y="322979"/>
                </a:cubicBezTo>
                <a:cubicBezTo>
                  <a:pt x="4848421" y="331310"/>
                  <a:pt x="4823432" y="338733"/>
                  <a:pt x="4787216" y="338553"/>
                </a:cubicBezTo>
                <a:cubicBezTo>
                  <a:pt x="4751001" y="338370"/>
                  <a:pt x="4714785" y="330946"/>
                  <a:pt x="4708810" y="322618"/>
                </a:cubicBezTo>
                <a:cubicBezTo>
                  <a:pt x="4702835" y="314287"/>
                  <a:pt x="4728547" y="307588"/>
                  <a:pt x="4763133" y="307588"/>
                </a:cubicBezTo>
                <a:close/>
                <a:moveTo>
                  <a:pt x="3043257" y="307227"/>
                </a:moveTo>
                <a:cubicBezTo>
                  <a:pt x="3075489" y="307227"/>
                  <a:pt x="3092329" y="312841"/>
                  <a:pt x="3084725" y="320264"/>
                </a:cubicBezTo>
                <a:cubicBezTo>
                  <a:pt x="3076575" y="328051"/>
                  <a:pt x="3045068" y="334027"/>
                  <a:pt x="3012294" y="334027"/>
                </a:cubicBezTo>
                <a:cubicBezTo>
                  <a:pt x="2979517" y="334027"/>
                  <a:pt x="2962134" y="328232"/>
                  <a:pt x="2970826" y="320626"/>
                </a:cubicBezTo>
                <a:cubicBezTo>
                  <a:pt x="2979517" y="313021"/>
                  <a:pt x="3011026" y="307227"/>
                  <a:pt x="3043257" y="307227"/>
                </a:cubicBezTo>
                <a:close/>
                <a:moveTo>
                  <a:pt x="2904372" y="305415"/>
                </a:moveTo>
                <a:cubicBezTo>
                  <a:pt x="2931713" y="305415"/>
                  <a:pt x="2949640" y="311209"/>
                  <a:pt x="2942216" y="317728"/>
                </a:cubicBezTo>
                <a:cubicBezTo>
                  <a:pt x="2919420" y="327676"/>
                  <a:pt x="2894625" y="332201"/>
                  <a:pt x="2869804" y="330946"/>
                </a:cubicBezTo>
                <a:cubicBezTo>
                  <a:pt x="2841012" y="330946"/>
                  <a:pt x="2823630" y="324971"/>
                  <a:pt x="2831961" y="318270"/>
                </a:cubicBezTo>
                <a:cubicBezTo>
                  <a:pt x="2854881" y="308763"/>
                  <a:pt x="2879580" y="304375"/>
                  <a:pt x="2904372" y="305415"/>
                </a:cubicBezTo>
                <a:close/>
                <a:moveTo>
                  <a:pt x="5900301" y="303786"/>
                </a:moveTo>
                <a:cubicBezTo>
                  <a:pt x="5918770" y="303388"/>
                  <a:pt x="5937161" y="306271"/>
                  <a:pt x="5954624" y="312297"/>
                </a:cubicBezTo>
                <a:cubicBezTo>
                  <a:pt x="5964222" y="317004"/>
                  <a:pt x="5956436" y="320445"/>
                  <a:pt x="5936516" y="320445"/>
                </a:cubicBezTo>
                <a:cubicBezTo>
                  <a:pt x="5918030" y="320890"/>
                  <a:pt x="5899618" y="317945"/>
                  <a:pt x="5882193" y="311753"/>
                </a:cubicBezTo>
                <a:cubicBezTo>
                  <a:pt x="5872596" y="308132"/>
                  <a:pt x="5880564" y="303786"/>
                  <a:pt x="5900301" y="303786"/>
                </a:cubicBezTo>
                <a:close/>
                <a:moveTo>
                  <a:pt x="4615735" y="303785"/>
                </a:moveTo>
                <a:cubicBezTo>
                  <a:pt x="4653399" y="303785"/>
                  <a:pt x="4686175" y="310848"/>
                  <a:pt x="4691970" y="319720"/>
                </a:cubicBezTo>
                <a:cubicBezTo>
                  <a:pt x="4697764" y="328593"/>
                  <a:pt x="4671689" y="335655"/>
                  <a:pt x="4631852" y="335292"/>
                </a:cubicBezTo>
                <a:cubicBezTo>
                  <a:pt x="4592015" y="334931"/>
                  <a:pt x="4561775" y="327869"/>
                  <a:pt x="4556885" y="318996"/>
                </a:cubicBezTo>
                <a:cubicBezTo>
                  <a:pt x="4551996" y="310124"/>
                  <a:pt x="4577709" y="303605"/>
                  <a:pt x="4615735" y="303785"/>
                </a:cubicBezTo>
                <a:close/>
                <a:moveTo>
                  <a:pt x="2768220" y="302518"/>
                </a:moveTo>
                <a:cubicBezTo>
                  <a:pt x="2794658" y="302518"/>
                  <a:pt x="2809148" y="308132"/>
                  <a:pt x="2799729" y="314468"/>
                </a:cubicBezTo>
                <a:cubicBezTo>
                  <a:pt x="2778108" y="323103"/>
                  <a:pt x="2754912" y="327112"/>
                  <a:pt x="2731646" y="326240"/>
                </a:cubicBezTo>
                <a:cubicBezTo>
                  <a:pt x="2704119" y="326240"/>
                  <a:pt x="2689093" y="320806"/>
                  <a:pt x="2698687" y="314288"/>
                </a:cubicBezTo>
                <a:cubicBezTo>
                  <a:pt x="2720778" y="305543"/>
                  <a:pt x="2744483" y="301533"/>
                  <a:pt x="2768220" y="302518"/>
                </a:cubicBezTo>
                <a:close/>
                <a:moveTo>
                  <a:pt x="2621909" y="301430"/>
                </a:moveTo>
                <a:cubicBezTo>
                  <a:pt x="2647805" y="301430"/>
                  <a:pt x="2661203" y="305959"/>
                  <a:pt x="2652150" y="311934"/>
                </a:cubicBezTo>
                <a:cubicBezTo>
                  <a:pt x="2631871" y="320120"/>
                  <a:pt x="2610086" y="323884"/>
                  <a:pt x="2588227" y="322980"/>
                </a:cubicBezTo>
                <a:cubicBezTo>
                  <a:pt x="2561793" y="322980"/>
                  <a:pt x="2549480" y="318090"/>
                  <a:pt x="2560163" y="311934"/>
                </a:cubicBezTo>
                <a:cubicBezTo>
                  <a:pt x="2579847" y="304406"/>
                  <a:pt x="2600833" y="300837"/>
                  <a:pt x="2621909" y="301430"/>
                </a:cubicBezTo>
                <a:close/>
                <a:moveTo>
                  <a:pt x="5752904" y="300527"/>
                </a:moveTo>
                <a:cubicBezTo>
                  <a:pt x="5772717" y="300133"/>
                  <a:pt x="5792448" y="303198"/>
                  <a:pt x="5811210" y="309580"/>
                </a:cubicBezTo>
                <a:cubicBezTo>
                  <a:pt x="5821894" y="314650"/>
                  <a:pt x="5812658" y="318996"/>
                  <a:pt x="5790748" y="319177"/>
                </a:cubicBezTo>
                <a:cubicBezTo>
                  <a:pt x="5770806" y="319510"/>
                  <a:pt x="5750957" y="316386"/>
                  <a:pt x="5732080" y="309943"/>
                </a:cubicBezTo>
                <a:cubicBezTo>
                  <a:pt x="5721939" y="304873"/>
                  <a:pt x="5732080" y="300527"/>
                  <a:pt x="5752904" y="300527"/>
                </a:cubicBezTo>
                <a:close/>
                <a:moveTo>
                  <a:pt x="2488999" y="298897"/>
                </a:moveTo>
                <a:cubicBezTo>
                  <a:pt x="2512177" y="298897"/>
                  <a:pt x="2521595" y="303242"/>
                  <a:pt x="2511453" y="308676"/>
                </a:cubicBezTo>
                <a:cubicBezTo>
                  <a:pt x="2492550" y="315797"/>
                  <a:pt x="2472413" y="319060"/>
                  <a:pt x="2452242" y="318273"/>
                </a:cubicBezTo>
                <a:cubicBezTo>
                  <a:pt x="2428159" y="318273"/>
                  <a:pt x="2418200" y="314288"/>
                  <a:pt x="2428339" y="308676"/>
                </a:cubicBezTo>
                <a:cubicBezTo>
                  <a:pt x="2447712" y="301414"/>
                  <a:pt x="2468340" y="298090"/>
                  <a:pt x="2488999" y="298897"/>
                </a:cubicBezTo>
                <a:close/>
                <a:moveTo>
                  <a:pt x="2353373" y="297265"/>
                </a:moveTo>
                <a:cubicBezTo>
                  <a:pt x="2372568" y="297628"/>
                  <a:pt x="2382166" y="302155"/>
                  <a:pt x="2371483" y="306681"/>
                </a:cubicBezTo>
                <a:cubicBezTo>
                  <a:pt x="2352955" y="312684"/>
                  <a:pt x="2333563" y="315621"/>
                  <a:pt x="2314079" y="315372"/>
                </a:cubicBezTo>
                <a:cubicBezTo>
                  <a:pt x="2293256" y="315372"/>
                  <a:pt x="2284383" y="310122"/>
                  <a:pt x="2295971" y="305415"/>
                </a:cubicBezTo>
                <a:cubicBezTo>
                  <a:pt x="2314586" y="299793"/>
                  <a:pt x="2333944" y="297045"/>
                  <a:pt x="2353373" y="297265"/>
                </a:cubicBezTo>
                <a:close/>
                <a:moveTo>
                  <a:pt x="5605142" y="296180"/>
                </a:moveTo>
                <a:cubicBezTo>
                  <a:pt x="5626208" y="295872"/>
                  <a:pt x="5647166" y="299242"/>
                  <a:pt x="5667072" y="306140"/>
                </a:cubicBezTo>
                <a:cubicBezTo>
                  <a:pt x="5677212" y="311391"/>
                  <a:pt x="5665804" y="316280"/>
                  <a:pt x="5643170" y="316461"/>
                </a:cubicBezTo>
                <a:cubicBezTo>
                  <a:pt x="5621336" y="316938"/>
                  <a:pt x="5599605" y="313377"/>
                  <a:pt x="5579067" y="305959"/>
                </a:cubicBezTo>
                <a:cubicBezTo>
                  <a:pt x="5570376" y="300889"/>
                  <a:pt x="5582869" y="296180"/>
                  <a:pt x="5605142" y="296180"/>
                </a:cubicBezTo>
                <a:close/>
                <a:moveTo>
                  <a:pt x="2215753" y="295999"/>
                </a:moveTo>
                <a:cubicBezTo>
                  <a:pt x="2233320" y="296360"/>
                  <a:pt x="2240380" y="300164"/>
                  <a:pt x="2231147" y="304147"/>
                </a:cubicBezTo>
                <a:cubicBezTo>
                  <a:pt x="2213581" y="309704"/>
                  <a:pt x="2195239" y="312335"/>
                  <a:pt x="2176822" y="311934"/>
                </a:cubicBezTo>
                <a:cubicBezTo>
                  <a:pt x="2159798" y="311934"/>
                  <a:pt x="2153103" y="307588"/>
                  <a:pt x="2162519" y="303603"/>
                </a:cubicBezTo>
                <a:cubicBezTo>
                  <a:pt x="2179737" y="298250"/>
                  <a:pt x="2197718" y="295682"/>
                  <a:pt x="2215753" y="295999"/>
                </a:cubicBezTo>
                <a:close/>
                <a:moveTo>
                  <a:pt x="2080307" y="294370"/>
                </a:moveTo>
                <a:cubicBezTo>
                  <a:pt x="2095700" y="294370"/>
                  <a:pt x="2102216" y="297267"/>
                  <a:pt x="2095158" y="300708"/>
                </a:cubicBezTo>
                <a:cubicBezTo>
                  <a:pt x="2080469" y="305712"/>
                  <a:pt x="2065042" y="308221"/>
                  <a:pt x="2049524" y="308132"/>
                </a:cubicBezTo>
                <a:cubicBezTo>
                  <a:pt x="2032685" y="308132"/>
                  <a:pt x="2025803" y="305054"/>
                  <a:pt x="2034495" y="301252"/>
                </a:cubicBezTo>
                <a:cubicBezTo>
                  <a:pt x="2049290" y="296515"/>
                  <a:pt x="2064769" y="294191"/>
                  <a:pt x="2080307" y="294370"/>
                </a:cubicBezTo>
                <a:close/>
                <a:moveTo>
                  <a:pt x="5460463" y="293463"/>
                </a:moveTo>
                <a:cubicBezTo>
                  <a:pt x="5482116" y="292475"/>
                  <a:pt x="5503747" y="295925"/>
                  <a:pt x="5524020" y="303603"/>
                </a:cubicBezTo>
                <a:cubicBezTo>
                  <a:pt x="5535428" y="310122"/>
                  <a:pt x="5524020" y="314831"/>
                  <a:pt x="5495048" y="314649"/>
                </a:cubicBezTo>
                <a:cubicBezTo>
                  <a:pt x="5473451" y="315544"/>
                  <a:pt x="5451910" y="311839"/>
                  <a:pt x="5431852" y="303784"/>
                </a:cubicBezTo>
                <a:cubicBezTo>
                  <a:pt x="5422436" y="297628"/>
                  <a:pt x="5434388" y="293463"/>
                  <a:pt x="5460463" y="293463"/>
                </a:cubicBezTo>
                <a:close/>
                <a:moveTo>
                  <a:pt x="1943951" y="292377"/>
                </a:moveTo>
                <a:cubicBezTo>
                  <a:pt x="1957713" y="292377"/>
                  <a:pt x="1962058" y="294913"/>
                  <a:pt x="1954999" y="298172"/>
                </a:cubicBezTo>
                <a:cubicBezTo>
                  <a:pt x="1942287" y="302156"/>
                  <a:pt x="1929031" y="304110"/>
                  <a:pt x="1915704" y="303966"/>
                </a:cubicBezTo>
                <a:cubicBezTo>
                  <a:pt x="1901760" y="303966"/>
                  <a:pt x="1897595" y="301249"/>
                  <a:pt x="1905022" y="298172"/>
                </a:cubicBezTo>
                <a:cubicBezTo>
                  <a:pt x="1917605" y="294187"/>
                  <a:pt x="1930756" y="292231"/>
                  <a:pt x="1943951" y="292377"/>
                </a:cubicBezTo>
                <a:close/>
                <a:moveTo>
                  <a:pt x="5315962" y="290205"/>
                </a:moveTo>
                <a:cubicBezTo>
                  <a:pt x="5339249" y="289218"/>
                  <a:pt x="5362487" y="293041"/>
                  <a:pt x="5384230" y="301432"/>
                </a:cubicBezTo>
                <a:cubicBezTo>
                  <a:pt x="5394551" y="307951"/>
                  <a:pt x="5380065" y="313202"/>
                  <a:pt x="5351636" y="313202"/>
                </a:cubicBezTo>
                <a:cubicBezTo>
                  <a:pt x="5328469" y="314312"/>
                  <a:pt x="5305345" y="310291"/>
                  <a:pt x="5283912" y="301432"/>
                </a:cubicBezTo>
                <a:cubicBezTo>
                  <a:pt x="5275220" y="295275"/>
                  <a:pt x="5289526" y="290385"/>
                  <a:pt x="5315962" y="290205"/>
                </a:cubicBezTo>
                <a:close/>
                <a:moveTo>
                  <a:pt x="1806874" y="290204"/>
                </a:moveTo>
                <a:cubicBezTo>
                  <a:pt x="1816471" y="290024"/>
                  <a:pt x="1819732" y="292377"/>
                  <a:pt x="1813756" y="294731"/>
                </a:cubicBezTo>
                <a:cubicBezTo>
                  <a:pt x="1803181" y="297887"/>
                  <a:pt x="1792190" y="299413"/>
                  <a:pt x="1781161" y="299259"/>
                </a:cubicBezTo>
                <a:cubicBezTo>
                  <a:pt x="1771565" y="299259"/>
                  <a:pt x="1768487" y="297086"/>
                  <a:pt x="1774463" y="294731"/>
                </a:cubicBezTo>
                <a:cubicBezTo>
                  <a:pt x="1784982" y="291617"/>
                  <a:pt x="1795902" y="290090"/>
                  <a:pt x="1806874" y="290204"/>
                </a:cubicBezTo>
                <a:close/>
                <a:moveTo>
                  <a:pt x="1669608" y="289119"/>
                </a:moveTo>
                <a:cubicBezTo>
                  <a:pt x="1677758" y="290024"/>
                  <a:pt x="1680653" y="290024"/>
                  <a:pt x="1675946" y="292196"/>
                </a:cubicBezTo>
                <a:cubicBezTo>
                  <a:pt x="1668558" y="294515"/>
                  <a:pt x="1660880" y="295736"/>
                  <a:pt x="1653131" y="295818"/>
                </a:cubicBezTo>
                <a:cubicBezTo>
                  <a:pt x="1644077" y="295818"/>
                  <a:pt x="1640816" y="294369"/>
                  <a:pt x="1646613" y="292379"/>
                </a:cubicBezTo>
                <a:cubicBezTo>
                  <a:pt x="1654109" y="290309"/>
                  <a:pt x="1661840" y="289214"/>
                  <a:pt x="1669608" y="289119"/>
                </a:cubicBezTo>
                <a:close/>
                <a:moveTo>
                  <a:pt x="6437921" y="288032"/>
                </a:moveTo>
                <a:cubicBezTo>
                  <a:pt x="6446358" y="287840"/>
                  <a:pt x="6454797" y="288940"/>
                  <a:pt x="6462909" y="291292"/>
                </a:cubicBezTo>
                <a:cubicBezTo>
                  <a:pt x="6468703" y="293465"/>
                  <a:pt x="6466167" y="294914"/>
                  <a:pt x="6456751" y="294733"/>
                </a:cubicBezTo>
                <a:cubicBezTo>
                  <a:pt x="6448930" y="294695"/>
                  <a:pt x="6441143" y="293661"/>
                  <a:pt x="6433573" y="291653"/>
                </a:cubicBezTo>
                <a:cubicBezTo>
                  <a:pt x="6427237" y="289480"/>
                  <a:pt x="6429047" y="288032"/>
                  <a:pt x="6437921" y="288032"/>
                </a:cubicBezTo>
                <a:close/>
                <a:moveTo>
                  <a:pt x="5172549" y="286039"/>
                </a:moveTo>
                <a:cubicBezTo>
                  <a:pt x="5196677" y="285104"/>
                  <a:pt x="5220735" y="289237"/>
                  <a:pt x="5243168" y="298172"/>
                </a:cubicBezTo>
                <a:cubicBezTo>
                  <a:pt x="5251860" y="304871"/>
                  <a:pt x="5233752" y="310848"/>
                  <a:pt x="5204780" y="310666"/>
                </a:cubicBezTo>
                <a:cubicBezTo>
                  <a:pt x="5180691" y="311728"/>
                  <a:pt x="5156675" y="307333"/>
                  <a:pt x="5134522" y="297811"/>
                </a:cubicBezTo>
                <a:cubicBezTo>
                  <a:pt x="5127822" y="291472"/>
                  <a:pt x="5145386" y="286039"/>
                  <a:pt x="5172549" y="286039"/>
                </a:cubicBezTo>
                <a:close/>
                <a:moveTo>
                  <a:pt x="6286721" y="284591"/>
                </a:moveTo>
                <a:cubicBezTo>
                  <a:pt x="6297616" y="284785"/>
                  <a:pt x="6308420" y="286616"/>
                  <a:pt x="6318771" y="290023"/>
                </a:cubicBezTo>
                <a:cubicBezTo>
                  <a:pt x="6325651" y="292739"/>
                  <a:pt x="6321849" y="294551"/>
                  <a:pt x="6310079" y="294551"/>
                </a:cubicBezTo>
                <a:cubicBezTo>
                  <a:pt x="6299152" y="294703"/>
                  <a:pt x="6288274" y="293114"/>
                  <a:pt x="6277847" y="289842"/>
                </a:cubicBezTo>
                <a:cubicBezTo>
                  <a:pt x="6271147" y="286401"/>
                  <a:pt x="6275313" y="284410"/>
                  <a:pt x="6286721" y="284591"/>
                </a:cubicBezTo>
                <a:close/>
                <a:moveTo>
                  <a:pt x="3634658" y="284410"/>
                </a:moveTo>
                <a:cubicBezTo>
                  <a:pt x="3672684" y="284591"/>
                  <a:pt x="3696405" y="290929"/>
                  <a:pt x="3692421" y="299440"/>
                </a:cubicBezTo>
                <a:cubicBezTo>
                  <a:pt x="3688438" y="307951"/>
                  <a:pt x="3656568" y="314831"/>
                  <a:pt x="3617999" y="314651"/>
                </a:cubicBezTo>
                <a:cubicBezTo>
                  <a:pt x="3579610" y="314651"/>
                  <a:pt x="3555164" y="307769"/>
                  <a:pt x="3560415" y="299077"/>
                </a:cubicBezTo>
                <a:cubicBezTo>
                  <a:pt x="3565666" y="290386"/>
                  <a:pt x="3596631" y="284230"/>
                  <a:pt x="3634658" y="284410"/>
                </a:cubicBezTo>
                <a:close/>
                <a:moveTo>
                  <a:pt x="5025333" y="282781"/>
                </a:moveTo>
                <a:cubicBezTo>
                  <a:pt x="5049771" y="281182"/>
                  <a:pt x="5074238" y="285467"/>
                  <a:pt x="5096678" y="295275"/>
                </a:cubicBezTo>
                <a:cubicBezTo>
                  <a:pt x="5106094" y="303061"/>
                  <a:pt x="5089435" y="308132"/>
                  <a:pt x="5058109" y="308132"/>
                </a:cubicBezTo>
                <a:cubicBezTo>
                  <a:pt x="5025516" y="308132"/>
                  <a:pt x="4994551" y="302698"/>
                  <a:pt x="4985679" y="295275"/>
                </a:cubicBezTo>
                <a:cubicBezTo>
                  <a:pt x="4976806" y="287851"/>
                  <a:pt x="4994914" y="282961"/>
                  <a:pt x="5025333" y="282781"/>
                </a:cubicBezTo>
                <a:close/>
                <a:moveTo>
                  <a:pt x="3499936" y="282600"/>
                </a:moveTo>
                <a:cubicBezTo>
                  <a:pt x="3533979" y="282961"/>
                  <a:pt x="3557156" y="290024"/>
                  <a:pt x="3552267" y="297267"/>
                </a:cubicBezTo>
                <a:cubicBezTo>
                  <a:pt x="3547197" y="305054"/>
                  <a:pt x="3513698" y="311934"/>
                  <a:pt x="3478750" y="311934"/>
                </a:cubicBezTo>
                <a:cubicBezTo>
                  <a:pt x="3443801" y="311934"/>
                  <a:pt x="3417365" y="304873"/>
                  <a:pt x="3424425" y="296723"/>
                </a:cubicBezTo>
                <a:cubicBezTo>
                  <a:pt x="3431488" y="288575"/>
                  <a:pt x="3465894" y="282237"/>
                  <a:pt x="3499936" y="282600"/>
                </a:cubicBezTo>
                <a:close/>
                <a:moveTo>
                  <a:pt x="6138418" y="280064"/>
                </a:moveTo>
                <a:cubicBezTo>
                  <a:pt x="6151368" y="279937"/>
                  <a:pt x="6164259" y="281831"/>
                  <a:pt x="6176624" y="285678"/>
                </a:cubicBezTo>
                <a:cubicBezTo>
                  <a:pt x="6184955" y="288937"/>
                  <a:pt x="6180609" y="291292"/>
                  <a:pt x="6166303" y="291473"/>
                </a:cubicBezTo>
                <a:cubicBezTo>
                  <a:pt x="6152663" y="291756"/>
                  <a:pt x="6139072" y="289735"/>
                  <a:pt x="6126105" y="285498"/>
                </a:cubicBezTo>
                <a:cubicBezTo>
                  <a:pt x="6118679" y="282237"/>
                  <a:pt x="6123932" y="280064"/>
                  <a:pt x="6138418" y="280064"/>
                </a:cubicBezTo>
                <a:close/>
                <a:moveTo>
                  <a:pt x="3361049" y="280064"/>
                </a:moveTo>
                <a:cubicBezTo>
                  <a:pt x="3395455" y="280064"/>
                  <a:pt x="3417184" y="285678"/>
                  <a:pt x="3411751" y="293463"/>
                </a:cubicBezTo>
                <a:cubicBezTo>
                  <a:pt x="3406320" y="301249"/>
                  <a:pt x="3375536" y="307588"/>
                  <a:pt x="3339319" y="307588"/>
                </a:cubicBezTo>
                <a:cubicBezTo>
                  <a:pt x="3303104" y="307588"/>
                  <a:pt x="3283910" y="301793"/>
                  <a:pt x="3289885" y="294006"/>
                </a:cubicBezTo>
                <a:cubicBezTo>
                  <a:pt x="3295861" y="286221"/>
                  <a:pt x="3326825" y="280064"/>
                  <a:pt x="3361049" y="280064"/>
                </a:cubicBezTo>
                <a:close/>
                <a:moveTo>
                  <a:pt x="4887715" y="279340"/>
                </a:moveTo>
                <a:cubicBezTo>
                  <a:pt x="4918497" y="279703"/>
                  <a:pt x="4951272" y="285678"/>
                  <a:pt x="4958154" y="292741"/>
                </a:cubicBezTo>
                <a:cubicBezTo>
                  <a:pt x="4965397" y="299803"/>
                  <a:pt x="4944211" y="306140"/>
                  <a:pt x="4912522" y="306140"/>
                </a:cubicBezTo>
                <a:cubicBezTo>
                  <a:pt x="4880833" y="306140"/>
                  <a:pt x="4845161" y="299260"/>
                  <a:pt x="4840091" y="292016"/>
                </a:cubicBezTo>
                <a:cubicBezTo>
                  <a:pt x="4835021" y="284773"/>
                  <a:pt x="4856931" y="278979"/>
                  <a:pt x="4887715" y="279340"/>
                </a:cubicBezTo>
                <a:close/>
                <a:moveTo>
                  <a:pt x="4128457" y="278798"/>
                </a:moveTo>
                <a:cubicBezTo>
                  <a:pt x="4114332" y="286402"/>
                  <a:pt x="4108357" y="287670"/>
                  <a:pt x="4071597" y="291472"/>
                </a:cubicBezTo>
                <a:cubicBezTo>
                  <a:pt x="4089931" y="291124"/>
                  <a:pt x="4108018" y="295757"/>
                  <a:pt x="4123928" y="304873"/>
                </a:cubicBezTo>
                <a:cubicBezTo>
                  <a:pt x="4142648" y="297464"/>
                  <a:pt x="4162651" y="293833"/>
                  <a:pt x="4182780" y="294189"/>
                </a:cubicBezTo>
                <a:cubicBezTo>
                  <a:pt x="4150004" y="291292"/>
                  <a:pt x="4134251" y="286221"/>
                  <a:pt x="4128457" y="278798"/>
                </a:cubicBezTo>
                <a:close/>
                <a:moveTo>
                  <a:pt x="3227956" y="278252"/>
                </a:moveTo>
                <a:cubicBezTo>
                  <a:pt x="3258377" y="278252"/>
                  <a:pt x="3279565" y="284590"/>
                  <a:pt x="3272502" y="291470"/>
                </a:cubicBezTo>
                <a:cubicBezTo>
                  <a:pt x="3265440" y="298352"/>
                  <a:pt x="3231217" y="305051"/>
                  <a:pt x="3200071" y="304871"/>
                </a:cubicBezTo>
                <a:cubicBezTo>
                  <a:pt x="3168926" y="304690"/>
                  <a:pt x="3147921" y="298171"/>
                  <a:pt x="3155888" y="291109"/>
                </a:cubicBezTo>
                <a:cubicBezTo>
                  <a:pt x="3178555" y="281184"/>
                  <a:pt x="3203256" y="276779"/>
                  <a:pt x="3227956" y="278252"/>
                </a:cubicBezTo>
                <a:close/>
                <a:moveTo>
                  <a:pt x="5992831" y="276806"/>
                </a:moveTo>
                <a:cubicBezTo>
                  <a:pt x="6008505" y="276384"/>
                  <a:pt x="6024132" y="278713"/>
                  <a:pt x="6039004" y="283686"/>
                </a:cubicBezTo>
                <a:cubicBezTo>
                  <a:pt x="6046971" y="287488"/>
                  <a:pt x="6039909" y="290024"/>
                  <a:pt x="6023613" y="290024"/>
                </a:cubicBezTo>
                <a:cubicBezTo>
                  <a:pt x="6008560" y="290216"/>
                  <a:pt x="5993574" y="287954"/>
                  <a:pt x="5979250" y="283325"/>
                </a:cubicBezTo>
                <a:cubicBezTo>
                  <a:pt x="5970919" y="279703"/>
                  <a:pt x="5976894" y="276806"/>
                  <a:pt x="5992831" y="276806"/>
                </a:cubicBezTo>
                <a:close/>
                <a:moveTo>
                  <a:pt x="4746655" y="276623"/>
                </a:moveTo>
                <a:cubicBezTo>
                  <a:pt x="4781060" y="276443"/>
                  <a:pt x="4811481" y="282237"/>
                  <a:pt x="4819086" y="290024"/>
                </a:cubicBezTo>
                <a:cubicBezTo>
                  <a:pt x="4826692" y="297809"/>
                  <a:pt x="4806411" y="303967"/>
                  <a:pt x="4771101" y="304148"/>
                </a:cubicBezTo>
                <a:cubicBezTo>
                  <a:pt x="4734885" y="304148"/>
                  <a:pt x="4704645" y="298353"/>
                  <a:pt x="4698670" y="290386"/>
                </a:cubicBezTo>
                <a:cubicBezTo>
                  <a:pt x="4692694" y="282418"/>
                  <a:pt x="4712251" y="276804"/>
                  <a:pt x="4746655" y="276623"/>
                </a:cubicBezTo>
                <a:close/>
                <a:moveTo>
                  <a:pt x="3990838" y="275900"/>
                </a:moveTo>
                <a:cubicBezTo>
                  <a:pt x="3972181" y="285126"/>
                  <a:pt x="3951516" y="289544"/>
                  <a:pt x="3930720" y="288755"/>
                </a:cubicBezTo>
                <a:cubicBezTo>
                  <a:pt x="3948885" y="289628"/>
                  <a:pt x="3966742" y="293799"/>
                  <a:pt x="3983412" y="301069"/>
                </a:cubicBezTo>
                <a:cubicBezTo>
                  <a:pt x="4002364" y="293999"/>
                  <a:pt x="4022399" y="290261"/>
                  <a:pt x="4042625" y="290023"/>
                </a:cubicBezTo>
                <a:cubicBezTo>
                  <a:pt x="4011118" y="287670"/>
                  <a:pt x="3996993" y="282419"/>
                  <a:pt x="3990838" y="275900"/>
                </a:cubicBezTo>
                <a:close/>
                <a:moveTo>
                  <a:pt x="3087261" y="275899"/>
                </a:moveTo>
                <a:cubicBezTo>
                  <a:pt x="3117499" y="275718"/>
                  <a:pt x="3135970" y="280969"/>
                  <a:pt x="3129088" y="287669"/>
                </a:cubicBezTo>
                <a:cubicBezTo>
                  <a:pt x="3122028" y="294731"/>
                  <a:pt x="3092873" y="300345"/>
                  <a:pt x="3061186" y="300526"/>
                </a:cubicBezTo>
                <a:cubicBezTo>
                  <a:pt x="3029497" y="300706"/>
                  <a:pt x="3011933" y="295094"/>
                  <a:pt x="3019900" y="288212"/>
                </a:cubicBezTo>
                <a:cubicBezTo>
                  <a:pt x="3040991" y="278608"/>
                  <a:pt x="3064134" y="274378"/>
                  <a:pt x="3087261" y="275899"/>
                </a:cubicBezTo>
                <a:close/>
                <a:moveTo>
                  <a:pt x="2955979" y="274453"/>
                </a:moveTo>
                <a:cubicBezTo>
                  <a:pt x="2983502" y="274453"/>
                  <a:pt x="2997808" y="279340"/>
                  <a:pt x="2989658" y="285859"/>
                </a:cubicBezTo>
                <a:cubicBezTo>
                  <a:pt x="2968822" y="294992"/>
                  <a:pt x="2946076" y="298906"/>
                  <a:pt x="2923385" y="297268"/>
                </a:cubicBezTo>
                <a:cubicBezTo>
                  <a:pt x="2893688" y="297268"/>
                  <a:pt x="2879382" y="292017"/>
                  <a:pt x="2889162" y="285317"/>
                </a:cubicBezTo>
                <a:cubicBezTo>
                  <a:pt x="2910347" y="276764"/>
                  <a:pt x="2933175" y="273052"/>
                  <a:pt x="2955979" y="274453"/>
                </a:cubicBezTo>
                <a:close/>
                <a:moveTo>
                  <a:pt x="5849055" y="272821"/>
                </a:moveTo>
                <a:cubicBezTo>
                  <a:pt x="5865640" y="272726"/>
                  <a:pt x="5882138" y="275230"/>
                  <a:pt x="5897947" y="280245"/>
                </a:cubicBezTo>
                <a:cubicBezTo>
                  <a:pt x="5906819" y="284410"/>
                  <a:pt x="5897947" y="288032"/>
                  <a:pt x="5879839" y="287851"/>
                </a:cubicBezTo>
                <a:cubicBezTo>
                  <a:pt x="5863245" y="287893"/>
                  <a:pt x="5846747" y="285324"/>
                  <a:pt x="5830947" y="280245"/>
                </a:cubicBezTo>
                <a:cubicBezTo>
                  <a:pt x="5822619" y="276082"/>
                  <a:pt x="5830947" y="272460"/>
                  <a:pt x="5849055" y="272821"/>
                </a:cubicBezTo>
                <a:close/>
                <a:moveTo>
                  <a:pt x="4609398" y="272821"/>
                </a:moveTo>
                <a:cubicBezTo>
                  <a:pt x="4643622" y="273002"/>
                  <a:pt x="4675854" y="279160"/>
                  <a:pt x="4681829" y="286583"/>
                </a:cubicBezTo>
                <a:cubicBezTo>
                  <a:pt x="4687804" y="294007"/>
                  <a:pt x="4663722" y="301431"/>
                  <a:pt x="4627506" y="301431"/>
                </a:cubicBezTo>
                <a:cubicBezTo>
                  <a:pt x="4591291" y="301431"/>
                  <a:pt x="4559421" y="294731"/>
                  <a:pt x="4555075" y="287127"/>
                </a:cubicBezTo>
                <a:cubicBezTo>
                  <a:pt x="4549824" y="279340"/>
                  <a:pt x="4575175" y="272641"/>
                  <a:pt x="4609398" y="272821"/>
                </a:cubicBezTo>
                <a:close/>
                <a:moveTo>
                  <a:pt x="2820373" y="271915"/>
                </a:moveTo>
                <a:cubicBezTo>
                  <a:pt x="2845722" y="271915"/>
                  <a:pt x="2862202" y="276443"/>
                  <a:pt x="2854775" y="282237"/>
                </a:cubicBezTo>
                <a:cubicBezTo>
                  <a:pt x="2834437" y="290433"/>
                  <a:pt x="2812581" y="294199"/>
                  <a:pt x="2790676" y="293283"/>
                </a:cubicBezTo>
                <a:cubicBezTo>
                  <a:pt x="2764781" y="293283"/>
                  <a:pt x="2749389" y="288212"/>
                  <a:pt x="2758443" y="282418"/>
                </a:cubicBezTo>
                <a:cubicBezTo>
                  <a:pt x="2778182" y="274819"/>
                  <a:pt x="2799232" y="271249"/>
                  <a:pt x="2820373" y="271915"/>
                </a:cubicBezTo>
                <a:close/>
                <a:moveTo>
                  <a:pt x="2690539" y="270467"/>
                </a:moveTo>
                <a:cubicBezTo>
                  <a:pt x="2713536" y="270648"/>
                  <a:pt x="2725123" y="275174"/>
                  <a:pt x="2716432" y="280425"/>
                </a:cubicBezTo>
                <a:cubicBezTo>
                  <a:pt x="2697477" y="287550"/>
                  <a:pt x="2677283" y="290869"/>
                  <a:pt x="2657039" y="290204"/>
                </a:cubicBezTo>
                <a:cubicBezTo>
                  <a:pt x="2631868" y="290204"/>
                  <a:pt x="2619374" y="285677"/>
                  <a:pt x="2628971" y="280064"/>
                </a:cubicBezTo>
                <a:cubicBezTo>
                  <a:pt x="2648693" y="272965"/>
                  <a:pt x="2669588" y="269709"/>
                  <a:pt x="2690539" y="270467"/>
                </a:cubicBezTo>
                <a:close/>
                <a:moveTo>
                  <a:pt x="4472143" y="270285"/>
                </a:moveTo>
                <a:cubicBezTo>
                  <a:pt x="4507634" y="270285"/>
                  <a:pt x="4538960" y="276623"/>
                  <a:pt x="4543306" y="284952"/>
                </a:cubicBezTo>
                <a:cubicBezTo>
                  <a:pt x="4547471" y="293282"/>
                  <a:pt x="4521757" y="299620"/>
                  <a:pt x="4483732" y="299438"/>
                </a:cubicBezTo>
                <a:cubicBezTo>
                  <a:pt x="4445704" y="299257"/>
                  <a:pt x="4416190" y="292377"/>
                  <a:pt x="4413654" y="284047"/>
                </a:cubicBezTo>
                <a:cubicBezTo>
                  <a:pt x="4411120" y="275718"/>
                  <a:pt x="4436651" y="270285"/>
                  <a:pt x="4472143" y="270285"/>
                </a:cubicBezTo>
                <a:close/>
                <a:moveTo>
                  <a:pt x="5706368" y="269743"/>
                </a:moveTo>
                <a:cubicBezTo>
                  <a:pt x="5724825" y="269480"/>
                  <a:pt x="5743193" y="272359"/>
                  <a:pt x="5760691" y="278252"/>
                </a:cubicBezTo>
                <a:cubicBezTo>
                  <a:pt x="5769200" y="282598"/>
                  <a:pt x="5759242" y="286583"/>
                  <a:pt x="5739142" y="286402"/>
                </a:cubicBezTo>
                <a:cubicBezTo>
                  <a:pt x="5720673" y="286790"/>
                  <a:pt x="5702284" y="283908"/>
                  <a:pt x="5684819" y="277891"/>
                </a:cubicBezTo>
                <a:cubicBezTo>
                  <a:pt x="5676488" y="273545"/>
                  <a:pt x="5686811" y="269743"/>
                  <a:pt x="5706368" y="269743"/>
                </a:cubicBezTo>
                <a:close/>
                <a:moveTo>
                  <a:pt x="2558173" y="268112"/>
                </a:moveTo>
                <a:cubicBezTo>
                  <a:pt x="2581351" y="268292"/>
                  <a:pt x="2590402" y="271914"/>
                  <a:pt x="2581351" y="277167"/>
                </a:cubicBezTo>
                <a:cubicBezTo>
                  <a:pt x="2563476" y="283781"/>
                  <a:pt x="2544446" y="286739"/>
                  <a:pt x="2525395" y="285859"/>
                </a:cubicBezTo>
                <a:cubicBezTo>
                  <a:pt x="2502217" y="285859"/>
                  <a:pt x="2492622" y="282054"/>
                  <a:pt x="2502401" y="276804"/>
                </a:cubicBezTo>
                <a:cubicBezTo>
                  <a:pt x="2520272" y="270376"/>
                  <a:pt x="2539193" y="267425"/>
                  <a:pt x="2558173" y="268112"/>
                </a:cubicBezTo>
                <a:close/>
                <a:moveTo>
                  <a:pt x="2425262" y="266663"/>
                </a:moveTo>
                <a:cubicBezTo>
                  <a:pt x="2445360" y="266663"/>
                  <a:pt x="2454593" y="270648"/>
                  <a:pt x="2445903" y="274994"/>
                </a:cubicBezTo>
                <a:cubicBezTo>
                  <a:pt x="2428415" y="280879"/>
                  <a:pt x="2410015" y="283579"/>
                  <a:pt x="2391579" y="282961"/>
                </a:cubicBezTo>
                <a:cubicBezTo>
                  <a:pt x="2371843" y="282961"/>
                  <a:pt x="2363514" y="278615"/>
                  <a:pt x="2373472" y="274269"/>
                </a:cubicBezTo>
                <a:cubicBezTo>
                  <a:pt x="2390222" y="269036"/>
                  <a:pt x="2407716" y="266469"/>
                  <a:pt x="2425262" y="266663"/>
                </a:cubicBezTo>
                <a:close/>
                <a:moveTo>
                  <a:pt x="5566393" y="265939"/>
                </a:moveTo>
                <a:cubicBezTo>
                  <a:pt x="5584930" y="265439"/>
                  <a:pt x="5603386" y="268578"/>
                  <a:pt x="5620716" y="275174"/>
                </a:cubicBezTo>
                <a:cubicBezTo>
                  <a:pt x="5629952" y="280425"/>
                  <a:pt x="5618363" y="284047"/>
                  <a:pt x="5593192" y="283686"/>
                </a:cubicBezTo>
                <a:cubicBezTo>
                  <a:pt x="5574608" y="284397"/>
                  <a:pt x="5556085" y="281125"/>
                  <a:pt x="5538869" y="274087"/>
                </a:cubicBezTo>
                <a:cubicBezTo>
                  <a:pt x="5531807" y="269199"/>
                  <a:pt x="5543215" y="265758"/>
                  <a:pt x="5566393" y="265939"/>
                </a:cubicBezTo>
                <a:close/>
                <a:moveTo>
                  <a:pt x="2291625" y="264310"/>
                </a:moveTo>
                <a:cubicBezTo>
                  <a:pt x="2308103" y="264310"/>
                  <a:pt x="2316074" y="267932"/>
                  <a:pt x="2308103" y="271553"/>
                </a:cubicBezTo>
                <a:cubicBezTo>
                  <a:pt x="2291897" y="276719"/>
                  <a:pt x="2274950" y="279167"/>
                  <a:pt x="2257943" y="278797"/>
                </a:cubicBezTo>
                <a:cubicBezTo>
                  <a:pt x="2241469" y="278797"/>
                  <a:pt x="2234586" y="274812"/>
                  <a:pt x="2243458" y="271190"/>
                </a:cubicBezTo>
                <a:cubicBezTo>
                  <a:pt x="2259069" y="266439"/>
                  <a:pt x="2275314" y="264118"/>
                  <a:pt x="2291625" y="264310"/>
                </a:cubicBezTo>
                <a:close/>
                <a:moveTo>
                  <a:pt x="2160343" y="263225"/>
                </a:moveTo>
                <a:cubicBezTo>
                  <a:pt x="2175193" y="263225"/>
                  <a:pt x="2180988" y="266666"/>
                  <a:pt x="2172294" y="269924"/>
                </a:cubicBezTo>
                <a:cubicBezTo>
                  <a:pt x="2158459" y="273884"/>
                  <a:pt x="2144137" y="275837"/>
                  <a:pt x="2129738" y="275719"/>
                </a:cubicBezTo>
                <a:cubicBezTo>
                  <a:pt x="2114712" y="275719"/>
                  <a:pt x="2109097" y="272097"/>
                  <a:pt x="2118150" y="268839"/>
                </a:cubicBezTo>
                <a:cubicBezTo>
                  <a:pt x="2131895" y="265042"/>
                  <a:pt x="2146095" y="263154"/>
                  <a:pt x="2160343" y="263225"/>
                </a:cubicBezTo>
                <a:close/>
                <a:moveTo>
                  <a:pt x="5422255" y="262498"/>
                </a:moveTo>
                <a:cubicBezTo>
                  <a:pt x="5442062" y="262082"/>
                  <a:pt x="5461756" y="265589"/>
                  <a:pt x="5480200" y="272821"/>
                </a:cubicBezTo>
                <a:cubicBezTo>
                  <a:pt x="5488892" y="278253"/>
                  <a:pt x="5475312" y="282779"/>
                  <a:pt x="5450142" y="282418"/>
                </a:cubicBezTo>
                <a:cubicBezTo>
                  <a:pt x="5430255" y="282905"/>
                  <a:pt x="5410474" y="279332"/>
                  <a:pt x="5392017" y="271914"/>
                </a:cubicBezTo>
                <a:cubicBezTo>
                  <a:pt x="5383867" y="266483"/>
                  <a:pt x="5397629" y="262317"/>
                  <a:pt x="5422255" y="262498"/>
                </a:cubicBezTo>
                <a:close/>
                <a:moveTo>
                  <a:pt x="2030870" y="261052"/>
                </a:moveTo>
                <a:cubicBezTo>
                  <a:pt x="2042460" y="261052"/>
                  <a:pt x="2048071" y="263588"/>
                  <a:pt x="2041010" y="266302"/>
                </a:cubicBezTo>
                <a:cubicBezTo>
                  <a:pt x="2029531" y="269614"/>
                  <a:pt x="2017649" y="271321"/>
                  <a:pt x="2005700" y="271373"/>
                </a:cubicBezTo>
                <a:cubicBezTo>
                  <a:pt x="1992845" y="271373"/>
                  <a:pt x="1987592" y="268839"/>
                  <a:pt x="1994654" y="266122"/>
                </a:cubicBezTo>
                <a:cubicBezTo>
                  <a:pt x="2006427" y="262744"/>
                  <a:pt x="2018627" y="261036"/>
                  <a:pt x="2030870" y="261052"/>
                </a:cubicBezTo>
                <a:close/>
                <a:moveTo>
                  <a:pt x="1900848" y="259964"/>
                </a:moveTo>
                <a:cubicBezTo>
                  <a:pt x="1909539" y="260144"/>
                  <a:pt x="1912438" y="262317"/>
                  <a:pt x="1906823" y="264310"/>
                </a:cubicBezTo>
                <a:cubicBezTo>
                  <a:pt x="1897319" y="266855"/>
                  <a:pt x="1887521" y="268134"/>
                  <a:pt x="1877670" y="268112"/>
                </a:cubicBezTo>
                <a:cubicBezTo>
                  <a:pt x="1868436" y="268112"/>
                  <a:pt x="1864813" y="266121"/>
                  <a:pt x="1870065" y="264129"/>
                </a:cubicBezTo>
                <a:cubicBezTo>
                  <a:pt x="1880080" y="261342"/>
                  <a:pt x="1890435" y="259941"/>
                  <a:pt x="1900848" y="259964"/>
                </a:cubicBezTo>
                <a:close/>
                <a:moveTo>
                  <a:pt x="3919492" y="259783"/>
                </a:moveTo>
                <a:cubicBezTo>
                  <a:pt x="3935613" y="258872"/>
                  <a:pt x="3951786" y="259907"/>
                  <a:pt x="3967660" y="262863"/>
                </a:cubicBezTo>
                <a:cubicBezTo>
                  <a:pt x="3977123" y="265330"/>
                  <a:pt x="3986435" y="268353"/>
                  <a:pt x="3995545" y="271916"/>
                </a:cubicBezTo>
                <a:cubicBezTo>
                  <a:pt x="4017371" y="262713"/>
                  <a:pt x="4041131" y="259042"/>
                  <a:pt x="4064717" y="261232"/>
                </a:cubicBezTo>
                <a:cubicBezTo>
                  <a:pt x="4102382" y="261232"/>
                  <a:pt x="4122480" y="267389"/>
                  <a:pt x="4129542" y="276081"/>
                </a:cubicBezTo>
                <a:cubicBezTo>
                  <a:pt x="4152431" y="266536"/>
                  <a:pt x="4177242" y="262505"/>
                  <a:pt x="4201973" y="264311"/>
                </a:cubicBezTo>
                <a:cubicBezTo>
                  <a:pt x="4232757" y="265397"/>
                  <a:pt x="4257384" y="270648"/>
                  <a:pt x="4263540" y="277530"/>
                </a:cubicBezTo>
                <a:cubicBezTo>
                  <a:pt x="4269697" y="284410"/>
                  <a:pt x="4252314" y="290567"/>
                  <a:pt x="4214287" y="294369"/>
                </a:cubicBezTo>
                <a:cubicBezTo>
                  <a:pt x="4224971" y="296362"/>
                  <a:pt x="4236560" y="297991"/>
                  <a:pt x="4245251" y="300164"/>
                </a:cubicBezTo>
                <a:cubicBezTo>
                  <a:pt x="4252278" y="302215"/>
                  <a:pt x="4259171" y="304694"/>
                  <a:pt x="4265893" y="307588"/>
                </a:cubicBezTo>
                <a:cubicBezTo>
                  <a:pt x="4287611" y="298668"/>
                  <a:pt x="4311112" y="294949"/>
                  <a:pt x="4334522" y="296723"/>
                </a:cubicBezTo>
                <a:cubicBezTo>
                  <a:pt x="4323477" y="295457"/>
                  <a:pt x="4311707" y="294732"/>
                  <a:pt x="4302652" y="293101"/>
                </a:cubicBezTo>
                <a:cubicBezTo>
                  <a:pt x="4295010" y="292039"/>
                  <a:pt x="4287529" y="290033"/>
                  <a:pt x="4280379" y="287126"/>
                </a:cubicBezTo>
                <a:cubicBezTo>
                  <a:pt x="4275492" y="284592"/>
                  <a:pt x="4273319" y="281695"/>
                  <a:pt x="4274043" y="278978"/>
                </a:cubicBezTo>
                <a:cubicBezTo>
                  <a:pt x="4276216" y="271735"/>
                  <a:pt x="4301384" y="266846"/>
                  <a:pt x="4333254" y="266665"/>
                </a:cubicBezTo>
                <a:cubicBezTo>
                  <a:pt x="4357360" y="264714"/>
                  <a:pt x="4381559" y="269018"/>
                  <a:pt x="4403512" y="279159"/>
                </a:cubicBezTo>
                <a:cubicBezTo>
                  <a:pt x="4412748" y="287307"/>
                  <a:pt x="4395364" y="293284"/>
                  <a:pt x="4348103" y="297267"/>
                </a:cubicBezTo>
                <a:cubicBezTo>
                  <a:pt x="4380697" y="300344"/>
                  <a:pt x="4400978" y="305234"/>
                  <a:pt x="4407858" y="313201"/>
                </a:cubicBezTo>
                <a:cubicBezTo>
                  <a:pt x="4430449" y="302635"/>
                  <a:pt x="4455478" y="298381"/>
                  <a:pt x="4480289" y="300888"/>
                </a:cubicBezTo>
                <a:cubicBezTo>
                  <a:pt x="4503870" y="299818"/>
                  <a:pt x="4527327" y="304871"/>
                  <a:pt x="4548374" y="315555"/>
                </a:cubicBezTo>
                <a:cubicBezTo>
                  <a:pt x="4557066" y="322981"/>
                  <a:pt x="4540951" y="329317"/>
                  <a:pt x="4498036" y="333663"/>
                </a:cubicBezTo>
                <a:cubicBezTo>
                  <a:pt x="4532439" y="337284"/>
                  <a:pt x="4555076" y="342898"/>
                  <a:pt x="4561956" y="351770"/>
                </a:cubicBezTo>
                <a:cubicBezTo>
                  <a:pt x="4568374" y="345229"/>
                  <a:pt x="4576911" y="341183"/>
                  <a:pt x="4586038" y="340364"/>
                </a:cubicBezTo>
                <a:cubicBezTo>
                  <a:pt x="4601646" y="337731"/>
                  <a:pt x="4617482" y="336699"/>
                  <a:pt x="4633301" y="337284"/>
                </a:cubicBezTo>
                <a:cubicBezTo>
                  <a:pt x="4658977" y="335978"/>
                  <a:pt x="4684556" y="341341"/>
                  <a:pt x="4707542" y="352858"/>
                </a:cubicBezTo>
                <a:cubicBezTo>
                  <a:pt x="4713880" y="358109"/>
                  <a:pt x="4711707" y="363179"/>
                  <a:pt x="4698126" y="366620"/>
                </a:cubicBezTo>
                <a:cubicBezTo>
                  <a:pt x="4684545" y="370061"/>
                  <a:pt x="4668429" y="371509"/>
                  <a:pt x="4653038" y="373863"/>
                </a:cubicBezTo>
                <a:cubicBezTo>
                  <a:pt x="4689254" y="376760"/>
                  <a:pt x="4714785" y="382916"/>
                  <a:pt x="4721123" y="391971"/>
                </a:cubicBezTo>
                <a:cubicBezTo>
                  <a:pt x="4727461" y="401024"/>
                  <a:pt x="4705550" y="410078"/>
                  <a:pt x="4662273" y="412251"/>
                </a:cubicBezTo>
                <a:cubicBezTo>
                  <a:pt x="4710259" y="417502"/>
                  <a:pt x="4736877" y="424745"/>
                  <a:pt x="4740136" y="434161"/>
                </a:cubicBezTo>
                <a:cubicBezTo>
                  <a:pt x="4744662" y="446475"/>
                  <a:pt x="4719494" y="452269"/>
                  <a:pt x="4672414" y="455529"/>
                </a:cubicBezTo>
                <a:cubicBezTo>
                  <a:pt x="4695679" y="456261"/>
                  <a:pt x="4718724" y="460286"/>
                  <a:pt x="4740860" y="467480"/>
                </a:cubicBezTo>
                <a:cubicBezTo>
                  <a:pt x="4751905" y="472006"/>
                  <a:pt x="4758968" y="476715"/>
                  <a:pt x="4758968" y="481966"/>
                </a:cubicBezTo>
                <a:cubicBezTo>
                  <a:pt x="4758968" y="493194"/>
                  <a:pt x="4733980" y="500074"/>
                  <a:pt x="4689797" y="501522"/>
                </a:cubicBezTo>
                <a:cubicBezTo>
                  <a:pt x="4649960" y="501522"/>
                  <a:pt x="4609941" y="493194"/>
                  <a:pt x="4595637" y="481241"/>
                </a:cubicBezTo>
                <a:cubicBezTo>
                  <a:pt x="4581331" y="469291"/>
                  <a:pt x="4600707" y="460961"/>
                  <a:pt x="4652675" y="454986"/>
                </a:cubicBezTo>
                <a:cubicBezTo>
                  <a:pt x="4638008" y="452632"/>
                  <a:pt x="4622073" y="450640"/>
                  <a:pt x="4609941" y="447743"/>
                </a:cubicBezTo>
                <a:cubicBezTo>
                  <a:pt x="4599194" y="444543"/>
                  <a:pt x="4588618" y="440794"/>
                  <a:pt x="4578253" y="436515"/>
                </a:cubicBezTo>
                <a:cubicBezTo>
                  <a:pt x="4566482" y="445207"/>
                  <a:pt x="4544572" y="450640"/>
                  <a:pt x="4506908" y="450820"/>
                </a:cubicBezTo>
                <a:cubicBezTo>
                  <a:pt x="4477394" y="452090"/>
                  <a:pt x="4447933" y="447283"/>
                  <a:pt x="4420354" y="436697"/>
                </a:cubicBezTo>
                <a:lnTo>
                  <a:pt x="4371825" y="449011"/>
                </a:lnTo>
                <a:cubicBezTo>
                  <a:pt x="4378524" y="450820"/>
                  <a:pt x="4387760" y="452993"/>
                  <a:pt x="4395184" y="455347"/>
                </a:cubicBezTo>
                <a:cubicBezTo>
                  <a:pt x="4402607" y="457702"/>
                  <a:pt x="4408945" y="461866"/>
                  <a:pt x="4417274" y="465487"/>
                </a:cubicBezTo>
                <a:cubicBezTo>
                  <a:pt x="4448805" y="453410"/>
                  <a:pt x="4482890" y="449549"/>
                  <a:pt x="4516324" y="454261"/>
                </a:cubicBezTo>
                <a:cubicBezTo>
                  <a:pt x="4556524" y="457883"/>
                  <a:pt x="4579883" y="466031"/>
                  <a:pt x="4584772" y="476534"/>
                </a:cubicBezTo>
                <a:cubicBezTo>
                  <a:pt x="4589660" y="487036"/>
                  <a:pt x="4572276" y="494642"/>
                  <a:pt x="4521214" y="500798"/>
                </a:cubicBezTo>
                <a:cubicBezTo>
                  <a:pt x="4567389" y="506412"/>
                  <a:pt x="4599620" y="516913"/>
                  <a:pt x="4597990" y="527597"/>
                </a:cubicBezTo>
                <a:cubicBezTo>
                  <a:pt x="4596361" y="538281"/>
                  <a:pt x="4579883" y="548241"/>
                  <a:pt x="4529000" y="550775"/>
                </a:cubicBezTo>
                <a:cubicBezTo>
                  <a:pt x="4491433" y="553355"/>
                  <a:pt x="4453874" y="545656"/>
                  <a:pt x="4420354" y="528502"/>
                </a:cubicBezTo>
                <a:cubicBezTo>
                  <a:pt x="4397670" y="541234"/>
                  <a:pt x="4371928" y="547498"/>
                  <a:pt x="4345930" y="546610"/>
                </a:cubicBezTo>
                <a:lnTo>
                  <a:pt x="4368384" y="550595"/>
                </a:lnTo>
                <a:cubicBezTo>
                  <a:pt x="4401339" y="556750"/>
                  <a:pt x="4422707" y="568702"/>
                  <a:pt x="4417093" y="578480"/>
                </a:cubicBezTo>
                <a:cubicBezTo>
                  <a:pt x="4410031" y="591517"/>
                  <a:pt x="4380878" y="600209"/>
                  <a:pt x="4339773" y="601296"/>
                </a:cubicBezTo>
                <a:cubicBezTo>
                  <a:pt x="4307185" y="603226"/>
                  <a:pt x="4274602" y="597392"/>
                  <a:pt x="4244708" y="584274"/>
                </a:cubicBezTo>
                <a:cubicBezTo>
                  <a:pt x="4241267" y="582101"/>
                  <a:pt x="4238552" y="579928"/>
                  <a:pt x="4233119" y="576126"/>
                </a:cubicBezTo>
                <a:cubicBezTo>
                  <a:pt x="4215011" y="590251"/>
                  <a:pt x="4185134" y="598399"/>
                  <a:pt x="4138597" y="597494"/>
                </a:cubicBezTo>
                <a:cubicBezTo>
                  <a:pt x="4092059" y="596587"/>
                  <a:pt x="4062725" y="586991"/>
                  <a:pt x="4048058" y="572505"/>
                </a:cubicBezTo>
                <a:cubicBezTo>
                  <a:pt x="4026871" y="587354"/>
                  <a:pt x="3991923" y="595321"/>
                  <a:pt x="3943033" y="593148"/>
                </a:cubicBezTo>
                <a:cubicBezTo>
                  <a:pt x="3894141" y="590975"/>
                  <a:pt x="3870602" y="580653"/>
                  <a:pt x="3865169" y="565805"/>
                </a:cubicBezTo>
                <a:cubicBezTo>
                  <a:pt x="3833341" y="582151"/>
                  <a:pt x="3797648" y="589477"/>
                  <a:pt x="3761956" y="586991"/>
                </a:cubicBezTo>
                <a:cubicBezTo>
                  <a:pt x="3707632" y="584637"/>
                  <a:pt x="3686627" y="573773"/>
                  <a:pt x="3683911" y="557838"/>
                </a:cubicBezTo>
                <a:cubicBezTo>
                  <a:pt x="3661818" y="575946"/>
                  <a:pt x="3621257" y="583913"/>
                  <a:pt x="3573452" y="581740"/>
                </a:cubicBezTo>
                <a:cubicBezTo>
                  <a:pt x="3528545" y="579748"/>
                  <a:pt x="3501021" y="568522"/>
                  <a:pt x="3508264" y="555302"/>
                </a:cubicBezTo>
                <a:cubicBezTo>
                  <a:pt x="3515508" y="542084"/>
                  <a:pt x="3551181" y="532124"/>
                  <a:pt x="3595906" y="530314"/>
                </a:cubicBezTo>
                <a:cubicBezTo>
                  <a:pt x="3640633" y="528502"/>
                  <a:pt x="3674314" y="536470"/>
                  <a:pt x="3686445" y="553673"/>
                </a:cubicBezTo>
                <a:cubicBezTo>
                  <a:pt x="3696600" y="548870"/>
                  <a:pt x="3707066" y="544756"/>
                  <a:pt x="3717773" y="541359"/>
                </a:cubicBezTo>
                <a:cubicBezTo>
                  <a:pt x="3730447" y="537918"/>
                  <a:pt x="3746563" y="535745"/>
                  <a:pt x="3761956" y="532848"/>
                </a:cubicBezTo>
                <a:cubicBezTo>
                  <a:pt x="3750329" y="530320"/>
                  <a:pt x="3738844" y="527175"/>
                  <a:pt x="3727550" y="523432"/>
                </a:cubicBezTo>
                <a:cubicBezTo>
                  <a:pt x="3721005" y="520132"/>
                  <a:pt x="3714919" y="515993"/>
                  <a:pt x="3709442" y="511119"/>
                </a:cubicBezTo>
                <a:cubicBezTo>
                  <a:pt x="3676919" y="524554"/>
                  <a:pt x="3641654" y="530017"/>
                  <a:pt x="3606590" y="527054"/>
                </a:cubicBezTo>
                <a:cubicBezTo>
                  <a:pt x="3566572" y="525424"/>
                  <a:pt x="3545748" y="516913"/>
                  <a:pt x="3541402" y="501161"/>
                </a:cubicBezTo>
                <a:cubicBezTo>
                  <a:pt x="3530072" y="509752"/>
                  <a:pt x="3516732" y="515299"/>
                  <a:pt x="3502653" y="517276"/>
                </a:cubicBezTo>
                <a:cubicBezTo>
                  <a:pt x="3481554" y="521457"/>
                  <a:pt x="3460047" y="523219"/>
                  <a:pt x="3438550" y="522527"/>
                </a:cubicBezTo>
                <a:cubicBezTo>
                  <a:pt x="3396359" y="521259"/>
                  <a:pt x="3371732" y="512567"/>
                  <a:pt x="3375535" y="500437"/>
                </a:cubicBezTo>
                <a:cubicBezTo>
                  <a:pt x="3379337" y="488304"/>
                  <a:pt x="3409941" y="479973"/>
                  <a:pt x="3468610" y="475086"/>
                </a:cubicBezTo>
                <a:cubicBezTo>
                  <a:pt x="3427142" y="470377"/>
                  <a:pt x="3404871" y="462409"/>
                  <a:pt x="3417001" y="450096"/>
                </a:cubicBezTo>
                <a:cubicBezTo>
                  <a:pt x="3429134" y="437783"/>
                  <a:pt x="3459374" y="431988"/>
                  <a:pt x="3504462" y="430179"/>
                </a:cubicBezTo>
                <a:cubicBezTo>
                  <a:pt x="3463901" y="424926"/>
                  <a:pt x="3446881" y="416958"/>
                  <a:pt x="3461367" y="405552"/>
                </a:cubicBezTo>
                <a:cubicBezTo>
                  <a:pt x="3485324" y="394414"/>
                  <a:pt x="3511551" y="389020"/>
                  <a:pt x="3537961" y="389798"/>
                </a:cubicBezTo>
                <a:cubicBezTo>
                  <a:pt x="3579610" y="389798"/>
                  <a:pt x="3603512" y="394505"/>
                  <a:pt x="3616187" y="404465"/>
                </a:cubicBezTo>
                <a:cubicBezTo>
                  <a:pt x="3636884" y="397864"/>
                  <a:pt x="3658271" y="393672"/>
                  <a:pt x="3679926" y="391971"/>
                </a:cubicBezTo>
                <a:cubicBezTo>
                  <a:pt x="3655663" y="388169"/>
                  <a:pt x="3640452" y="383460"/>
                  <a:pt x="3638823" y="376216"/>
                </a:cubicBezTo>
                <a:cubicBezTo>
                  <a:pt x="3604550" y="386667"/>
                  <a:pt x="3568561" y="390296"/>
                  <a:pt x="3532891" y="386900"/>
                </a:cubicBezTo>
                <a:cubicBezTo>
                  <a:pt x="3503738" y="384184"/>
                  <a:pt x="3487442" y="376580"/>
                  <a:pt x="3492693" y="368793"/>
                </a:cubicBezTo>
                <a:cubicBezTo>
                  <a:pt x="3497944" y="361006"/>
                  <a:pt x="3525467" y="354307"/>
                  <a:pt x="3576532" y="350685"/>
                </a:cubicBezTo>
                <a:cubicBezTo>
                  <a:pt x="3562285" y="350415"/>
                  <a:pt x="3548219" y="347466"/>
                  <a:pt x="3535064" y="341993"/>
                </a:cubicBezTo>
                <a:cubicBezTo>
                  <a:pt x="3529813" y="338733"/>
                  <a:pt x="3527640" y="335294"/>
                  <a:pt x="3531806" y="331853"/>
                </a:cubicBezTo>
                <a:cubicBezTo>
                  <a:pt x="3552725" y="320988"/>
                  <a:pt x="3576171" y="315924"/>
                  <a:pt x="3599710" y="317186"/>
                </a:cubicBezTo>
                <a:cubicBezTo>
                  <a:pt x="3644435" y="315918"/>
                  <a:pt x="3666527" y="321893"/>
                  <a:pt x="3676668" y="331853"/>
                </a:cubicBezTo>
                <a:cubicBezTo>
                  <a:pt x="3697003" y="324085"/>
                  <a:pt x="3718472" y="319680"/>
                  <a:pt x="3740226" y="318815"/>
                </a:cubicBezTo>
                <a:cubicBezTo>
                  <a:pt x="3726755" y="318106"/>
                  <a:pt x="3713488" y="315232"/>
                  <a:pt x="3700931" y="310304"/>
                </a:cubicBezTo>
                <a:cubicBezTo>
                  <a:pt x="3694412" y="306502"/>
                  <a:pt x="3691515" y="302517"/>
                  <a:pt x="3700931" y="298172"/>
                </a:cubicBezTo>
                <a:cubicBezTo>
                  <a:pt x="3723567" y="289579"/>
                  <a:pt x="3747734" y="285756"/>
                  <a:pt x="3771913" y="286946"/>
                </a:cubicBezTo>
                <a:cubicBezTo>
                  <a:pt x="3803059" y="286946"/>
                  <a:pt x="3828048" y="292016"/>
                  <a:pt x="3834204" y="299440"/>
                </a:cubicBezTo>
                <a:cubicBezTo>
                  <a:pt x="3840362" y="306863"/>
                  <a:pt x="3823703" y="313201"/>
                  <a:pt x="3774269" y="319540"/>
                </a:cubicBezTo>
                <a:cubicBezTo>
                  <a:pt x="3789913" y="320450"/>
                  <a:pt x="3805199" y="324581"/>
                  <a:pt x="3819176" y="331672"/>
                </a:cubicBezTo>
                <a:cubicBezTo>
                  <a:pt x="3838065" y="325087"/>
                  <a:pt x="3857850" y="321424"/>
                  <a:pt x="3877845" y="320808"/>
                </a:cubicBezTo>
                <a:cubicBezTo>
                  <a:pt x="3848510" y="316099"/>
                  <a:pt x="3833299" y="310304"/>
                  <a:pt x="3841630" y="302700"/>
                </a:cubicBezTo>
                <a:cubicBezTo>
                  <a:pt x="3849958" y="295094"/>
                  <a:pt x="3872956" y="290567"/>
                  <a:pt x="3906998" y="289119"/>
                </a:cubicBezTo>
                <a:cubicBezTo>
                  <a:pt x="3868790" y="284229"/>
                  <a:pt x="3852675" y="278615"/>
                  <a:pt x="3860099" y="272096"/>
                </a:cubicBezTo>
                <a:cubicBezTo>
                  <a:pt x="3867522" y="265578"/>
                  <a:pt x="3888527" y="260690"/>
                  <a:pt x="3919492" y="259783"/>
                </a:cubicBezTo>
                <a:close/>
                <a:moveTo>
                  <a:pt x="5281196" y="259059"/>
                </a:moveTo>
                <a:cubicBezTo>
                  <a:pt x="5302488" y="258352"/>
                  <a:pt x="5323694" y="262050"/>
                  <a:pt x="5343487" y="269924"/>
                </a:cubicBezTo>
                <a:cubicBezTo>
                  <a:pt x="5350549" y="275355"/>
                  <a:pt x="5335158" y="280064"/>
                  <a:pt x="5310351" y="279883"/>
                </a:cubicBezTo>
                <a:cubicBezTo>
                  <a:pt x="5288914" y="280759"/>
                  <a:pt x="5267542" y="276992"/>
                  <a:pt x="5247697" y="268836"/>
                </a:cubicBezTo>
                <a:cubicBezTo>
                  <a:pt x="5241541" y="263405"/>
                  <a:pt x="5257113" y="258879"/>
                  <a:pt x="5281196" y="259059"/>
                </a:cubicBezTo>
                <a:close/>
                <a:moveTo>
                  <a:pt x="5144482" y="256525"/>
                </a:moveTo>
                <a:cubicBezTo>
                  <a:pt x="5165865" y="255314"/>
                  <a:pt x="5187237" y="259031"/>
                  <a:pt x="5206955" y="267390"/>
                </a:cubicBezTo>
                <a:cubicBezTo>
                  <a:pt x="5215827" y="273726"/>
                  <a:pt x="5200617" y="278435"/>
                  <a:pt x="5170739" y="278255"/>
                </a:cubicBezTo>
                <a:cubicBezTo>
                  <a:pt x="5149337" y="279502"/>
                  <a:pt x="5127942" y="275719"/>
                  <a:pt x="5108266" y="267209"/>
                </a:cubicBezTo>
                <a:cubicBezTo>
                  <a:pt x="5100299" y="260871"/>
                  <a:pt x="5115692" y="256342"/>
                  <a:pt x="5144482" y="256525"/>
                </a:cubicBezTo>
                <a:close/>
                <a:moveTo>
                  <a:pt x="3794006" y="256524"/>
                </a:moveTo>
                <a:cubicBezTo>
                  <a:pt x="3829861" y="256524"/>
                  <a:pt x="3855392" y="262500"/>
                  <a:pt x="3853763" y="270467"/>
                </a:cubicBezTo>
                <a:cubicBezTo>
                  <a:pt x="3851951" y="278615"/>
                  <a:pt x="3822979" y="284773"/>
                  <a:pt x="3785858" y="284773"/>
                </a:cubicBezTo>
                <a:cubicBezTo>
                  <a:pt x="3748738" y="284773"/>
                  <a:pt x="3723206" y="278615"/>
                  <a:pt x="3726284" y="270467"/>
                </a:cubicBezTo>
                <a:cubicBezTo>
                  <a:pt x="3729362" y="262319"/>
                  <a:pt x="3758154" y="256524"/>
                  <a:pt x="3794006" y="256524"/>
                </a:cubicBezTo>
                <a:close/>
                <a:moveTo>
                  <a:pt x="6221712" y="254893"/>
                </a:moveTo>
                <a:cubicBezTo>
                  <a:pt x="6231430" y="254945"/>
                  <a:pt x="6241105" y="256222"/>
                  <a:pt x="6250504" y="258695"/>
                </a:cubicBezTo>
                <a:cubicBezTo>
                  <a:pt x="6256118" y="260688"/>
                  <a:pt x="6253220" y="262680"/>
                  <a:pt x="6244348" y="262861"/>
                </a:cubicBezTo>
                <a:cubicBezTo>
                  <a:pt x="6234457" y="262876"/>
                  <a:pt x="6224603" y="261659"/>
                  <a:pt x="6215012" y="259239"/>
                </a:cubicBezTo>
                <a:cubicBezTo>
                  <a:pt x="6208132" y="257066"/>
                  <a:pt x="6211571" y="254893"/>
                  <a:pt x="6221712" y="254893"/>
                </a:cubicBezTo>
                <a:close/>
                <a:moveTo>
                  <a:pt x="3660733" y="254713"/>
                </a:moveTo>
                <a:cubicBezTo>
                  <a:pt x="3693871" y="254533"/>
                  <a:pt x="3720851" y="260689"/>
                  <a:pt x="3718317" y="268114"/>
                </a:cubicBezTo>
                <a:cubicBezTo>
                  <a:pt x="3715600" y="275899"/>
                  <a:pt x="3684455" y="282418"/>
                  <a:pt x="3649324" y="282418"/>
                </a:cubicBezTo>
                <a:cubicBezTo>
                  <a:pt x="3614196" y="282418"/>
                  <a:pt x="3588845" y="275899"/>
                  <a:pt x="3593372" y="268295"/>
                </a:cubicBezTo>
                <a:cubicBezTo>
                  <a:pt x="3597898" y="260689"/>
                  <a:pt x="3627595" y="254894"/>
                  <a:pt x="3660733" y="254713"/>
                </a:cubicBezTo>
                <a:close/>
                <a:moveTo>
                  <a:pt x="5005595" y="252723"/>
                </a:moveTo>
                <a:cubicBezTo>
                  <a:pt x="5028278" y="251527"/>
                  <a:pt x="5050937" y="255489"/>
                  <a:pt x="5071870" y="264312"/>
                </a:cubicBezTo>
                <a:cubicBezTo>
                  <a:pt x="5078932" y="270468"/>
                  <a:pt x="5061186" y="275719"/>
                  <a:pt x="5033118" y="275719"/>
                </a:cubicBezTo>
                <a:cubicBezTo>
                  <a:pt x="5005053" y="275719"/>
                  <a:pt x="4973001" y="270287"/>
                  <a:pt x="4966482" y="263768"/>
                </a:cubicBezTo>
                <a:cubicBezTo>
                  <a:pt x="4959963" y="257249"/>
                  <a:pt x="4978071" y="252723"/>
                  <a:pt x="5005595" y="252723"/>
                </a:cubicBezTo>
                <a:close/>
                <a:moveTo>
                  <a:pt x="3526011" y="252359"/>
                </a:moveTo>
                <a:cubicBezTo>
                  <a:pt x="3559329" y="252359"/>
                  <a:pt x="3580334" y="257610"/>
                  <a:pt x="3577255" y="265036"/>
                </a:cubicBezTo>
                <a:cubicBezTo>
                  <a:pt x="3574177" y="272460"/>
                  <a:pt x="3543936" y="278435"/>
                  <a:pt x="3508445" y="278435"/>
                </a:cubicBezTo>
                <a:cubicBezTo>
                  <a:pt x="3472954" y="278435"/>
                  <a:pt x="3454122" y="272640"/>
                  <a:pt x="3458831" y="265036"/>
                </a:cubicBezTo>
                <a:cubicBezTo>
                  <a:pt x="3463538" y="257430"/>
                  <a:pt x="3492693" y="252359"/>
                  <a:pt x="3526011" y="252359"/>
                </a:cubicBezTo>
                <a:close/>
                <a:moveTo>
                  <a:pt x="6079205" y="250730"/>
                </a:moveTo>
                <a:cubicBezTo>
                  <a:pt x="6091081" y="250921"/>
                  <a:pt x="6102888" y="252624"/>
                  <a:pt x="6114333" y="255800"/>
                </a:cubicBezTo>
                <a:cubicBezTo>
                  <a:pt x="6120490" y="258334"/>
                  <a:pt x="6114333" y="260871"/>
                  <a:pt x="6103107" y="260690"/>
                </a:cubicBezTo>
                <a:cubicBezTo>
                  <a:pt x="6091214" y="260696"/>
                  <a:pt x="6079384" y="258987"/>
                  <a:pt x="6067977" y="255620"/>
                </a:cubicBezTo>
                <a:cubicBezTo>
                  <a:pt x="6062002" y="253084"/>
                  <a:pt x="6067977" y="250730"/>
                  <a:pt x="6079205" y="250730"/>
                </a:cubicBezTo>
                <a:close/>
                <a:moveTo>
                  <a:pt x="3396177" y="250547"/>
                </a:moveTo>
                <a:cubicBezTo>
                  <a:pt x="3427142" y="250547"/>
                  <a:pt x="3448328" y="256523"/>
                  <a:pt x="3442353" y="263405"/>
                </a:cubicBezTo>
                <a:cubicBezTo>
                  <a:pt x="3436377" y="270285"/>
                  <a:pt x="3404508" y="276079"/>
                  <a:pt x="3372818" y="275899"/>
                </a:cubicBezTo>
                <a:cubicBezTo>
                  <a:pt x="3341129" y="275718"/>
                  <a:pt x="3321936" y="269743"/>
                  <a:pt x="3327911" y="262861"/>
                </a:cubicBezTo>
                <a:cubicBezTo>
                  <a:pt x="3333886" y="255981"/>
                  <a:pt x="3365214" y="250547"/>
                  <a:pt x="3396177" y="250547"/>
                </a:cubicBezTo>
                <a:close/>
                <a:moveTo>
                  <a:pt x="4871419" y="250367"/>
                </a:moveTo>
                <a:cubicBezTo>
                  <a:pt x="4902384" y="250548"/>
                  <a:pt x="4929725" y="255257"/>
                  <a:pt x="4936787" y="262137"/>
                </a:cubicBezTo>
                <a:cubicBezTo>
                  <a:pt x="4944030" y="269018"/>
                  <a:pt x="4926103" y="274087"/>
                  <a:pt x="4894416" y="274087"/>
                </a:cubicBezTo>
                <a:cubicBezTo>
                  <a:pt x="4862727" y="274087"/>
                  <a:pt x="4835023" y="268836"/>
                  <a:pt x="4828685" y="261774"/>
                </a:cubicBezTo>
                <a:cubicBezTo>
                  <a:pt x="4822346" y="254713"/>
                  <a:pt x="4840454" y="250185"/>
                  <a:pt x="4871419" y="250367"/>
                </a:cubicBezTo>
                <a:close/>
                <a:moveTo>
                  <a:pt x="3264898" y="248375"/>
                </a:moveTo>
                <a:cubicBezTo>
                  <a:pt x="3295680" y="248194"/>
                  <a:pt x="3313968" y="253806"/>
                  <a:pt x="3307812" y="259964"/>
                </a:cubicBezTo>
                <a:cubicBezTo>
                  <a:pt x="3301655" y="266844"/>
                  <a:pt x="3273589" y="271914"/>
                  <a:pt x="3242081" y="271734"/>
                </a:cubicBezTo>
                <a:cubicBezTo>
                  <a:pt x="3210574" y="271553"/>
                  <a:pt x="3193191" y="266483"/>
                  <a:pt x="3200795" y="259601"/>
                </a:cubicBezTo>
                <a:cubicBezTo>
                  <a:pt x="3220874" y="250517"/>
                  <a:pt x="3242925" y="246654"/>
                  <a:pt x="3264898" y="248375"/>
                </a:cubicBezTo>
                <a:close/>
                <a:moveTo>
                  <a:pt x="5939413" y="248013"/>
                </a:moveTo>
                <a:cubicBezTo>
                  <a:pt x="5953321" y="247979"/>
                  <a:pt x="5967161" y="249932"/>
                  <a:pt x="5980518" y="253808"/>
                </a:cubicBezTo>
                <a:cubicBezTo>
                  <a:pt x="5987941" y="256705"/>
                  <a:pt x="5982329" y="259602"/>
                  <a:pt x="5968748" y="259785"/>
                </a:cubicBezTo>
                <a:cubicBezTo>
                  <a:pt x="5954226" y="259926"/>
                  <a:pt x="5939763" y="257912"/>
                  <a:pt x="5925833" y="253808"/>
                </a:cubicBezTo>
                <a:cubicBezTo>
                  <a:pt x="5919132" y="250730"/>
                  <a:pt x="5925833" y="248013"/>
                  <a:pt x="5939413" y="248013"/>
                </a:cubicBezTo>
                <a:close/>
                <a:moveTo>
                  <a:pt x="4736878" y="246928"/>
                </a:moveTo>
                <a:cubicBezTo>
                  <a:pt x="4767479" y="247109"/>
                  <a:pt x="4798444" y="253264"/>
                  <a:pt x="4802790" y="259966"/>
                </a:cubicBezTo>
                <a:cubicBezTo>
                  <a:pt x="4807136" y="266665"/>
                  <a:pt x="4785768" y="271916"/>
                  <a:pt x="4754261" y="271916"/>
                </a:cubicBezTo>
                <a:cubicBezTo>
                  <a:pt x="4722392" y="271916"/>
                  <a:pt x="4691607" y="265397"/>
                  <a:pt x="4688166" y="258517"/>
                </a:cubicBezTo>
                <a:cubicBezTo>
                  <a:pt x="4684727" y="251635"/>
                  <a:pt x="4706274" y="246746"/>
                  <a:pt x="4736878" y="246928"/>
                </a:cubicBezTo>
                <a:close/>
                <a:moveTo>
                  <a:pt x="3135244" y="246746"/>
                </a:moveTo>
                <a:cubicBezTo>
                  <a:pt x="3162044" y="246746"/>
                  <a:pt x="3180695" y="251636"/>
                  <a:pt x="3174901" y="257611"/>
                </a:cubicBezTo>
                <a:cubicBezTo>
                  <a:pt x="3154301" y="266689"/>
                  <a:pt x="3131815" y="270664"/>
                  <a:pt x="3109350" y="269200"/>
                </a:cubicBezTo>
                <a:cubicBezTo>
                  <a:pt x="3081645" y="269200"/>
                  <a:pt x="3064081" y="263767"/>
                  <a:pt x="3071324" y="257791"/>
                </a:cubicBezTo>
                <a:cubicBezTo>
                  <a:pt x="3091540" y="249387"/>
                  <a:pt x="3113382" y="245611"/>
                  <a:pt x="3135244" y="246746"/>
                </a:cubicBezTo>
                <a:close/>
                <a:moveTo>
                  <a:pt x="3006498" y="245477"/>
                </a:moveTo>
                <a:cubicBezTo>
                  <a:pt x="3033297" y="245477"/>
                  <a:pt x="3047784" y="250006"/>
                  <a:pt x="3039999" y="255981"/>
                </a:cubicBezTo>
                <a:cubicBezTo>
                  <a:pt x="3020429" y="264152"/>
                  <a:pt x="2999232" y="267686"/>
                  <a:pt x="2978069" y="266302"/>
                </a:cubicBezTo>
                <a:cubicBezTo>
                  <a:pt x="2950545" y="266302"/>
                  <a:pt x="2936422" y="261595"/>
                  <a:pt x="2944751" y="255618"/>
                </a:cubicBezTo>
                <a:cubicBezTo>
                  <a:pt x="2964292" y="247572"/>
                  <a:pt x="2985411" y="244103"/>
                  <a:pt x="3006498" y="245477"/>
                </a:cubicBezTo>
                <a:close/>
                <a:moveTo>
                  <a:pt x="4596722" y="244392"/>
                </a:moveTo>
                <a:cubicBezTo>
                  <a:pt x="4629859" y="244392"/>
                  <a:pt x="4658832" y="249463"/>
                  <a:pt x="4663719" y="256706"/>
                </a:cubicBezTo>
                <a:cubicBezTo>
                  <a:pt x="4669696" y="264129"/>
                  <a:pt x="4649416" y="269563"/>
                  <a:pt x="4615373" y="269563"/>
                </a:cubicBezTo>
                <a:cubicBezTo>
                  <a:pt x="4581331" y="269563"/>
                  <a:pt x="4552720" y="264312"/>
                  <a:pt x="4547830" y="256886"/>
                </a:cubicBezTo>
                <a:cubicBezTo>
                  <a:pt x="4542942" y="249463"/>
                  <a:pt x="4563584" y="244392"/>
                  <a:pt x="4596722" y="244392"/>
                </a:cubicBezTo>
                <a:close/>
                <a:moveTo>
                  <a:pt x="5794368" y="244029"/>
                </a:moveTo>
                <a:cubicBezTo>
                  <a:pt x="5810056" y="243736"/>
                  <a:pt x="5825694" y="245873"/>
                  <a:pt x="5840724" y="250367"/>
                </a:cubicBezTo>
                <a:cubicBezTo>
                  <a:pt x="5849416" y="253989"/>
                  <a:pt x="5842173" y="257247"/>
                  <a:pt x="5825152" y="257430"/>
                </a:cubicBezTo>
                <a:cubicBezTo>
                  <a:pt x="5809953" y="257542"/>
                  <a:pt x="5794821" y="255407"/>
                  <a:pt x="5780245" y="251091"/>
                </a:cubicBezTo>
                <a:cubicBezTo>
                  <a:pt x="5771373" y="247470"/>
                  <a:pt x="5777892" y="244210"/>
                  <a:pt x="5794368" y="244029"/>
                </a:cubicBezTo>
                <a:close/>
                <a:moveTo>
                  <a:pt x="2878658" y="242943"/>
                </a:moveTo>
                <a:cubicBezTo>
                  <a:pt x="2902560" y="243124"/>
                  <a:pt x="2916683" y="247650"/>
                  <a:pt x="2908898" y="252721"/>
                </a:cubicBezTo>
                <a:cubicBezTo>
                  <a:pt x="2889889" y="260153"/>
                  <a:pt x="2869549" y="263487"/>
                  <a:pt x="2849160" y="262500"/>
                </a:cubicBezTo>
                <a:cubicBezTo>
                  <a:pt x="2824715" y="262500"/>
                  <a:pt x="2810775" y="257791"/>
                  <a:pt x="2819103" y="252540"/>
                </a:cubicBezTo>
                <a:cubicBezTo>
                  <a:pt x="2838145" y="245483"/>
                  <a:pt x="2858384" y="242221"/>
                  <a:pt x="2878658" y="242943"/>
                </a:cubicBezTo>
                <a:close/>
                <a:moveTo>
                  <a:pt x="4466165" y="241675"/>
                </a:moveTo>
                <a:cubicBezTo>
                  <a:pt x="4498035" y="241675"/>
                  <a:pt x="4529360" y="248014"/>
                  <a:pt x="4533163" y="254894"/>
                </a:cubicBezTo>
                <a:cubicBezTo>
                  <a:pt x="4536965" y="261776"/>
                  <a:pt x="4511433" y="268294"/>
                  <a:pt x="4478840" y="268114"/>
                </a:cubicBezTo>
                <a:cubicBezTo>
                  <a:pt x="4446246" y="267931"/>
                  <a:pt x="4414557" y="261593"/>
                  <a:pt x="4411660" y="254532"/>
                </a:cubicBezTo>
                <a:cubicBezTo>
                  <a:pt x="4408762" y="247470"/>
                  <a:pt x="4434657" y="241675"/>
                  <a:pt x="4466165" y="241675"/>
                </a:cubicBezTo>
                <a:close/>
                <a:moveTo>
                  <a:pt x="2744319" y="241675"/>
                </a:moveTo>
                <a:cubicBezTo>
                  <a:pt x="2766770" y="241675"/>
                  <a:pt x="2780535" y="245658"/>
                  <a:pt x="2772750" y="250548"/>
                </a:cubicBezTo>
                <a:cubicBezTo>
                  <a:pt x="2754513" y="257321"/>
                  <a:pt x="2735137" y="260460"/>
                  <a:pt x="2715705" y="259783"/>
                </a:cubicBezTo>
                <a:cubicBezTo>
                  <a:pt x="2693798" y="259783"/>
                  <a:pt x="2681484" y="255618"/>
                  <a:pt x="2688364" y="250911"/>
                </a:cubicBezTo>
                <a:cubicBezTo>
                  <a:pt x="2706256" y="244274"/>
                  <a:pt x="2725253" y="241139"/>
                  <a:pt x="2744319" y="241675"/>
                </a:cubicBezTo>
                <a:close/>
                <a:moveTo>
                  <a:pt x="5657656" y="241313"/>
                </a:moveTo>
                <a:cubicBezTo>
                  <a:pt x="5674142" y="240716"/>
                  <a:pt x="5690594" y="243170"/>
                  <a:pt x="5706185" y="248556"/>
                </a:cubicBezTo>
                <a:cubicBezTo>
                  <a:pt x="5715964" y="253807"/>
                  <a:pt x="5708177" y="255980"/>
                  <a:pt x="5688258" y="255980"/>
                </a:cubicBezTo>
                <a:cubicBezTo>
                  <a:pt x="5671701" y="256581"/>
                  <a:pt x="5655175" y="254062"/>
                  <a:pt x="5639548" y="248556"/>
                </a:cubicBezTo>
                <a:cubicBezTo>
                  <a:pt x="5631037" y="244391"/>
                  <a:pt x="5639548" y="241313"/>
                  <a:pt x="5657656" y="241313"/>
                </a:cubicBezTo>
                <a:close/>
                <a:moveTo>
                  <a:pt x="2617928" y="239502"/>
                </a:moveTo>
                <a:cubicBezTo>
                  <a:pt x="2639474" y="239502"/>
                  <a:pt x="2649613" y="243124"/>
                  <a:pt x="2640922" y="247833"/>
                </a:cubicBezTo>
                <a:cubicBezTo>
                  <a:pt x="2624247" y="253716"/>
                  <a:pt x="2606629" y="256422"/>
                  <a:pt x="2588952" y="255800"/>
                </a:cubicBezTo>
                <a:cubicBezTo>
                  <a:pt x="2566862" y="255800"/>
                  <a:pt x="2557085" y="251998"/>
                  <a:pt x="2566319" y="247289"/>
                </a:cubicBezTo>
                <a:cubicBezTo>
                  <a:pt x="2582889" y="241538"/>
                  <a:pt x="2600396" y="238899"/>
                  <a:pt x="2617928" y="239502"/>
                </a:cubicBezTo>
                <a:close/>
                <a:moveTo>
                  <a:pt x="2490810" y="239322"/>
                </a:moveTo>
                <a:cubicBezTo>
                  <a:pt x="2510188" y="239322"/>
                  <a:pt x="2518153" y="242400"/>
                  <a:pt x="2508918" y="246565"/>
                </a:cubicBezTo>
                <a:cubicBezTo>
                  <a:pt x="2493581" y="251947"/>
                  <a:pt x="2477354" y="254403"/>
                  <a:pt x="2461113" y="253808"/>
                </a:cubicBezTo>
                <a:cubicBezTo>
                  <a:pt x="2441555" y="253808"/>
                  <a:pt x="2433772" y="250548"/>
                  <a:pt x="2443005" y="246384"/>
                </a:cubicBezTo>
                <a:cubicBezTo>
                  <a:pt x="2458344" y="240985"/>
                  <a:pt x="2474564" y="238588"/>
                  <a:pt x="2490810" y="239322"/>
                </a:cubicBezTo>
                <a:close/>
                <a:moveTo>
                  <a:pt x="4333256" y="238597"/>
                </a:moveTo>
                <a:cubicBezTo>
                  <a:pt x="4366574" y="238597"/>
                  <a:pt x="4396452" y="244211"/>
                  <a:pt x="4399893" y="251454"/>
                </a:cubicBezTo>
                <a:cubicBezTo>
                  <a:pt x="4403334" y="258698"/>
                  <a:pt x="4378524" y="265036"/>
                  <a:pt x="4344120" y="265217"/>
                </a:cubicBezTo>
                <a:cubicBezTo>
                  <a:pt x="4309715" y="265217"/>
                  <a:pt x="4279657" y="259059"/>
                  <a:pt x="4277303" y="251816"/>
                </a:cubicBezTo>
                <a:cubicBezTo>
                  <a:pt x="4274948" y="244573"/>
                  <a:pt x="4299937" y="238597"/>
                  <a:pt x="4333256" y="238597"/>
                </a:cubicBezTo>
                <a:close/>
                <a:moveTo>
                  <a:pt x="5522029" y="237512"/>
                </a:moveTo>
                <a:cubicBezTo>
                  <a:pt x="5539519" y="237137"/>
                  <a:pt x="5556937" y="239898"/>
                  <a:pt x="5573455" y="245660"/>
                </a:cubicBezTo>
                <a:cubicBezTo>
                  <a:pt x="5581786" y="250006"/>
                  <a:pt x="5571826" y="253627"/>
                  <a:pt x="5551365" y="253627"/>
                </a:cubicBezTo>
                <a:cubicBezTo>
                  <a:pt x="5533249" y="254279"/>
                  <a:pt x="5515178" y="251452"/>
                  <a:pt x="5498127" y="245297"/>
                </a:cubicBezTo>
                <a:cubicBezTo>
                  <a:pt x="5490884" y="240951"/>
                  <a:pt x="5501749" y="237512"/>
                  <a:pt x="5522029" y="237512"/>
                </a:cubicBezTo>
                <a:close/>
                <a:moveTo>
                  <a:pt x="4203604" y="236424"/>
                </a:moveTo>
                <a:cubicBezTo>
                  <a:pt x="4238190" y="236424"/>
                  <a:pt x="4266075" y="242400"/>
                  <a:pt x="4267524" y="249823"/>
                </a:cubicBezTo>
                <a:cubicBezTo>
                  <a:pt x="4268973" y="257249"/>
                  <a:pt x="4243261" y="263044"/>
                  <a:pt x="4208494" y="263044"/>
                </a:cubicBezTo>
                <a:cubicBezTo>
                  <a:pt x="4173907" y="263044"/>
                  <a:pt x="4145840" y="257249"/>
                  <a:pt x="4144391" y="249823"/>
                </a:cubicBezTo>
                <a:cubicBezTo>
                  <a:pt x="4142942" y="242400"/>
                  <a:pt x="4169018" y="236424"/>
                  <a:pt x="4203604" y="236424"/>
                </a:cubicBezTo>
                <a:close/>
                <a:moveTo>
                  <a:pt x="2364055" y="235701"/>
                </a:moveTo>
                <a:cubicBezTo>
                  <a:pt x="2379993" y="235701"/>
                  <a:pt x="2388142" y="238237"/>
                  <a:pt x="2382166" y="241676"/>
                </a:cubicBezTo>
                <a:cubicBezTo>
                  <a:pt x="2368167" y="246676"/>
                  <a:pt x="2353373" y="249070"/>
                  <a:pt x="2338524" y="248739"/>
                </a:cubicBezTo>
                <a:cubicBezTo>
                  <a:pt x="2321684" y="249283"/>
                  <a:pt x="2312995" y="246385"/>
                  <a:pt x="2320056" y="242764"/>
                </a:cubicBezTo>
                <a:cubicBezTo>
                  <a:pt x="2334196" y="237872"/>
                  <a:pt x="2349101" y="235484"/>
                  <a:pt x="2364055" y="235701"/>
                </a:cubicBezTo>
                <a:close/>
                <a:moveTo>
                  <a:pt x="2236035" y="234976"/>
                </a:moveTo>
                <a:cubicBezTo>
                  <a:pt x="2249614" y="234976"/>
                  <a:pt x="2257583" y="237513"/>
                  <a:pt x="2251788" y="240410"/>
                </a:cubicBezTo>
                <a:cubicBezTo>
                  <a:pt x="2239003" y="244343"/>
                  <a:pt x="2225697" y="246298"/>
                  <a:pt x="2212313" y="246205"/>
                </a:cubicBezTo>
                <a:cubicBezTo>
                  <a:pt x="2198552" y="246205"/>
                  <a:pt x="2191669" y="243307"/>
                  <a:pt x="2198552" y="240410"/>
                </a:cubicBezTo>
                <a:cubicBezTo>
                  <a:pt x="2210756" y="236954"/>
                  <a:pt x="2223358" y="235127"/>
                  <a:pt x="2236035" y="234976"/>
                </a:cubicBezTo>
                <a:close/>
                <a:moveTo>
                  <a:pt x="5386583" y="234793"/>
                </a:moveTo>
                <a:cubicBezTo>
                  <a:pt x="5405756" y="234259"/>
                  <a:pt x="5424860" y="237331"/>
                  <a:pt x="5442899" y="243848"/>
                </a:cubicBezTo>
                <a:cubicBezTo>
                  <a:pt x="5449960" y="248375"/>
                  <a:pt x="5437466" y="252357"/>
                  <a:pt x="5416461" y="252357"/>
                </a:cubicBezTo>
                <a:cubicBezTo>
                  <a:pt x="5397229" y="252886"/>
                  <a:pt x="5378069" y="249814"/>
                  <a:pt x="5359965" y="243304"/>
                </a:cubicBezTo>
                <a:cubicBezTo>
                  <a:pt x="5353446" y="238778"/>
                  <a:pt x="5366122" y="234793"/>
                  <a:pt x="5386583" y="234793"/>
                </a:cubicBezTo>
                <a:close/>
                <a:moveTo>
                  <a:pt x="4074495" y="233527"/>
                </a:moveTo>
                <a:cubicBezTo>
                  <a:pt x="4108901" y="233527"/>
                  <a:pt x="4134432" y="239322"/>
                  <a:pt x="4135337" y="246565"/>
                </a:cubicBezTo>
                <a:cubicBezTo>
                  <a:pt x="4136242" y="254171"/>
                  <a:pt x="4109081" y="260146"/>
                  <a:pt x="4073409" y="259966"/>
                </a:cubicBezTo>
                <a:cubicBezTo>
                  <a:pt x="4037736" y="259783"/>
                  <a:pt x="4011843" y="253808"/>
                  <a:pt x="4012748" y="246565"/>
                </a:cubicBezTo>
                <a:cubicBezTo>
                  <a:pt x="4013653" y="239322"/>
                  <a:pt x="4040091" y="233527"/>
                  <a:pt x="4074495" y="233527"/>
                </a:cubicBezTo>
                <a:close/>
                <a:moveTo>
                  <a:pt x="2113802" y="232803"/>
                </a:moveTo>
                <a:cubicBezTo>
                  <a:pt x="2124848" y="232803"/>
                  <a:pt x="2129738" y="235340"/>
                  <a:pt x="2123763" y="237693"/>
                </a:cubicBezTo>
                <a:cubicBezTo>
                  <a:pt x="2112607" y="240769"/>
                  <a:pt x="2101109" y="242353"/>
                  <a:pt x="2089538" y="242400"/>
                </a:cubicBezTo>
                <a:cubicBezTo>
                  <a:pt x="2078312" y="242400"/>
                  <a:pt x="2073424" y="239866"/>
                  <a:pt x="2079579" y="237513"/>
                </a:cubicBezTo>
                <a:cubicBezTo>
                  <a:pt x="2090717" y="234360"/>
                  <a:pt x="2102231" y="232777"/>
                  <a:pt x="2113802" y="232803"/>
                </a:cubicBezTo>
                <a:close/>
                <a:moveTo>
                  <a:pt x="1980158" y="232259"/>
                </a:moveTo>
                <a:cubicBezTo>
                  <a:pt x="1988850" y="231716"/>
                  <a:pt x="1994103" y="233527"/>
                  <a:pt x="1989937" y="235701"/>
                </a:cubicBezTo>
                <a:cubicBezTo>
                  <a:pt x="1981209" y="238180"/>
                  <a:pt x="1972209" y="239520"/>
                  <a:pt x="1963138" y="239683"/>
                </a:cubicBezTo>
                <a:cubicBezTo>
                  <a:pt x="1955351" y="239683"/>
                  <a:pt x="1950644" y="238054"/>
                  <a:pt x="1953902" y="236425"/>
                </a:cubicBezTo>
                <a:cubicBezTo>
                  <a:pt x="1962414" y="233771"/>
                  <a:pt x="1971249" y="232366"/>
                  <a:pt x="1980158" y="232259"/>
                </a:cubicBezTo>
                <a:close/>
                <a:moveTo>
                  <a:pt x="3939953" y="231715"/>
                </a:moveTo>
                <a:cubicBezTo>
                  <a:pt x="3973271" y="231715"/>
                  <a:pt x="3999529" y="237329"/>
                  <a:pt x="3998985" y="244572"/>
                </a:cubicBezTo>
                <a:cubicBezTo>
                  <a:pt x="3998985" y="251996"/>
                  <a:pt x="3970557" y="257790"/>
                  <a:pt x="3936151" y="257790"/>
                </a:cubicBezTo>
                <a:cubicBezTo>
                  <a:pt x="3901747" y="257790"/>
                  <a:pt x="3875672" y="251815"/>
                  <a:pt x="3877301" y="244392"/>
                </a:cubicBezTo>
                <a:cubicBezTo>
                  <a:pt x="3878931" y="236966"/>
                  <a:pt x="3906635" y="231715"/>
                  <a:pt x="3939953" y="231715"/>
                </a:cubicBezTo>
                <a:close/>
                <a:moveTo>
                  <a:pt x="5252947" y="231535"/>
                </a:moveTo>
                <a:cubicBezTo>
                  <a:pt x="5271973" y="230511"/>
                  <a:pt x="5290996" y="233598"/>
                  <a:pt x="5308719" y="240588"/>
                </a:cubicBezTo>
                <a:cubicBezTo>
                  <a:pt x="5317411" y="246021"/>
                  <a:pt x="5304554" y="250004"/>
                  <a:pt x="5278118" y="249824"/>
                </a:cubicBezTo>
                <a:cubicBezTo>
                  <a:pt x="5259156" y="250890"/>
                  <a:pt x="5240205" y="247607"/>
                  <a:pt x="5222707" y="240227"/>
                </a:cubicBezTo>
                <a:cubicBezTo>
                  <a:pt x="5215646" y="235701"/>
                  <a:pt x="5228321" y="231355"/>
                  <a:pt x="5252947" y="231535"/>
                </a:cubicBezTo>
                <a:close/>
                <a:moveTo>
                  <a:pt x="5118950" y="228819"/>
                </a:moveTo>
                <a:cubicBezTo>
                  <a:pt x="5139297" y="227971"/>
                  <a:pt x="5159608" y="231170"/>
                  <a:pt x="5178706" y="238235"/>
                </a:cubicBezTo>
                <a:cubicBezTo>
                  <a:pt x="5186854" y="243668"/>
                  <a:pt x="5173092" y="248375"/>
                  <a:pt x="5148105" y="248558"/>
                </a:cubicBezTo>
                <a:cubicBezTo>
                  <a:pt x="5127105" y="249657"/>
                  <a:pt x="5106117" y="246259"/>
                  <a:pt x="5086538" y="238598"/>
                </a:cubicBezTo>
                <a:cubicBezTo>
                  <a:pt x="5079656" y="233347"/>
                  <a:pt x="5094506" y="228819"/>
                  <a:pt x="5118950" y="228819"/>
                </a:cubicBezTo>
                <a:close/>
                <a:moveTo>
                  <a:pt x="3811570" y="228818"/>
                </a:moveTo>
                <a:cubicBezTo>
                  <a:pt x="3843620" y="228818"/>
                  <a:pt x="3870058" y="234793"/>
                  <a:pt x="3867885" y="241675"/>
                </a:cubicBezTo>
                <a:cubicBezTo>
                  <a:pt x="3865713" y="248555"/>
                  <a:pt x="3836377" y="254532"/>
                  <a:pt x="3804327" y="254532"/>
                </a:cubicBezTo>
                <a:cubicBezTo>
                  <a:pt x="3772277" y="254532"/>
                  <a:pt x="3744753" y="248375"/>
                  <a:pt x="3748011" y="241312"/>
                </a:cubicBezTo>
                <a:cubicBezTo>
                  <a:pt x="3751272" y="234252"/>
                  <a:pt x="3780425" y="228818"/>
                  <a:pt x="3811570" y="228818"/>
                </a:cubicBezTo>
                <a:close/>
                <a:moveTo>
                  <a:pt x="3684818" y="227552"/>
                </a:moveTo>
                <a:cubicBezTo>
                  <a:pt x="3717049" y="227552"/>
                  <a:pt x="3739141" y="232622"/>
                  <a:pt x="3735700" y="239683"/>
                </a:cubicBezTo>
                <a:cubicBezTo>
                  <a:pt x="3732259" y="246746"/>
                  <a:pt x="3704735" y="252179"/>
                  <a:pt x="3670332" y="251997"/>
                </a:cubicBezTo>
                <a:cubicBezTo>
                  <a:pt x="3635926" y="251816"/>
                  <a:pt x="3616008" y="246202"/>
                  <a:pt x="3621078" y="239141"/>
                </a:cubicBezTo>
                <a:cubicBezTo>
                  <a:pt x="3626148" y="232079"/>
                  <a:pt x="3652585" y="227370"/>
                  <a:pt x="3684818" y="227552"/>
                </a:cubicBezTo>
                <a:close/>
                <a:moveTo>
                  <a:pt x="6155802" y="226645"/>
                </a:moveTo>
                <a:cubicBezTo>
                  <a:pt x="6163461" y="226469"/>
                  <a:pt x="6171100" y="227509"/>
                  <a:pt x="6178436" y="229723"/>
                </a:cubicBezTo>
                <a:cubicBezTo>
                  <a:pt x="6183867" y="231716"/>
                  <a:pt x="6180970" y="232984"/>
                  <a:pt x="6171193" y="232803"/>
                </a:cubicBezTo>
                <a:cubicBezTo>
                  <a:pt x="6163533" y="232980"/>
                  <a:pt x="6155893" y="231940"/>
                  <a:pt x="6148558" y="229723"/>
                </a:cubicBezTo>
                <a:cubicBezTo>
                  <a:pt x="6143306" y="227733"/>
                  <a:pt x="6146203" y="226465"/>
                  <a:pt x="6155802" y="226645"/>
                </a:cubicBezTo>
                <a:close/>
                <a:moveTo>
                  <a:pt x="4980970" y="225741"/>
                </a:moveTo>
                <a:cubicBezTo>
                  <a:pt x="5001865" y="224347"/>
                  <a:pt x="5022799" y="227754"/>
                  <a:pt x="5042175" y="235700"/>
                </a:cubicBezTo>
                <a:cubicBezTo>
                  <a:pt x="5049960" y="241675"/>
                  <a:pt x="5035293" y="246202"/>
                  <a:pt x="5007226" y="246202"/>
                </a:cubicBezTo>
                <a:cubicBezTo>
                  <a:pt x="4986512" y="247709"/>
                  <a:pt x="4965742" y="244103"/>
                  <a:pt x="4946747" y="235700"/>
                </a:cubicBezTo>
                <a:cubicBezTo>
                  <a:pt x="4940409" y="230086"/>
                  <a:pt x="4954895" y="225921"/>
                  <a:pt x="4980970" y="225741"/>
                </a:cubicBezTo>
                <a:close/>
                <a:moveTo>
                  <a:pt x="3557881" y="224835"/>
                </a:moveTo>
                <a:cubicBezTo>
                  <a:pt x="3587940" y="224835"/>
                  <a:pt x="3609307" y="230269"/>
                  <a:pt x="3605324" y="236787"/>
                </a:cubicBezTo>
                <a:cubicBezTo>
                  <a:pt x="3601339" y="243304"/>
                  <a:pt x="3572730" y="248737"/>
                  <a:pt x="3541585" y="248557"/>
                </a:cubicBezTo>
                <a:cubicBezTo>
                  <a:pt x="3510440" y="248376"/>
                  <a:pt x="3489435" y="242943"/>
                  <a:pt x="3494505" y="236424"/>
                </a:cubicBezTo>
                <a:cubicBezTo>
                  <a:pt x="3499575" y="229905"/>
                  <a:pt x="3527823" y="224835"/>
                  <a:pt x="3557881" y="224835"/>
                </a:cubicBezTo>
                <a:close/>
                <a:moveTo>
                  <a:pt x="3432214" y="224293"/>
                </a:moveTo>
                <a:cubicBezTo>
                  <a:pt x="3460099" y="224656"/>
                  <a:pt x="3480018" y="228821"/>
                  <a:pt x="3475129" y="235701"/>
                </a:cubicBezTo>
                <a:cubicBezTo>
                  <a:pt x="3470239" y="242039"/>
                  <a:pt x="3440181" y="247290"/>
                  <a:pt x="3410845" y="247110"/>
                </a:cubicBezTo>
                <a:cubicBezTo>
                  <a:pt x="3381512" y="246929"/>
                  <a:pt x="3362499" y="241496"/>
                  <a:pt x="3368111" y="235340"/>
                </a:cubicBezTo>
                <a:cubicBezTo>
                  <a:pt x="3373724" y="229182"/>
                  <a:pt x="3404327" y="223931"/>
                  <a:pt x="3432214" y="224293"/>
                </a:cubicBezTo>
                <a:close/>
                <a:moveTo>
                  <a:pt x="6020355" y="223748"/>
                </a:moveTo>
                <a:cubicBezTo>
                  <a:pt x="6030092" y="223514"/>
                  <a:pt x="6039805" y="224797"/>
                  <a:pt x="6049147" y="227552"/>
                </a:cubicBezTo>
                <a:cubicBezTo>
                  <a:pt x="6056209" y="230086"/>
                  <a:pt x="6053130" y="231898"/>
                  <a:pt x="6041179" y="231898"/>
                </a:cubicBezTo>
                <a:cubicBezTo>
                  <a:pt x="6030813" y="232346"/>
                  <a:pt x="6020448" y="230936"/>
                  <a:pt x="6010578" y="227732"/>
                </a:cubicBezTo>
                <a:cubicBezTo>
                  <a:pt x="6004240" y="225197"/>
                  <a:pt x="6008042" y="223567"/>
                  <a:pt x="6020355" y="223748"/>
                </a:cubicBezTo>
                <a:close/>
                <a:moveTo>
                  <a:pt x="4850956" y="223024"/>
                </a:moveTo>
                <a:cubicBezTo>
                  <a:pt x="4872377" y="221522"/>
                  <a:pt x="4893848" y="225121"/>
                  <a:pt x="4913608" y="233525"/>
                </a:cubicBezTo>
                <a:cubicBezTo>
                  <a:pt x="4920309" y="239502"/>
                  <a:pt x="4902562" y="244572"/>
                  <a:pt x="4874134" y="244572"/>
                </a:cubicBezTo>
                <a:cubicBezTo>
                  <a:pt x="4853051" y="246025"/>
                  <a:pt x="4831928" y="242360"/>
                  <a:pt x="4812567" y="233889"/>
                </a:cubicBezTo>
                <a:cubicBezTo>
                  <a:pt x="4805868" y="228094"/>
                  <a:pt x="4823251" y="223205"/>
                  <a:pt x="4850956" y="223024"/>
                </a:cubicBezTo>
                <a:close/>
                <a:moveTo>
                  <a:pt x="3305640" y="221034"/>
                </a:moveTo>
                <a:cubicBezTo>
                  <a:pt x="3333525" y="221034"/>
                  <a:pt x="3351633" y="225924"/>
                  <a:pt x="3346019" y="231899"/>
                </a:cubicBezTo>
                <a:cubicBezTo>
                  <a:pt x="3326546" y="240632"/>
                  <a:pt x="3305183" y="244307"/>
                  <a:pt x="3283910" y="242583"/>
                </a:cubicBezTo>
                <a:cubicBezTo>
                  <a:pt x="3256386" y="242583"/>
                  <a:pt x="3239183" y="237513"/>
                  <a:pt x="3244797" y="231718"/>
                </a:cubicBezTo>
                <a:cubicBezTo>
                  <a:pt x="3263856" y="223089"/>
                  <a:pt x="3284783" y="219414"/>
                  <a:pt x="3305640" y="221034"/>
                </a:cubicBezTo>
                <a:close/>
                <a:moveTo>
                  <a:pt x="4722030" y="219946"/>
                </a:moveTo>
                <a:cubicBezTo>
                  <a:pt x="4751544" y="219946"/>
                  <a:pt x="4777258" y="224473"/>
                  <a:pt x="4783052" y="230811"/>
                </a:cubicBezTo>
                <a:cubicBezTo>
                  <a:pt x="4788847" y="237149"/>
                  <a:pt x="4770920" y="241856"/>
                  <a:pt x="4740499" y="241856"/>
                </a:cubicBezTo>
                <a:cubicBezTo>
                  <a:pt x="4710078" y="241856"/>
                  <a:pt x="4684183" y="236967"/>
                  <a:pt x="4679113" y="230631"/>
                </a:cubicBezTo>
                <a:cubicBezTo>
                  <a:pt x="4674043" y="224292"/>
                  <a:pt x="4692333" y="219946"/>
                  <a:pt x="4722030" y="219946"/>
                </a:cubicBezTo>
                <a:close/>
                <a:moveTo>
                  <a:pt x="5884003" y="219946"/>
                </a:moveTo>
                <a:cubicBezTo>
                  <a:pt x="5895647" y="219703"/>
                  <a:pt x="5907257" y="221292"/>
                  <a:pt x="5918409" y="224653"/>
                </a:cubicBezTo>
                <a:cubicBezTo>
                  <a:pt x="5926195" y="227731"/>
                  <a:pt x="5921850" y="229904"/>
                  <a:pt x="5907363" y="229904"/>
                </a:cubicBezTo>
                <a:cubicBezTo>
                  <a:pt x="5895090" y="230273"/>
                  <a:pt x="5882847" y="228560"/>
                  <a:pt x="5871147" y="224834"/>
                </a:cubicBezTo>
                <a:cubicBezTo>
                  <a:pt x="5864265" y="221756"/>
                  <a:pt x="5869336" y="219946"/>
                  <a:pt x="5884003" y="219946"/>
                </a:cubicBezTo>
                <a:close/>
                <a:moveTo>
                  <a:pt x="3175627" y="219765"/>
                </a:moveTo>
                <a:cubicBezTo>
                  <a:pt x="3201702" y="219765"/>
                  <a:pt x="3216730" y="223930"/>
                  <a:pt x="3211842" y="229544"/>
                </a:cubicBezTo>
                <a:cubicBezTo>
                  <a:pt x="3193350" y="238116"/>
                  <a:pt x="3172929" y="241673"/>
                  <a:pt x="3152629" y="239865"/>
                </a:cubicBezTo>
                <a:cubicBezTo>
                  <a:pt x="3124562" y="239865"/>
                  <a:pt x="3109171" y="235519"/>
                  <a:pt x="3116414" y="229725"/>
                </a:cubicBezTo>
                <a:cubicBezTo>
                  <a:pt x="3135067" y="221710"/>
                  <a:pt x="3155376" y="218296"/>
                  <a:pt x="3175627" y="219765"/>
                </a:cubicBezTo>
                <a:close/>
                <a:moveTo>
                  <a:pt x="4591291" y="217592"/>
                </a:moveTo>
                <a:cubicBezTo>
                  <a:pt x="4619539" y="217592"/>
                  <a:pt x="4648872" y="222482"/>
                  <a:pt x="4654667" y="228637"/>
                </a:cubicBezTo>
                <a:cubicBezTo>
                  <a:pt x="4660461" y="234795"/>
                  <a:pt x="4638732" y="240589"/>
                  <a:pt x="4608674" y="240589"/>
                </a:cubicBezTo>
                <a:cubicBezTo>
                  <a:pt x="4578615" y="240589"/>
                  <a:pt x="4550186" y="235156"/>
                  <a:pt x="4545840" y="229001"/>
                </a:cubicBezTo>
                <a:cubicBezTo>
                  <a:pt x="4541494" y="222843"/>
                  <a:pt x="4563224" y="217592"/>
                  <a:pt x="4591291" y="217592"/>
                </a:cubicBezTo>
                <a:close/>
                <a:moveTo>
                  <a:pt x="5752180" y="217591"/>
                </a:moveTo>
                <a:cubicBezTo>
                  <a:pt x="5765398" y="217420"/>
                  <a:pt x="5778554" y="219439"/>
                  <a:pt x="5791112" y="223568"/>
                </a:cubicBezTo>
                <a:cubicBezTo>
                  <a:pt x="5798173" y="227007"/>
                  <a:pt x="5790025" y="229543"/>
                  <a:pt x="5773005" y="229180"/>
                </a:cubicBezTo>
                <a:cubicBezTo>
                  <a:pt x="5759992" y="229372"/>
                  <a:pt x="5747049" y="227228"/>
                  <a:pt x="5734796" y="222844"/>
                </a:cubicBezTo>
                <a:cubicBezTo>
                  <a:pt x="5728639" y="219403"/>
                  <a:pt x="5736426" y="217591"/>
                  <a:pt x="5752180" y="217591"/>
                </a:cubicBezTo>
                <a:close/>
                <a:moveTo>
                  <a:pt x="3050863" y="217591"/>
                </a:moveTo>
                <a:cubicBezTo>
                  <a:pt x="3074585" y="217591"/>
                  <a:pt x="3089976" y="222119"/>
                  <a:pt x="3083820" y="227007"/>
                </a:cubicBezTo>
                <a:cubicBezTo>
                  <a:pt x="3065418" y="234039"/>
                  <a:pt x="3045711" y="237003"/>
                  <a:pt x="3026056" y="235699"/>
                </a:cubicBezTo>
                <a:cubicBezTo>
                  <a:pt x="3001792" y="235699"/>
                  <a:pt x="2986399" y="231172"/>
                  <a:pt x="2993462" y="226102"/>
                </a:cubicBezTo>
                <a:cubicBezTo>
                  <a:pt x="3011807" y="219348"/>
                  <a:pt x="3031349" y="216450"/>
                  <a:pt x="3050863" y="217591"/>
                </a:cubicBezTo>
                <a:close/>
                <a:moveTo>
                  <a:pt x="2927368" y="216324"/>
                </a:moveTo>
                <a:cubicBezTo>
                  <a:pt x="2950003" y="216505"/>
                  <a:pt x="2961592" y="220307"/>
                  <a:pt x="2954168" y="225197"/>
                </a:cubicBezTo>
                <a:cubicBezTo>
                  <a:pt x="2936866" y="231847"/>
                  <a:pt x="2918350" y="234748"/>
                  <a:pt x="2899845" y="233708"/>
                </a:cubicBezTo>
                <a:cubicBezTo>
                  <a:pt x="2876304" y="233708"/>
                  <a:pt x="2864917" y="229543"/>
                  <a:pt x="2873045" y="224653"/>
                </a:cubicBezTo>
                <a:cubicBezTo>
                  <a:pt x="2890400" y="218218"/>
                  <a:pt x="2908882" y="215383"/>
                  <a:pt x="2927368" y="216324"/>
                </a:cubicBezTo>
                <a:close/>
                <a:moveTo>
                  <a:pt x="4465441" y="214515"/>
                </a:moveTo>
                <a:cubicBezTo>
                  <a:pt x="4495682" y="214515"/>
                  <a:pt x="4522118" y="219585"/>
                  <a:pt x="4525922" y="225921"/>
                </a:cubicBezTo>
                <a:cubicBezTo>
                  <a:pt x="4529724" y="232260"/>
                  <a:pt x="4507815" y="237873"/>
                  <a:pt x="4475221" y="237510"/>
                </a:cubicBezTo>
                <a:cubicBezTo>
                  <a:pt x="4442627" y="237149"/>
                  <a:pt x="4418181" y="232079"/>
                  <a:pt x="4415645" y="225560"/>
                </a:cubicBezTo>
                <a:cubicBezTo>
                  <a:pt x="4413111" y="219042"/>
                  <a:pt x="4434840" y="214333"/>
                  <a:pt x="4465441" y="214515"/>
                </a:cubicBezTo>
                <a:close/>
                <a:moveTo>
                  <a:pt x="2803348" y="213971"/>
                </a:moveTo>
                <a:cubicBezTo>
                  <a:pt x="2823992" y="213971"/>
                  <a:pt x="2835762" y="217773"/>
                  <a:pt x="2828699" y="222119"/>
                </a:cubicBezTo>
                <a:cubicBezTo>
                  <a:pt x="2811879" y="228172"/>
                  <a:pt x="2794062" y="230940"/>
                  <a:pt x="2776188" y="230267"/>
                </a:cubicBezTo>
                <a:cubicBezTo>
                  <a:pt x="2755182" y="230267"/>
                  <a:pt x="2743594" y="226284"/>
                  <a:pt x="2751199" y="221938"/>
                </a:cubicBezTo>
                <a:cubicBezTo>
                  <a:pt x="2767949" y="216113"/>
                  <a:pt x="2785622" y="213412"/>
                  <a:pt x="2803348" y="213971"/>
                </a:cubicBezTo>
                <a:close/>
                <a:moveTo>
                  <a:pt x="5616371" y="213608"/>
                </a:moveTo>
                <a:cubicBezTo>
                  <a:pt x="5631528" y="213427"/>
                  <a:pt x="5646621" y="215627"/>
                  <a:pt x="5661096" y="220127"/>
                </a:cubicBezTo>
                <a:cubicBezTo>
                  <a:pt x="5668339" y="223748"/>
                  <a:pt x="5659647" y="226828"/>
                  <a:pt x="5642988" y="226828"/>
                </a:cubicBezTo>
                <a:cubicBezTo>
                  <a:pt x="5627800" y="227045"/>
                  <a:pt x="5612683" y="224718"/>
                  <a:pt x="5598263" y="219946"/>
                </a:cubicBezTo>
                <a:cubicBezTo>
                  <a:pt x="5592286" y="216505"/>
                  <a:pt x="5600797" y="213790"/>
                  <a:pt x="5616371" y="213608"/>
                </a:cubicBezTo>
                <a:close/>
                <a:moveTo>
                  <a:pt x="2680942" y="212703"/>
                </a:moveTo>
                <a:cubicBezTo>
                  <a:pt x="2699049" y="212703"/>
                  <a:pt x="2708284" y="216507"/>
                  <a:pt x="2701404" y="220309"/>
                </a:cubicBezTo>
                <a:cubicBezTo>
                  <a:pt x="2685321" y="225752"/>
                  <a:pt x="2668393" y="228267"/>
                  <a:pt x="2651427" y="227733"/>
                </a:cubicBezTo>
                <a:cubicBezTo>
                  <a:pt x="2632413" y="227733"/>
                  <a:pt x="2622453" y="223750"/>
                  <a:pt x="2630600" y="219765"/>
                </a:cubicBezTo>
                <a:cubicBezTo>
                  <a:pt x="2646881" y="214648"/>
                  <a:pt x="2663885" y="212262"/>
                  <a:pt x="2680942" y="212703"/>
                </a:cubicBezTo>
                <a:close/>
                <a:moveTo>
                  <a:pt x="4333617" y="212522"/>
                </a:moveTo>
                <a:cubicBezTo>
                  <a:pt x="4365486" y="212703"/>
                  <a:pt x="4390474" y="217592"/>
                  <a:pt x="4393371" y="224111"/>
                </a:cubicBezTo>
                <a:cubicBezTo>
                  <a:pt x="4396088" y="230810"/>
                  <a:pt x="4374358" y="235880"/>
                  <a:pt x="4341584" y="235880"/>
                </a:cubicBezTo>
                <a:cubicBezTo>
                  <a:pt x="4308808" y="235880"/>
                  <a:pt x="4283639" y="230630"/>
                  <a:pt x="4281828" y="223928"/>
                </a:cubicBezTo>
                <a:cubicBezTo>
                  <a:pt x="4280018" y="217229"/>
                  <a:pt x="4301747" y="212340"/>
                  <a:pt x="4333617" y="212522"/>
                </a:cubicBezTo>
                <a:close/>
                <a:moveTo>
                  <a:pt x="5485088" y="211072"/>
                </a:moveTo>
                <a:cubicBezTo>
                  <a:pt x="5501272" y="210638"/>
                  <a:pt x="5517418" y="212840"/>
                  <a:pt x="5532893" y="217591"/>
                </a:cubicBezTo>
                <a:cubicBezTo>
                  <a:pt x="5540499" y="221395"/>
                  <a:pt x="5531083" y="224834"/>
                  <a:pt x="5512612" y="225017"/>
                </a:cubicBezTo>
                <a:cubicBezTo>
                  <a:pt x="5496141" y="225410"/>
                  <a:pt x="5479723" y="222959"/>
                  <a:pt x="5464083" y="217773"/>
                </a:cubicBezTo>
                <a:cubicBezTo>
                  <a:pt x="5457383" y="214693"/>
                  <a:pt x="5467163" y="211254"/>
                  <a:pt x="5485088" y="211072"/>
                </a:cubicBezTo>
                <a:close/>
                <a:moveTo>
                  <a:pt x="2555997" y="210893"/>
                </a:moveTo>
                <a:cubicBezTo>
                  <a:pt x="2574106" y="210893"/>
                  <a:pt x="2582255" y="213608"/>
                  <a:pt x="2576278" y="217049"/>
                </a:cubicBezTo>
                <a:cubicBezTo>
                  <a:pt x="2561755" y="222147"/>
                  <a:pt x="2546403" y="224482"/>
                  <a:pt x="2531010" y="223930"/>
                </a:cubicBezTo>
                <a:cubicBezTo>
                  <a:pt x="2512900" y="223930"/>
                  <a:pt x="2505481" y="221033"/>
                  <a:pt x="2512900" y="217412"/>
                </a:cubicBezTo>
                <a:cubicBezTo>
                  <a:pt x="2526775" y="212724"/>
                  <a:pt x="2541369" y="210517"/>
                  <a:pt x="2555997" y="210893"/>
                </a:cubicBezTo>
                <a:close/>
                <a:moveTo>
                  <a:pt x="2427796" y="209806"/>
                </a:moveTo>
                <a:cubicBezTo>
                  <a:pt x="2444275" y="209623"/>
                  <a:pt x="2451336" y="212159"/>
                  <a:pt x="2444275" y="215600"/>
                </a:cubicBezTo>
                <a:cubicBezTo>
                  <a:pt x="2431833" y="219671"/>
                  <a:pt x="2418797" y="221568"/>
                  <a:pt x="2405704" y="221213"/>
                </a:cubicBezTo>
                <a:cubicBezTo>
                  <a:pt x="2389048" y="221213"/>
                  <a:pt x="2382164" y="218859"/>
                  <a:pt x="2389409" y="215418"/>
                </a:cubicBezTo>
                <a:cubicBezTo>
                  <a:pt x="2401773" y="211319"/>
                  <a:pt x="2414777" y="209420"/>
                  <a:pt x="2427796" y="209806"/>
                </a:cubicBezTo>
                <a:close/>
                <a:moveTo>
                  <a:pt x="4207587" y="209625"/>
                </a:moveTo>
                <a:cubicBezTo>
                  <a:pt x="4239274" y="209625"/>
                  <a:pt x="4263359" y="214515"/>
                  <a:pt x="4265349" y="221034"/>
                </a:cubicBezTo>
                <a:cubicBezTo>
                  <a:pt x="4267342" y="227914"/>
                  <a:pt x="4245069" y="232984"/>
                  <a:pt x="4212475" y="232984"/>
                </a:cubicBezTo>
                <a:cubicBezTo>
                  <a:pt x="4179881" y="232984"/>
                  <a:pt x="4153805" y="227734"/>
                  <a:pt x="4153264" y="220853"/>
                </a:cubicBezTo>
                <a:cubicBezTo>
                  <a:pt x="4152720" y="213971"/>
                  <a:pt x="4175898" y="209625"/>
                  <a:pt x="4207587" y="209625"/>
                </a:cubicBezTo>
                <a:close/>
                <a:moveTo>
                  <a:pt x="2306475" y="208718"/>
                </a:moveTo>
                <a:cubicBezTo>
                  <a:pt x="2320415" y="208718"/>
                  <a:pt x="2324581" y="210893"/>
                  <a:pt x="2317517" y="213971"/>
                </a:cubicBezTo>
                <a:cubicBezTo>
                  <a:pt x="2305784" y="217510"/>
                  <a:pt x="2293544" y="219041"/>
                  <a:pt x="2281304" y="218497"/>
                </a:cubicBezTo>
                <a:cubicBezTo>
                  <a:pt x="2268267" y="218497"/>
                  <a:pt x="2264284" y="216324"/>
                  <a:pt x="2270982" y="213607"/>
                </a:cubicBezTo>
                <a:cubicBezTo>
                  <a:pt x="2282428" y="209878"/>
                  <a:pt x="2294452" y="208222"/>
                  <a:pt x="2306475" y="208718"/>
                </a:cubicBezTo>
                <a:close/>
                <a:moveTo>
                  <a:pt x="5349283" y="207997"/>
                </a:moveTo>
                <a:cubicBezTo>
                  <a:pt x="5366315" y="207126"/>
                  <a:pt x="5383353" y="209586"/>
                  <a:pt x="5399441" y="215240"/>
                </a:cubicBezTo>
                <a:cubicBezTo>
                  <a:pt x="5407590" y="219766"/>
                  <a:pt x="5398173" y="223026"/>
                  <a:pt x="5376988" y="223207"/>
                </a:cubicBezTo>
                <a:cubicBezTo>
                  <a:pt x="5359809" y="224078"/>
                  <a:pt x="5342627" y="221490"/>
                  <a:pt x="5326466" y="215601"/>
                </a:cubicBezTo>
                <a:cubicBezTo>
                  <a:pt x="5318679" y="211257"/>
                  <a:pt x="5328278" y="207997"/>
                  <a:pt x="5349283" y="207997"/>
                </a:cubicBezTo>
                <a:close/>
                <a:moveTo>
                  <a:pt x="4081557" y="207633"/>
                </a:moveTo>
                <a:cubicBezTo>
                  <a:pt x="4112340" y="207633"/>
                  <a:pt x="4138959" y="213065"/>
                  <a:pt x="4138778" y="219583"/>
                </a:cubicBezTo>
                <a:cubicBezTo>
                  <a:pt x="4138597" y="226102"/>
                  <a:pt x="4113064" y="231353"/>
                  <a:pt x="4082282" y="231173"/>
                </a:cubicBezTo>
                <a:cubicBezTo>
                  <a:pt x="4051497" y="230992"/>
                  <a:pt x="4023793" y="225378"/>
                  <a:pt x="4025061" y="218859"/>
                </a:cubicBezTo>
                <a:cubicBezTo>
                  <a:pt x="4026329" y="212340"/>
                  <a:pt x="4051497" y="207451"/>
                  <a:pt x="4081557" y="207633"/>
                </a:cubicBezTo>
                <a:close/>
                <a:moveTo>
                  <a:pt x="2184784" y="206908"/>
                </a:moveTo>
                <a:cubicBezTo>
                  <a:pt x="2196737" y="206908"/>
                  <a:pt x="2201084" y="208540"/>
                  <a:pt x="2194383" y="210893"/>
                </a:cubicBezTo>
                <a:cubicBezTo>
                  <a:pt x="2184838" y="213874"/>
                  <a:pt x="2174844" y="215161"/>
                  <a:pt x="2164868" y="214695"/>
                </a:cubicBezTo>
                <a:cubicBezTo>
                  <a:pt x="2154002" y="214695"/>
                  <a:pt x="2150743" y="213247"/>
                  <a:pt x="2155994" y="210893"/>
                </a:cubicBezTo>
                <a:cubicBezTo>
                  <a:pt x="2165300" y="207965"/>
                  <a:pt x="2175025" y="206618"/>
                  <a:pt x="2184784" y="206908"/>
                </a:cubicBezTo>
                <a:close/>
                <a:moveTo>
                  <a:pt x="2063631" y="206004"/>
                </a:moveTo>
                <a:cubicBezTo>
                  <a:pt x="2071235" y="206185"/>
                  <a:pt x="2074313" y="207272"/>
                  <a:pt x="2068881" y="209082"/>
                </a:cubicBezTo>
                <a:cubicBezTo>
                  <a:pt x="2061294" y="211272"/>
                  <a:pt x="2053418" y="212250"/>
                  <a:pt x="2045523" y="211980"/>
                </a:cubicBezTo>
                <a:cubicBezTo>
                  <a:pt x="2037736" y="211980"/>
                  <a:pt x="2035744" y="210714"/>
                  <a:pt x="2040270" y="208902"/>
                </a:cubicBezTo>
                <a:cubicBezTo>
                  <a:pt x="2047857" y="206711"/>
                  <a:pt x="2055735" y="205734"/>
                  <a:pt x="2063631" y="206004"/>
                </a:cubicBezTo>
                <a:close/>
                <a:moveTo>
                  <a:pt x="5219810" y="205460"/>
                </a:moveTo>
                <a:cubicBezTo>
                  <a:pt x="5237838" y="204758"/>
                  <a:pt x="5255838" y="207462"/>
                  <a:pt x="5272866" y="213427"/>
                </a:cubicBezTo>
                <a:cubicBezTo>
                  <a:pt x="5281196" y="217592"/>
                  <a:pt x="5269063" y="221938"/>
                  <a:pt x="5247334" y="221938"/>
                </a:cubicBezTo>
                <a:cubicBezTo>
                  <a:pt x="5228869" y="222765"/>
                  <a:pt x="5210419" y="219999"/>
                  <a:pt x="5193011" y="213788"/>
                </a:cubicBezTo>
                <a:cubicBezTo>
                  <a:pt x="5186131" y="209262"/>
                  <a:pt x="5198444" y="205460"/>
                  <a:pt x="5219810" y="205460"/>
                </a:cubicBezTo>
                <a:close/>
                <a:moveTo>
                  <a:pt x="3957520" y="205098"/>
                </a:moveTo>
                <a:cubicBezTo>
                  <a:pt x="3989209" y="205098"/>
                  <a:pt x="4011843" y="209805"/>
                  <a:pt x="4011843" y="216507"/>
                </a:cubicBezTo>
                <a:cubicBezTo>
                  <a:pt x="4011843" y="223206"/>
                  <a:pt x="3987580" y="228095"/>
                  <a:pt x="3954985" y="228095"/>
                </a:cubicBezTo>
                <a:cubicBezTo>
                  <a:pt x="3922391" y="228095"/>
                  <a:pt x="3900662" y="223025"/>
                  <a:pt x="3900662" y="216326"/>
                </a:cubicBezTo>
                <a:cubicBezTo>
                  <a:pt x="3900662" y="209625"/>
                  <a:pt x="3925108" y="205098"/>
                  <a:pt x="3957520" y="205098"/>
                </a:cubicBezTo>
                <a:close/>
                <a:moveTo>
                  <a:pt x="3834024" y="203469"/>
                </a:moveTo>
                <a:cubicBezTo>
                  <a:pt x="3865169" y="203650"/>
                  <a:pt x="3885089" y="208359"/>
                  <a:pt x="3883821" y="214695"/>
                </a:cubicBezTo>
                <a:cubicBezTo>
                  <a:pt x="3882192" y="221214"/>
                  <a:pt x="3856297" y="226103"/>
                  <a:pt x="3824247" y="225923"/>
                </a:cubicBezTo>
                <a:cubicBezTo>
                  <a:pt x="3792196" y="225742"/>
                  <a:pt x="3772277" y="220852"/>
                  <a:pt x="3774813" y="214334"/>
                </a:cubicBezTo>
                <a:cubicBezTo>
                  <a:pt x="3777347" y="207815"/>
                  <a:pt x="3802879" y="203287"/>
                  <a:pt x="3834024" y="203469"/>
                </a:cubicBezTo>
                <a:close/>
                <a:moveTo>
                  <a:pt x="5092151" y="203287"/>
                </a:moveTo>
                <a:cubicBezTo>
                  <a:pt x="5110772" y="202004"/>
                  <a:pt x="5129444" y="204848"/>
                  <a:pt x="5146837" y="211615"/>
                </a:cubicBezTo>
                <a:cubicBezTo>
                  <a:pt x="5154442" y="216685"/>
                  <a:pt x="5142128" y="220489"/>
                  <a:pt x="5117321" y="220489"/>
                </a:cubicBezTo>
                <a:cubicBezTo>
                  <a:pt x="5098768" y="221778"/>
                  <a:pt x="5080174" y="218742"/>
                  <a:pt x="5062998" y="211615"/>
                </a:cubicBezTo>
                <a:cubicBezTo>
                  <a:pt x="5056840" y="206728"/>
                  <a:pt x="5068792" y="203287"/>
                  <a:pt x="5092151" y="203287"/>
                </a:cubicBezTo>
                <a:close/>
                <a:moveTo>
                  <a:pt x="3708176" y="201657"/>
                </a:moveTo>
                <a:cubicBezTo>
                  <a:pt x="3736244" y="201657"/>
                  <a:pt x="3760146" y="206728"/>
                  <a:pt x="3758334" y="212885"/>
                </a:cubicBezTo>
                <a:cubicBezTo>
                  <a:pt x="3755617" y="219041"/>
                  <a:pt x="3728094" y="224111"/>
                  <a:pt x="3698397" y="223931"/>
                </a:cubicBezTo>
                <a:cubicBezTo>
                  <a:pt x="3668701" y="223750"/>
                  <a:pt x="3646247" y="217592"/>
                  <a:pt x="3649688" y="212342"/>
                </a:cubicBezTo>
                <a:cubicBezTo>
                  <a:pt x="3653129" y="207091"/>
                  <a:pt x="3680109" y="201657"/>
                  <a:pt x="3708176" y="201657"/>
                </a:cubicBezTo>
                <a:close/>
                <a:moveTo>
                  <a:pt x="6100393" y="200933"/>
                </a:moveTo>
                <a:cubicBezTo>
                  <a:pt x="6106811" y="200975"/>
                  <a:pt x="6113200" y="201827"/>
                  <a:pt x="6119406" y="203470"/>
                </a:cubicBezTo>
                <a:cubicBezTo>
                  <a:pt x="6123390" y="204736"/>
                  <a:pt x="6121398" y="206004"/>
                  <a:pt x="6114879" y="206184"/>
                </a:cubicBezTo>
                <a:cubicBezTo>
                  <a:pt x="6107908" y="206203"/>
                  <a:pt x="6100965" y="205291"/>
                  <a:pt x="6094235" y="203470"/>
                </a:cubicBezTo>
                <a:cubicBezTo>
                  <a:pt x="6090796" y="202019"/>
                  <a:pt x="6094235" y="200933"/>
                  <a:pt x="6100393" y="200933"/>
                </a:cubicBezTo>
                <a:close/>
                <a:moveTo>
                  <a:pt x="4967388" y="199846"/>
                </a:moveTo>
                <a:cubicBezTo>
                  <a:pt x="4985715" y="198964"/>
                  <a:pt x="5004013" y="202116"/>
                  <a:pt x="5020987" y="209081"/>
                </a:cubicBezTo>
                <a:cubicBezTo>
                  <a:pt x="5026782" y="214152"/>
                  <a:pt x="5011934" y="218136"/>
                  <a:pt x="4987850" y="218317"/>
                </a:cubicBezTo>
                <a:cubicBezTo>
                  <a:pt x="4968487" y="219513"/>
                  <a:pt x="4949110" y="216292"/>
                  <a:pt x="4931173" y="208901"/>
                </a:cubicBezTo>
                <a:cubicBezTo>
                  <a:pt x="4925742" y="203831"/>
                  <a:pt x="4942218" y="199665"/>
                  <a:pt x="4967388" y="199846"/>
                </a:cubicBezTo>
                <a:close/>
                <a:moveTo>
                  <a:pt x="3581420" y="199485"/>
                </a:moveTo>
                <a:cubicBezTo>
                  <a:pt x="3609851" y="199485"/>
                  <a:pt x="3629587" y="204012"/>
                  <a:pt x="3627051" y="209806"/>
                </a:cubicBezTo>
                <a:cubicBezTo>
                  <a:pt x="3624337" y="215601"/>
                  <a:pt x="3598442" y="220490"/>
                  <a:pt x="3569831" y="220671"/>
                </a:cubicBezTo>
                <a:cubicBezTo>
                  <a:pt x="3541222" y="220853"/>
                  <a:pt x="3520578" y="216144"/>
                  <a:pt x="3523295" y="210169"/>
                </a:cubicBezTo>
                <a:cubicBezTo>
                  <a:pt x="3526011" y="204192"/>
                  <a:pt x="3552991" y="199485"/>
                  <a:pt x="3581420" y="199485"/>
                </a:cubicBezTo>
                <a:close/>
                <a:moveTo>
                  <a:pt x="5970741" y="198217"/>
                </a:moveTo>
                <a:cubicBezTo>
                  <a:pt x="5979200" y="198223"/>
                  <a:pt x="5987615" y="199441"/>
                  <a:pt x="5995729" y="201839"/>
                </a:cubicBezTo>
                <a:cubicBezTo>
                  <a:pt x="5999894" y="203649"/>
                  <a:pt x="5995729" y="205278"/>
                  <a:pt x="5986856" y="205278"/>
                </a:cubicBezTo>
                <a:cubicBezTo>
                  <a:pt x="5977661" y="205398"/>
                  <a:pt x="5968501" y="204116"/>
                  <a:pt x="5959693" y="201475"/>
                </a:cubicBezTo>
                <a:cubicBezTo>
                  <a:pt x="5955167" y="199483"/>
                  <a:pt x="5960600" y="197854"/>
                  <a:pt x="5970741" y="198217"/>
                </a:cubicBezTo>
                <a:close/>
                <a:moveTo>
                  <a:pt x="3460823" y="198036"/>
                </a:moveTo>
                <a:cubicBezTo>
                  <a:pt x="3487622" y="198036"/>
                  <a:pt x="3505186" y="202743"/>
                  <a:pt x="3500297" y="208538"/>
                </a:cubicBezTo>
                <a:cubicBezTo>
                  <a:pt x="3481792" y="216828"/>
                  <a:pt x="3461456" y="220197"/>
                  <a:pt x="3441266" y="218317"/>
                </a:cubicBezTo>
                <a:cubicBezTo>
                  <a:pt x="3414286" y="217592"/>
                  <a:pt x="3396179" y="213427"/>
                  <a:pt x="3402154" y="207633"/>
                </a:cubicBezTo>
                <a:cubicBezTo>
                  <a:pt x="3420596" y="199567"/>
                  <a:pt x="3440770" y="196264"/>
                  <a:pt x="3460823" y="198036"/>
                </a:cubicBezTo>
                <a:close/>
                <a:moveTo>
                  <a:pt x="4836830" y="197854"/>
                </a:moveTo>
                <a:cubicBezTo>
                  <a:pt x="4856594" y="196154"/>
                  <a:pt x="4876473" y="199259"/>
                  <a:pt x="4894775" y="206909"/>
                </a:cubicBezTo>
                <a:cubicBezTo>
                  <a:pt x="4901293" y="212521"/>
                  <a:pt x="4886265" y="216686"/>
                  <a:pt x="4858559" y="216686"/>
                </a:cubicBezTo>
                <a:cubicBezTo>
                  <a:pt x="4839216" y="218427"/>
                  <a:pt x="4819749" y="215121"/>
                  <a:pt x="4802063" y="207089"/>
                </a:cubicBezTo>
                <a:cubicBezTo>
                  <a:pt x="4796993" y="201839"/>
                  <a:pt x="4811662" y="198034"/>
                  <a:pt x="4836830" y="197854"/>
                </a:cubicBezTo>
                <a:close/>
                <a:moveTo>
                  <a:pt x="3337689" y="195683"/>
                </a:moveTo>
                <a:cubicBezTo>
                  <a:pt x="3362135" y="195683"/>
                  <a:pt x="3380063" y="199485"/>
                  <a:pt x="3376441" y="205099"/>
                </a:cubicBezTo>
                <a:cubicBezTo>
                  <a:pt x="3358500" y="213163"/>
                  <a:pt x="3338839" y="216648"/>
                  <a:pt x="3319220" y="215239"/>
                </a:cubicBezTo>
                <a:cubicBezTo>
                  <a:pt x="3294231" y="215239"/>
                  <a:pt x="3276304" y="210532"/>
                  <a:pt x="3280832" y="205462"/>
                </a:cubicBezTo>
                <a:cubicBezTo>
                  <a:pt x="3298746" y="197759"/>
                  <a:pt x="3318232" y="194407"/>
                  <a:pt x="3337689" y="195683"/>
                </a:cubicBezTo>
                <a:close/>
                <a:moveTo>
                  <a:pt x="5836923" y="194958"/>
                </a:moveTo>
                <a:cubicBezTo>
                  <a:pt x="5847580" y="195057"/>
                  <a:pt x="5858177" y="196580"/>
                  <a:pt x="5868431" y="199485"/>
                </a:cubicBezTo>
                <a:cubicBezTo>
                  <a:pt x="5874406" y="201841"/>
                  <a:pt x="5868431" y="204194"/>
                  <a:pt x="5857384" y="204194"/>
                </a:cubicBezTo>
                <a:cubicBezTo>
                  <a:pt x="5846776" y="204078"/>
                  <a:pt x="5836233" y="202493"/>
                  <a:pt x="5826058" y="199485"/>
                </a:cubicBezTo>
                <a:cubicBezTo>
                  <a:pt x="5820083" y="197312"/>
                  <a:pt x="5826058" y="194958"/>
                  <a:pt x="5836923" y="194958"/>
                </a:cubicBezTo>
                <a:close/>
                <a:moveTo>
                  <a:pt x="4709171" y="194596"/>
                </a:moveTo>
                <a:cubicBezTo>
                  <a:pt x="4728672" y="193195"/>
                  <a:pt x="4748216" y="196679"/>
                  <a:pt x="4766031" y="204736"/>
                </a:cubicBezTo>
                <a:cubicBezTo>
                  <a:pt x="4770013" y="210170"/>
                  <a:pt x="4751181" y="214516"/>
                  <a:pt x="4725106" y="214516"/>
                </a:cubicBezTo>
                <a:cubicBezTo>
                  <a:pt x="4705683" y="215884"/>
                  <a:pt x="4686221" y="212462"/>
                  <a:pt x="4668429" y="204556"/>
                </a:cubicBezTo>
                <a:cubicBezTo>
                  <a:pt x="4663903" y="199122"/>
                  <a:pt x="4682735" y="194596"/>
                  <a:pt x="4709171" y="194596"/>
                </a:cubicBezTo>
                <a:close/>
                <a:moveTo>
                  <a:pt x="3217635" y="194595"/>
                </a:moveTo>
                <a:cubicBezTo>
                  <a:pt x="3240995" y="194595"/>
                  <a:pt x="3255481" y="198578"/>
                  <a:pt x="3250411" y="203468"/>
                </a:cubicBezTo>
                <a:cubicBezTo>
                  <a:pt x="3232950" y="210947"/>
                  <a:pt x="3213943" y="214114"/>
                  <a:pt x="3195000" y="212703"/>
                </a:cubicBezTo>
                <a:cubicBezTo>
                  <a:pt x="3169832" y="212703"/>
                  <a:pt x="3154983" y="208357"/>
                  <a:pt x="3161682" y="203287"/>
                </a:cubicBezTo>
                <a:cubicBezTo>
                  <a:pt x="3179459" y="196278"/>
                  <a:pt x="3198572" y="193308"/>
                  <a:pt x="3217635" y="194595"/>
                </a:cubicBezTo>
                <a:close/>
                <a:moveTo>
                  <a:pt x="4586582" y="192603"/>
                </a:moveTo>
                <a:cubicBezTo>
                  <a:pt x="4615374" y="192784"/>
                  <a:pt x="4636740" y="197130"/>
                  <a:pt x="4640725" y="202744"/>
                </a:cubicBezTo>
                <a:cubicBezTo>
                  <a:pt x="4644888" y="208719"/>
                  <a:pt x="4625875" y="213065"/>
                  <a:pt x="4596359" y="212703"/>
                </a:cubicBezTo>
                <a:cubicBezTo>
                  <a:pt x="4566845" y="212340"/>
                  <a:pt x="4544933" y="208177"/>
                  <a:pt x="4542036" y="202382"/>
                </a:cubicBezTo>
                <a:cubicBezTo>
                  <a:pt x="4539138" y="196588"/>
                  <a:pt x="4557790" y="192423"/>
                  <a:pt x="4586582" y="192603"/>
                </a:cubicBezTo>
                <a:close/>
                <a:moveTo>
                  <a:pt x="3094140" y="192423"/>
                </a:moveTo>
                <a:cubicBezTo>
                  <a:pt x="3118404" y="192423"/>
                  <a:pt x="3131804" y="195864"/>
                  <a:pt x="3126371" y="200752"/>
                </a:cubicBezTo>
                <a:cubicBezTo>
                  <a:pt x="3109969" y="207677"/>
                  <a:pt x="3092156" y="210594"/>
                  <a:pt x="3074402" y="209263"/>
                </a:cubicBezTo>
                <a:cubicBezTo>
                  <a:pt x="3049775" y="209263"/>
                  <a:pt x="3037101" y="205641"/>
                  <a:pt x="3043800" y="200752"/>
                </a:cubicBezTo>
                <a:cubicBezTo>
                  <a:pt x="3059746" y="194246"/>
                  <a:pt x="3076947" y="191400"/>
                  <a:pt x="3094140" y="192423"/>
                </a:cubicBezTo>
                <a:close/>
                <a:moveTo>
                  <a:pt x="5704193" y="192061"/>
                </a:moveTo>
                <a:cubicBezTo>
                  <a:pt x="5716504" y="191999"/>
                  <a:pt x="5728762" y="193708"/>
                  <a:pt x="5740589" y="197131"/>
                </a:cubicBezTo>
                <a:cubicBezTo>
                  <a:pt x="5746564" y="199848"/>
                  <a:pt x="5740589" y="202382"/>
                  <a:pt x="5727371" y="202382"/>
                </a:cubicBezTo>
                <a:cubicBezTo>
                  <a:pt x="5714496" y="202661"/>
                  <a:pt x="5701660" y="200888"/>
                  <a:pt x="5689343" y="197131"/>
                </a:cubicBezTo>
                <a:cubicBezTo>
                  <a:pt x="5684093" y="194415"/>
                  <a:pt x="5691336" y="192061"/>
                  <a:pt x="5704193" y="192061"/>
                </a:cubicBezTo>
                <a:close/>
                <a:moveTo>
                  <a:pt x="2974991" y="191517"/>
                </a:moveTo>
                <a:cubicBezTo>
                  <a:pt x="2995816" y="191154"/>
                  <a:pt x="3008673" y="194776"/>
                  <a:pt x="3002878" y="199485"/>
                </a:cubicBezTo>
                <a:cubicBezTo>
                  <a:pt x="2986542" y="205450"/>
                  <a:pt x="2969193" y="208157"/>
                  <a:pt x="2951813" y="207452"/>
                </a:cubicBezTo>
                <a:cubicBezTo>
                  <a:pt x="2930447" y="207452"/>
                  <a:pt x="2917770" y="203650"/>
                  <a:pt x="2924108" y="199304"/>
                </a:cubicBezTo>
                <a:cubicBezTo>
                  <a:pt x="2940418" y="193487"/>
                  <a:pt x="2957689" y="190844"/>
                  <a:pt x="2974991" y="191517"/>
                </a:cubicBezTo>
                <a:close/>
                <a:moveTo>
                  <a:pt x="4460371" y="189344"/>
                </a:moveTo>
                <a:cubicBezTo>
                  <a:pt x="4488438" y="189525"/>
                  <a:pt x="4513065" y="194414"/>
                  <a:pt x="4516506" y="199485"/>
                </a:cubicBezTo>
                <a:cubicBezTo>
                  <a:pt x="4519947" y="205279"/>
                  <a:pt x="4499847" y="209986"/>
                  <a:pt x="4471779" y="209986"/>
                </a:cubicBezTo>
                <a:cubicBezTo>
                  <a:pt x="4443712" y="209986"/>
                  <a:pt x="4416371" y="205099"/>
                  <a:pt x="4414198" y="199304"/>
                </a:cubicBezTo>
                <a:cubicBezTo>
                  <a:pt x="4412025" y="193509"/>
                  <a:pt x="4432305" y="189164"/>
                  <a:pt x="4460371" y="189344"/>
                </a:cubicBezTo>
                <a:close/>
                <a:moveTo>
                  <a:pt x="2849885" y="189164"/>
                </a:moveTo>
                <a:cubicBezTo>
                  <a:pt x="2871075" y="189164"/>
                  <a:pt x="2881374" y="192061"/>
                  <a:pt x="2875399" y="196224"/>
                </a:cubicBezTo>
                <a:cubicBezTo>
                  <a:pt x="2860354" y="201965"/>
                  <a:pt x="2844258" y="204492"/>
                  <a:pt x="2828157" y="203650"/>
                </a:cubicBezTo>
                <a:cubicBezTo>
                  <a:pt x="2807514" y="203650"/>
                  <a:pt x="2797195" y="200389"/>
                  <a:pt x="2804256" y="196224"/>
                </a:cubicBezTo>
                <a:cubicBezTo>
                  <a:pt x="2818872" y="190966"/>
                  <a:pt x="2834367" y="188569"/>
                  <a:pt x="2849885" y="189164"/>
                </a:cubicBezTo>
                <a:close/>
                <a:moveTo>
                  <a:pt x="5575990" y="188258"/>
                </a:moveTo>
                <a:cubicBezTo>
                  <a:pt x="5588953" y="187940"/>
                  <a:pt x="5601873" y="189837"/>
                  <a:pt x="5614198" y="193871"/>
                </a:cubicBezTo>
                <a:cubicBezTo>
                  <a:pt x="5620716" y="197854"/>
                  <a:pt x="5614017" y="199483"/>
                  <a:pt x="5597902" y="199483"/>
                </a:cubicBezTo>
                <a:cubicBezTo>
                  <a:pt x="5584693" y="199956"/>
                  <a:pt x="5571505" y="198055"/>
                  <a:pt x="5558970" y="193871"/>
                </a:cubicBezTo>
                <a:cubicBezTo>
                  <a:pt x="5551727" y="190611"/>
                  <a:pt x="5558970" y="188258"/>
                  <a:pt x="5575990" y="188258"/>
                </a:cubicBezTo>
                <a:close/>
                <a:moveTo>
                  <a:pt x="2730737" y="188076"/>
                </a:moveTo>
                <a:cubicBezTo>
                  <a:pt x="2749206" y="188076"/>
                  <a:pt x="2757718" y="190610"/>
                  <a:pt x="2751923" y="194412"/>
                </a:cubicBezTo>
                <a:cubicBezTo>
                  <a:pt x="2737925" y="199633"/>
                  <a:pt x="2723022" y="201914"/>
                  <a:pt x="2708104" y="201114"/>
                </a:cubicBezTo>
                <a:cubicBezTo>
                  <a:pt x="2689996" y="201114"/>
                  <a:pt x="2680942" y="198397"/>
                  <a:pt x="2687100" y="194775"/>
                </a:cubicBezTo>
                <a:cubicBezTo>
                  <a:pt x="2701024" y="189548"/>
                  <a:pt x="2715889" y="187268"/>
                  <a:pt x="2730737" y="188076"/>
                </a:cubicBezTo>
                <a:close/>
                <a:moveTo>
                  <a:pt x="4336153" y="187713"/>
                </a:moveTo>
                <a:cubicBezTo>
                  <a:pt x="4363495" y="187713"/>
                  <a:pt x="4389933" y="192422"/>
                  <a:pt x="4393011" y="198034"/>
                </a:cubicBezTo>
                <a:cubicBezTo>
                  <a:pt x="4396089" y="203648"/>
                  <a:pt x="4373818" y="208718"/>
                  <a:pt x="4345931" y="208718"/>
                </a:cubicBezTo>
                <a:cubicBezTo>
                  <a:pt x="4318046" y="208718"/>
                  <a:pt x="4291607" y="203829"/>
                  <a:pt x="4288891" y="198217"/>
                </a:cubicBezTo>
                <a:cubicBezTo>
                  <a:pt x="4286176" y="192603"/>
                  <a:pt x="4308810" y="187713"/>
                  <a:pt x="4336153" y="187713"/>
                </a:cubicBezTo>
                <a:close/>
                <a:moveTo>
                  <a:pt x="5451411" y="186628"/>
                </a:moveTo>
                <a:cubicBezTo>
                  <a:pt x="5465102" y="186248"/>
                  <a:pt x="5478741" y="188459"/>
                  <a:pt x="5491609" y="193147"/>
                </a:cubicBezTo>
                <a:cubicBezTo>
                  <a:pt x="5497584" y="196768"/>
                  <a:pt x="5487807" y="199304"/>
                  <a:pt x="5468975" y="198941"/>
                </a:cubicBezTo>
                <a:cubicBezTo>
                  <a:pt x="5455217" y="199451"/>
                  <a:pt x="5441495" y="197236"/>
                  <a:pt x="5428594" y="192423"/>
                </a:cubicBezTo>
                <a:cubicBezTo>
                  <a:pt x="5422980" y="188801"/>
                  <a:pt x="5432940" y="186267"/>
                  <a:pt x="5451411" y="186628"/>
                </a:cubicBezTo>
                <a:close/>
                <a:moveTo>
                  <a:pt x="2614665" y="185904"/>
                </a:moveTo>
                <a:cubicBezTo>
                  <a:pt x="2629334" y="186084"/>
                  <a:pt x="2637301" y="188982"/>
                  <a:pt x="2631328" y="192061"/>
                </a:cubicBezTo>
                <a:cubicBezTo>
                  <a:pt x="2617438" y="196396"/>
                  <a:pt x="2602951" y="198415"/>
                  <a:pt x="2588413" y="198037"/>
                </a:cubicBezTo>
                <a:cubicBezTo>
                  <a:pt x="2573561" y="198037"/>
                  <a:pt x="2565775" y="194776"/>
                  <a:pt x="2571936" y="191879"/>
                </a:cubicBezTo>
                <a:cubicBezTo>
                  <a:pt x="2585766" y="187586"/>
                  <a:pt x="2600199" y="185567"/>
                  <a:pt x="2614665" y="185904"/>
                </a:cubicBezTo>
                <a:close/>
                <a:moveTo>
                  <a:pt x="2493348" y="184999"/>
                </a:moveTo>
                <a:cubicBezTo>
                  <a:pt x="2507108" y="184816"/>
                  <a:pt x="2514714" y="187172"/>
                  <a:pt x="2508918" y="190069"/>
                </a:cubicBezTo>
                <a:cubicBezTo>
                  <a:pt x="2496877" y="193978"/>
                  <a:pt x="2484256" y="195755"/>
                  <a:pt x="2471619" y="195320"/>
                </a:cubicBezTo>
                <a:cubicBezTo>
                  <a:pt x="2457132" y="195320"/>
                  <a:pt x="2450612" y="192966"/>
                  <a:pt x="2457132" y="190069"/>
                </a:cubicBezTo>
                <a:cubicBezTo>
                  <a:pt x="2468845" y="186419"/>
                  <a:pt x="2481087" y="184706"/>
                  <a:pt x="2493348" y="184999"/>
                </a:cubicBezTo>
                <a:close/>
                <a:moveTo>
                  <a:pt x="4215193" y="184998"/>
                </a:moveTo>
                <a:cubicBezTo>
                  <a:pt x="4242534" y="184998"/>
                  <a:pt x="4267523" y="189888"/>
                  <a:pt x="4269516" y="195500"/>
                </a:cubicBezTo>
                <a:cubicBezTo>
                  <a:pt x="4271506" y="201114"/>
                  <a:pt x="4246699" y="206366"/>
                  <a:pt x="4217907" y="206184"/>
                </a:cubicBezTo>
                <a:cubicBezTo>
                  <a:pt x="4189118" y="206003"/>
                  <a:pt x="4165216" y="200752"/>
                  <a:pt x="4165033" y="195139"/>
                </a:cubicBezTo>
                <a:cubicBezTo>
                  <a:pt x="4164852" y="189525"/>
                  <a:pt x="4187850" y="184998"/>
                  <a:pt x="4215193" y="184998"/>
                </a:cubicBezTo>
                <a:close/>
                <a:moveTo>
                  <a:pt x="5322301" y="183369"/>
                </a:moveTo>
                <a:cubicBezTo>
                  <a:pt x="5337538" y="183080"/>
                  <a:pt x="5352718" y="185344"/>
                  <a:pt x="5367208" y="190068"/>
                </a:cubicBezTo>
                <a:cubicBezTo>
                  <a:pt x="5373727" y="193871"/>
                  <a:pt x="5362499" y="197312"/>
                  <a:pt x="5343848" y="197131"/>
                </a:cubicBezTo>
                <a:cubicBezTo>
                  <a:pt x="5328534" y="197460"/>
                  <a:pt x="5313278" y="195131"/>
                  <a:pt x="5298760" y="190249"/>
                </a:cubicBezTo>
                <a:cubicBezTo>
                  <a:pt x="5292604" y="186447"/>
                  <a:pt x="5304010" y="183189"/>
                  <a:pt x="5322301" y="183369"/>
                </a:cubicBezTo>
                <a:close/>
                <a:moveTo>
                  <a:pt x="4094234" y="183369"/>
                </a:moveTo>
                <a:cubicBezTo>
                  <a:pt x="4122301" y="183550"/>
                  <a:pt x="4145116" y="188257"/>
                  <a:pt x="4145840" y="193690"/>
                </a:cubicBezTo>
                <a:cubicBezTo>
                  <a:pt x="4145840" y="199484"/>
                  <a:pt x="4121938" y="204554"/>
                  <a:pt x="4093146" y="204374"/>
                </a:cubicBezTo>
                <a:cubicBezTo>
                  <a:pt x="4064356" y="204191"/>
                  <a:pt x="4041359" y="199304"/>
                  <a:pt x="4041359" y="193690"/>
                </a:cubicBezTo>
                <a:cubicBezTo>
                  <a:pt x="4041359" y="188076"/>
                  <a:pt x="4066166" y="183187"/>
                  <a:pt x="4094234" y="183369"/>
                </a:cubicBezTo>
                <a:close/>
                <a:moveTo>
                  <a:pt x="2376548" y="183187"/>
                </a:moveTo>
                <a:cubicBezTo>
                  <a:pt x="2388501" y="183187"/>
                  <a:pt x="2393569" y="185179"/>
                  <a:pt x="2387955" y="187713"/>
                </a:cubicBezTo>
                <a:cubicBezTo>
                  <a:pt x="2377671" y="190690"/>
                  <a:pt x="2366989" y="192095"/>
                  <a:pt x="2356269" y="191879"/>
                </a:cubicBezTo>
                <a:cubicBezTo>
                  <a:pt x="2344135" y="191879"/>
                  <a:pt x="2339066" y="189886"/>
                  <a:pt x="2344861" y="187533"/>
                </a:cubicBezTo>
                <a:cubicBezTo>
                  <a:pt x="2355127" y="184388"/>
                  <a:pt x="2365829" y="182923"/>
                  <a:pt x="2376548" y="183187"/>
                </a:cubicBezTo>
                <a:close/>
                <a:moveTo>
                  <a:pt x="2252504" y="182282"/>
                </a:moveTo>
                <a:cubicBezTo>
                  <a:pt x="2262463" y="182282"/>
                  <a:pt x="2266627" y="183911"/>
                  <a:pt x="2261739" y="185903"/>
                </a:cubicBezTo>
                <a:cubicBezTo>
                  <a:pt x="2253084" y="188367"/>
                  <a:pt x="2244120" y="189527"/>
                  <a:pt x="2235122" y="189344"/>
                </a:cubicBezTo>
                <a:cubicBezTo>
                  <a:pt x="2226248" y="189344"/>
                  <a:pt x="2222625" y="187715"/>
                  <a:pt x="2226610" y="185903"/>
                </a:cubicBezTo>
                <a:cubicBezTo>
                  <a:pt x="2235012" y="183402"/>
                  <a:pt x="2243739" y="182179"/>
                  <a:pt x="2252504" y="182282"/>
                </a:cubicBezTo>
                <a:close/>
                <a:moveTo>
                  <a:pt x="5196634" y="181376"/>
                </a:moveTo>
                <a:cubicBezTo>
                  <a:pt x="5212466" y="180512"/>
                  <a:pt x="5228308" y="182915"/>
                  <a:pt x="5243171" y="188438"/>
                </a:cubicBezTo>
                <a:cubicBezTo>
                  <a:pt x="5249870" y="192604"/>
                  <a:pt x="5239911" y="195681"/>
                  <a:pt x="5219268" y="195681"/>
                </a:cubicBezTo>
                <a:cubicBezTo>
                  <a:pt x="5202864" y="196729"/>
                  <a:pt x="5186429" y="194195"/>
                  <a:pt x="5171101" y="188258"/>
                </a:cubicBezTo>
                <a:cubicBezTo>
                  <a:pt x="5165306" y="184092"/>
                  <a:pt x="5175990" y="181195"/>
                  <a:pt x="5196634" y="181376"/>
                </a:cubicBezTo>
                <a:close/>
                <a:moveTo>
                  <a:pt x="2136784" y="181376"/>
                </a:moveTo>
                <a:cubicBezTo>
                  <a:pt x="2144388" y="181376"/>
                  <a:pt x="2146741" y="182644"/>
                  <a:pt x="2141854" y="184273"/>
                </a:cubicBezTo>
                <a:cubicBezTo>
                  <a:pt x="2135951" y="185847"/>
                  <a:pt x="2129866" y="186638"/>
                  <a:pt x="2123746" y="186628"/>
                </a:cubicBezTo>
                <a:cubicBezTo>
                  <a:pt x="2115779" y="186628"/>
                  <a:pt x="2112882" y="185541"/>
                  <a:pt x="2117045" y="183912"/>
                </a:cubicBezTo>
                <a:cubicBezTo>
                  <a:pt x="2123455" y="182087"/>
                  <a:pt x="2130120" y="181231"/>
                  <a:pt x="2136784" y="181376"/>
                </a:cubicBezTo>
                <a:close/>
                <a:moveTo>
                  <a:pt x="3969289" y="180833"/>
                </a:moveTo>
                <a:cubicBezTo>
                  <a:pt x="3995184" y="181196"/>
                  <a:pt x="4019810" y="186084"/>
                  <a:pt x="4018542" y="191337"/>
                </a:cubicBezTo>
                <a:cubicBezTo>
                  <a:pt x="4017094" y="196948"/>
                  <a:pt x="3991743" y="201657"/>
                  <a:pt x="3964219" y="201477"/>
                </a:cubicBezTo>
                <a:cubicBezTo>
                  <a:pt x="3936695" y="201294"/>
                  <a:pt x="3912069" y="196043"/>
                  <a:pt x="3914966" y="190430"/>
                </a:cubicBezTo>
                <a:cubicBezTo>
                  <a:pt x="3917863" y="184818"/>
                  <a:pt x="3943395" y="180472"/>
                  <a:pt x="3969289" y="180833"/>
                </a:cubicBezTo>
                <a:close/>
                <a:moveTo>
                  <a:pt x="3848329" y="179204"/>
                </a:moveTo>
                <a:cubicBezTo>
                  <a:pt x="3874765" y="179204"/>
                  <a:pt x="3897582" y="184094"/>
                  <a:pt x="3895770" y="189525"/>
                </a:cubicBezTo>
                <a:cubicBezTo>
                  <a:pt x="3893960" y="194959"/>
                  <a:pt x="3867703" y="199848"/>
                  <a:pt x="3840542" y="199666"/>
                </a:cubicBezTo>
                <a:cubicBezTo>
                  <a:pt x="3813380" y="199485"/>
                  <a:pt x="3790745" y="194234"/>
                  <a:pt x="3794006" y="188801"/>
                </a:cubicBezTo>
                <a:cubicBezTo>
                  <a:pt x="3797264" y="183370"/>
                  <a:pt x="3821891" y="179204"/>
                  <a:pt x="3848329" y="179204"/>
                </a:cubicBezTo>
                <a:close/>
                <a:moveTo>
                  <a:pt x="5068251" y="178117"/>
                </a:moveTo>
                <a:cubicBezTo>
                  <a:pt x="5084845" y="177400"/>
                  <a:pt x="5101415" y="180050"/>
                  <a:pt x="5116960" y="185903"/>
                </a:cubicBezTo>
                <a:cubicBezTo>
                  <a:pt x="5123116" y="190249"/>
                  <a:pt x="5109173" y="193871"/>
                  <a:pt x="5087083" y="193690"/>
                </a:cubicBezTo>
                <a:cubicBezTo>
                  <a:pt x="5070629" y="194422"/>
                  <a:pt x="5054211" y="191645"/>
                  <a:pt x="5038915" y="185542"/>
                </a:cubicBezTo>
                <a:cubicBezTo>
                  <a:pt x="5034208" y="181377"/>
                  <a:pt x="5047607" y="178117"/>
                  <a:pt x="5068251" y="178117"/>
                </a:cubicBezTo>
                <a:close/>
                <a:moveTo>
                  <a:pt x="3726827" y="177031"/>
                </a:moveTo>
                <a:cubicBezTo>
                  <a:pt x="3753807" y="176851"/>
                  <a:pt x="3774269" y="181377"/>
                  <a:pt x="3772459" y="186628"/>
                </a:cubicBezTo>
                <a:cubicBezTo>
                  <a:pt x="3770828" y="192242"/>
                  <a:pt x="3748374" y="196587"/>
                  <a:pt x="3719765" y="196587"/>
                </a:cubicBezTo>
                <a:cubicBezTo>
                  <a:pt x="3691154" y="196587"/>
                  <a:pt x="3672141" y="192242"/>
                  <a:pt x="3675219" y="186628"/>
                </a:cubicBezTo>
                <a:cubicBezTo>
                  <a:pt x="3678299" y="181014"/>
                  <a:pt x="3699846" y="177212"/>
                  <a:pt x="3726827" y="177031"/>
                </a:cubicBezTo>
                <a:close/>
                <a:moveTo>
                  <a:pt x="4945660" y="176126"/>
                </a:moveTo>
                <a:cubicBezTo>
                  <a:pt x="4962389" y="175096"/>
                  <a:pt x="4979143" y="177753"/>
                  <a:pt x="4994732" y="183913"/>
                </a:cubicBezTo>
                <a:cubicBezTo>
                  <a:pt x="5001070" y="188800"/>
                  <a:pt x="4988575" y="192241"/>
                  <a:pt x="4964672" y="192241"/>
                </a:cubicBezTo>
                <a:cubicBezTo>
                  <a:pt x="4947363" y="193616"/>
                  <a:pt x="4929980" y="190821"/>
                  <a:pt x="4913971" y="184093"/>
                </a:cubicBezTo>
                <a:cubicBezTo>
                  <a:pt x="4908720" y="179384"/>
                  <a:pt x="4921938" y="176126"/>
                  <a:pt x="4945660" y="176126"/>
                </a:cubicBezTo>
                <a:close/>
                <a:moveTo>
                  <a:pt x="3608765" y="175582"/>
                </a:moveTo>
                <a:cubicBezTo>
                  <a:pt x="3634840" y="175582"/>
                  <a:pt x="3653853" y="179928"/>
                  <a:pt x="3650775" y="184999"/>
                </a:cubicBezTo>
                <a:cubicBezTo>
                  <a:pt x="3647695" y="190432"/>
                  <a:pt x="3623069" y="194595"/>
                  <a:pt x="3596451" y="194595"/>
                </a:cubicBezTo>
                <a:cubicBezTo>
                  <a:pt x="3569832" y="194595"/>
                  <a:pt x="3552449" y="190250"/>
                  <a:pt x="3555527" y="184999"/>
                </a:cubicBezTo>
                <a:cubicBezTo>
                  <a:pt x="3558605" y="179748"/>
                  <a:pt x="3582689" y="175582"/>
                  <a:pt x="3608765" y="175582"/>
                </a:cubicBezTo>
                <a:close/>
                <a:moveTo>
                  <a:pt x="5919133" y="174495"/>
                </a:moveTo>
                <a:cubicBezTo>
                  <a:pt x="5925805" y="174488"/>
                  <a:pt x="5932447" y="175400"/>
                  <a:pt x="5938869" y="177212"/>
                </a:cubicBezTo>
                <a:cubicBezTo>
                  <a:pt x="5942491" y="179022"/>
                  <a:pt x="5939413" y="180109"/>
                  <a:pt x="5931265" y="179928"/>
                </a:cubicBezTo>
                <a:cubicBezTo>
                  <a:pt x="5924535" y="180082"/>
                  <a:pt x="5917821" y="179229"/>
                  <a:pt x="5911346" y="177392"/>
                </a:cubicBezTo>
                <a:cubicBezTo>
                  <a:pt x="5907000" y="175583"/>
                  <a:pt x="5910080" y="174495"/>
                  <a:pt x="5919133" y="174495"/>
                </a:cubicBezTo>
                <a:close/>
                <a:moveTo>
                  <a:pt x="3490883" y="173410"/>
                </a:moveTo>
                <a:cubicBezTo>
                  <a:pt x="3514966" y="173410"/>
                  <a:pt x="3532713" y="177575"/>
                  <a:pt x="3529633" y="182282"/>
                </a:cubicBezTo>
                <a:cubicBezTo>
                  <a:pt x="3513367" y="189900"/>
                  <a:pt x="3495377" y="193088"/>
                  <a:pt x="3477483" y="191518"/>
                </a:cubicBezTo>
                <a:cubicBezTo>
                  <a:pt x="3452132" y="191518"/>
                  <a:pt x="3433299" y="187172"/>
                  <a:pt x="3438008" y="182102"/>
                </a:cubicBezTo>
                <a:cubicBezTo>
                  <a:pt x="3454717" y="175134"/>
                  <a:pt x="3472823" y="172157"/>
                  <a:pt x="3490883" y="173410"/>
                </a:cubicBezTo>
                <a:close/>
                <a:moveTo>
                  <a:pt x="4822344" y="173048"/>
                </a:moveTo>
                <a:cubicBezTo>
                  <a:pt x="4839845" y="172039"/>
                  <a:pt x="4857354" y="174945"/>
                  <a:pt x="4873589" y="181557"/>
                </a:cubicBezTo>
                <a:cubicBezTo>
                  <a:pt x="4878660" y="186266"/>
                  <a:pt x="4862001" y="190431"/>
                  <a:pt x="4837374" y="190068"/>
                </a:cubicBezTo>
                <a:cubicBezTo>
                  <a:pt x="4820200" y="191241"/>
                  <a:pt x="4802995" y="188260"/>
                  <a:pt x="4787216" y="181377"/>
                </a:cubicBezTo>
                <a:cubicBezTo>
                  <a:pt x="4783595" y="176670"/>
                  <a:pt x="4799530" y="173048"/>
                  <a:pt x="4822344" y="173048"/>
                </a:cubicBezTo>
                <a:close/>
                <a:moveTo>
                  <a:pt x="3372637" y="172142"/>
                </a:moveTo>
                <a:cubicBezTo>
                  <a:pt x="3396903" y="172142"/>
                  <a:pt x="3411931" y="175944"/>
                  <a:pt x="3407585" y="180834"/>
                </a:cubicBezTo>
                <a:cubicBezTo>
                  <a:pt x="3391317" y="187991"/>
                  <a:pt x="3373500" y="190919"/>
                  <a:pt x="3355797" y="189343"/>
                </a:cubicBezTo>
                <a:cubicBezTo>
                  <a:pt x="3330990" y="189343"/>
                  <a:pt x="3316141" y="185541"/>
                  <a:pt x="3321030" y="180471"/>
                </a:cubicBezTo>
                <a:cubicBezTo>
                  <a:pt x="3337324" y="173633"/>
                  <a:pt x="3355016" y="170777"/>
                  <a:pt x="3372637" y="172142"/>
                </a:cubicBezTo>
                <a:close/>
                <a:moveTo>
                  <a:pt x="5790747" y="171237"/>
                </a:moveTo>
                <a:cubicBezTo>
                  <a:pt x="5799264" y="171096"/>
                  <a:pt x="5807750" y="172256"/>
                  <a:pt x="5815918" y="174678"/>
                </a:cubicBezTo>
                <a:cubicBezTo>
                  <a:pt x="5821351" y="177031"/>
                  <a:pt x="5817186" y="178300"/>
                  <a:pt x="5805416" y="178300"/>
                </a:cubicBezTo>
                <a:cubicBezTo>
                  <a:pt x="5796882" y="178505"/>
                  <a:pt x="5788375" y="177282"/>
                  <a:pt x="5780245" y="174678"/>
                </a:cubicBezTo>
                <a:cubicBezTo>
                  <a:pt x="5774995" y="172505"/>
                  <a:pt x="5779158" y="171237"/>
                  <a:pt x="5790747" y="171237"/>
                </a:cubicBezTo>
                <a:close/>
                <a:moveTo>
                  <a:pt x="4699937" y="171237"/>
                </a:moveTo>
                <a:cubicBezTo>
                  <a:pt x="4717705" y="169524"/>
                  <a:pt x="4735613" y="172457"/>
                  <a:pt x="4751907" y="179748"/>
                </a:cubicBezTo>
                <a:cubicBezTo>
                  <a:pt x="4757158" y="184818"/>
                  <a:pt x="4741586" y="188620"/>
                  <a:pt x="4715691" y="188620"/>
                </a:cubicBezTo>
                <a:cubicBezTo>
                  <a:pt x="4697907" y="190293"/>
                  <a:pt x="4679995" y="187297"/>
                  <a:pt x="4663721" y="179928"/>
                </a:cubicBezTo>
                <a:cubicBezTo>
                  <a:pt x="4659195" y="174858"/>
                  <a:pt x="4674769" y="171237"/>
                  <a:pt x="4699937" y="171237"/>
                </a:cubicBezTo>
                <a:close/>
                <a:moveTo>
                  <a:pt x="3251316" y="170150"/>
                </a:moveTo>
                <a:cubicBezTo>
                  <a:pt x="3272502" y="170150"/>
                  <a:pt x="3287532" y="173771"/>
                  <a:pt x="3283549" y="177936"/>
                </a:cubicBezTo>
                <a:cubicBezTo>
                  <a:pt x="3268002" y="184499"/>
                  <a:pt x="3251137" y="187353"/>
                  <a:pt x="3234296" y="186265"/>
                </a:cubicBezTo>
                <a:cubicBezTo>
                  <a:pt x="3212203" y="186265"/>
                  <a:pt x="3196632" y="182824"/>
                  <a:pt x="3200434" y="178478"/>
                </a:cubicBezTo>
                <a:cubicBezTo>
                  <a:pt x="3216481" y="171659"/>
                  <a:pt x="3233933" y="168802"/>
                  <a:pt x="3251316" y="170150"/>
                </a:cubicBezTo>
                <a:close/>
                <a:moveTo>
                  <a:pt x="5667073" y="168883"/>
                </a:moveTo>
                <a:cubicBezTo>
                  <a:pt x="5677145" y="168668"/>
                  <a:pt x="5687183" y="170138"/>
                  <a:pt x="5696770" y="173229"/>
                </a:cubicBezTo>
                <a:cubicBezTo>
                  <a:pt x="5702022" y="175944"/>
                  <a:pt x="5695321" y="177575"/>
                  <a:pt x="5681198" y="177392"/>
                </a:cubicBezTo>
                <a:cubicBezTo>
                  <a:pt x="5671280" y="177531"/>
                  <a:pt x="5661415" y="175938"/>
                  <a:pt x="5652045" y="172685"/>
                </a:cubicBezTo>
                <a:cubicBezTo>
                  <a:pt x="5648060" y="170332"/>
                  <a:pt x="5654218" y="168701"/>
                  <a:pt x="5667073" y="168883"/>
                </a:cubicBezTo>
                <a:close/>
                <a:moveTo>
                  <a:pt x="3134339" y="168883"/>
                </a:moveTo>
                <a:cubicBezTo>
                  <a:pt x="3154802" y="169064"/>
                  <a:pt x="3167296" y="172322"/>
                  <a:pt x="3162587" y="176488"/>
                </a:cubicBezTo>
                <a:cubicBezTo>
                  <a:pt x="3146917" y="182571"/>
                  <a:pt x="3130109" y="185166"/>
                  <a:pt x="3113334" y="184094"/>
                </a:cubicBezTo>
                <a:cubicBezTo>
                  <a:pt x="3092512" y="184094"/>
                  <a:pt x="3080016" y="180472"/>
                  <a:pt x="3085449" y="176488"/>
                </a:cubicBezTo>
                <a:cubicBezTo>
                  <a:pt x="3101010" y="170469"/>
                  <a:pt x="3117686" y="167874"/>
                  <a:pt x="3134339" y="168883"/>
                </a:cubicBezTo>
                <a:close/>
                <a:moveTo>
                  <a:pt x="4580607" y="168340"/>
                </a:moveTo>
                <a:cubicBezTo>
                  <a:pt x="4598118" y="167049"/>
                  <a:pt x="4615673" y="170161"/>
                  <a:pt x="4631672" y="177393"/>
                </a:cubicBezTo>
                <a:cubicBezTo>
                  <a:pt x="4635294" y="182102"/>
                  <a:pt x="4617367" y="186267"/>
                  <a:pt x="4593284" y="186448"/>
                </a:cubicBezTo>
                <a:cubicBezTo>
                  <a:pt x="4569199" y="186628"/>
                  <a:pt x="4542762" y="182102"/>
                  <a:pt x="4539865" y="177212"/>
                </a:cubicBezTo>
                <a:cubicBezTo>
                  <a:pt x="4536968" y="172322"/>
                  <a:pt x="4556524" y="168159"/>
                  <a:pt x="4580607" y="168340"/>
                </a:cubicBezTo>
                <a:close/>
                <a:moveTo>
                  <a:pt x="3016821" y="167796"/>
                </a:moveTo>
                <a:cubicBezTo>
                  <a:pt x="3037282" y="167796"/>
                  <a:pt x="3047785" y="171057"/>
                  <a:pt x="3041447" y="175040"/>
                </a:cubicBezTo>
                <a:cubicBezTo>
                  <a:pt x="3026813" y="180446"/>
                  <a:pt x="3011205" y="182730"/>
                  <a:pt x="2995635" y="181739"/>
                </a:cubicBezTo>
                <a:cubicBezTo>
                  <a:pt x="2974630" y="181739"/>
                  <a:pt x="2964307" y="178481"/>
                  <a:pt x="2971370" y="174315"/>
                </a:cubicBezTo>
                <a:cubicBezTo>
                  <a:pt x="2985953" y="169216"/>
                  <a:pt x="3001391" y="167002"/>
                  <a:pt x="3016821" y="167796"/>
                </a:cubicBezTo>
                <a:close/>
                <a:moveTo>
                  <a:pt x="4461459" y="166528"/>
                </a:moveTo>
                <a:cubicBezTo>
                  <a:pt x="4486991" y="166709"/>
                  <a:pt x="4509081" y="170874"/>
                  <a:pt x="4511617" y="175764"/>
                </a:cubicBezTo>
                <a:cubicBezTo>
                  <a:pt x="4514334" y="180834"/>
                  <a:pt x="4493510" y="185180"/>
                  <a:pt x="4467978" y="184817"/>
                </a:cubicBezTo>
                <a:cubicBezTo>
                  <a:pt x="4442445" y="184455"/>
                  <a:pt x="4419810" y="180290"/>
                  <a:pt x="4417818" y="175400"/>
                </a:cubicBezTo>
                <a:cubicBezTo>
                  <a:pt x="4415828" y="170513"/>
                  <a:pt x="4435926" y="166348"/>
                  <a:pt x="4461459" y="166528"/>
                </a:cubicBezTo>
                <a:close/>
                <a:moveTo>
                  <a:pt x="2900569" y="165804"/>
                </a:moveTo>
                <a:cubicBezTo>
                  <a:pt x="2918677" y="165804"/>
                  <a:pt x="2929541" y="169062"/>
                  <a:pt x="2923747" y="172503"/>
                </a:cubicBezTo>
                <a:cubicBezTo>
                  <a:pt x="2909730" y="177097"/>
                  <a:pt x="2895031" y="179239"/>
                  <a:pt x="2880289" y="178842"/>
                </a:cubicBezTo>
                <a:cubicBezTo>
                  <a:pt x="2862202" y="178842"/>
                  <a:pt x="2851155" y="175581"/>
                  <a:pt x="2857493" y="171960"/>
                </a:cubicBezTo>
                <a:cubicBezTo>
                  <a:pt x="2871408" y="167490"/>
                  <a:pt x="2885959" y="165409"/>
                  <a:pt x="2900569" y="165804"/>
                </a:cubicBezTo>
                <a:close/>
                <a:moveTo>
                  <a:pt x="5538326" y="165625"/>
                </a:moveTo>
                <a:cubicBezTo>
                  <a:pt x="5550763" y="165264"/>
                  <a:pt x="5563177" y="166916"/>
                  <a:pt x="5575086" y="170513"/>
                </a:cubicBezTo>
                <a:cubicBezTo>
                  <a:pt x="5580880" y="173229"/>
                  <a:pt x="5573818" y="175583"/>
                  <a:pt x="5559875" y="175583"/>
                </a:cubicBezTo>
                <a:cubicBezTo>
                  <a:pt x="5547594" y="175878"/>
                  <a:pt x="5535351" y="174100"/>
                  <a:pt x="5523659" y="170332"/>
                </a:cubicBezTo>
                <a:cubicBezTo>
                  <a:pt x="5519133" y="167978"/>
                  <a:pt x="5526013" y="165805"/>
                  <a:pt x="5538326" y="165625"/>
                </a:cubicBezTo>
                <a:close/>
                <a:moveTo>
                  <a:pt x="4336333" y="164718"/>
                </a:moveTo>
                <a:cubicBezTo>
                  <a:pt x="4361865" y="164718"/>
                  <a:pt x="4384682" y="168884"/>
                  <a:pt x="4387035" y="173954"/>
                </a:cubicBezTo>
                <a:cubicBezTo>
                  <a:pt x="4389389" y="179024"/>
                  <a:pt x="4370195" y="183187"/>
                  <a:pt x="4343396" y="183187"/>
                </a:cubicBezTo>
                <a:cubicBezTo>
                  <a:pt x="4316777" y="183187"/>
                  <a:pt x="4294504" y="179024"/>
                  <a:pt x="4292694" y="173773"/>
                </a:cubicBezTo>
                <a:cubicBezTo>
                  <a:pt x="4290882" y="168521"/>
                  <a:pt x="4310802" y="164718"/>
                  <a:pt x="4336333" y="164718"/>
                </a:cubicBezTo>
                <a:close/>
                <a:moveTo>
                  <a:pt x="2784155" y="164716"/>
                </a:moveTo>
                <a:cubicBezTo>
                  <a:pt x="2802263" y="164716"/>
                  <a:pt x="2810049" y="167433"/>
                  <a:pt x="2803711" y="170874"/>
                </a:cubicBezTo>
                <a:cubicBezTo>
                  <a:pt x="2790875" y="175075"/>
                  <a:pt x="2777384" y="176976"/>
                  <a:pt x="2763876" y="176487"/>
                </a:cubicBezTo>
                <a:cubicBezTo>
                  <a:pt x="2745769" y="176487"/>
                  <a:pt x="2737980" y="173771"/>
                  <a:pt x="2744501" y="170330"/>
                </a:cubicBezTo>
                <a:cubicBezTo>
                  <a:pt x="2757283" y="166096"/>
                  <a:pt x="2770701" y="164195"/>
                  <a:pt x="2784155" y="164716"/>
                </a:cubicBezTo>
                <a:close/>
                <a:moveTo>
                  <a:pt x="5413022" y="163450"/>
                </a:moveTo>
                <a:cubicBezTo>
                  <a:pt x="5426196" y="163087"/>
                  <a:pt x="5439344" y="164861"/>
                  <a:pt x="5451951" y="168703"/>
                </a:cubicBezTo>
                <a:cubicBezTo>
                  <a:pt x="5458109" y="171600"/>
                  <a:pt x="5450322" y="174314"/>
                  <a:pt x="5435656" y="174497"/>
                </a:cubicBezTo>
                <a:cubicBezTo>
                  <a:pt x="5421854" y="174951"/>
                  <a:pt x="5408077" y="173052"/>
                  <a:pt x="5394914" y="168883"/>
                </a:cubicBezTo>
                <a:cubicBezTo>
                  <a:pt x="5389661" y="165986"/>
                  <a:pt x="5398172" y="163450"/>
                  <a:pt x="5413022" y="163450"/>
                </a:cubicBezTo>
                <a:close/>
                <a:moveTo>
                  <a:pt x="2664645" y="163269"/>
                </a:moveTo>
                <a:cubicBezTo>
                  <a:pt x="2680035" y="163269"/>
                  <a:pt x="2687277" y="165081"/>
                  <a:pt x="2681664" y="168159"/>
                </a:cubicBezTo>
                <a:cubicBezTo>
                  <a:pt x="2669985" y="171957"/>
                  <a:pt x="2657725" y="173674"/>
                  <a:pt x="2645452" y="173229"/>
                </a:cubicBezTo>
                <a:cubicBezTo>
                  <a:pt x="2630420" y="173229"/>
                  <a:pt x="2623901" y="170875"/>
                  <a:pt x="2630241" y="167796"/>
                </a:cubicBezTo>
                <a:cubicBezTo>
                  <a:pt x="2641375" y="164397"/>
                  <a:pt x="2653001" y="162868"/>
                  <a:pt x="2664645" y="163269"/>
                </a:cubicBezTo>
                <a:close/>
                <a:moveTo>
                  <a:pt x="4218813" y="162365"/>
                </a:moveTo>
                <a:cubicBezTo>
                  <a:pt x="4245071" y="162546"/>
                  <a:pt x="4265351" y="166348"/>
                  <a:pt x="4266800" y="171599"/>
                </a:cubicBezTo>
                <a:cubicBezTo>
                  <a:pt x="4268066" y="176669"/>
                  <a:pt x="4248692" y="180834"/>
                  <a:pt x="4221710" y="180654"/>
                </a:cubicBezTo>
                <a:cubicBezTo>
                  <a:pt x="4194730" y="180473"/>
                  <a:pt x="4172640" y="176488"/>
                  <a:pt x="4172457" y="171057"/>
                </a:cubicBezTo>
                <a:cubicBezTo>
                  <a:pt x="4172276" y="165624"/>
                  <a:pt x="4192557" y="162183"/>
                  <a:pt x="4218813" y="162365"/>
                </a:cubicBezTo>
                <a:close/>
                <a:moveTo>
                  <a:pt x="2549480" y="162001"/>
                </a:moveTo>
                <a:cubicBezTo>
                  <a:pt x="2561067" y="162001"/>
                  <a:pt x="2567590" y="163994"/>
                  <a:pt x="2564324" y="166167"/>
                </a:cubicBezTo>
                <a:cubicBezTo>
                  <a:pt x="2553592" y="169695"/>
                  <a:pt x="2542309" y="171351"/>
                  <a:pt x="2531010" y="171056"/>
                </a:cubicBezTo>
                <a:cubicBezTo>
                  <a:pt x="2519240" y="171056"/>
                  <a:pt x="2512900" y="169064"/>
                  <a:pt x="2516161" y="166710"/>
                </a:cubicBezTo>
                <a:cubicBezTo>
                  <a:pt x="2526933" y="163364"/>
                  <a:pt x="2538199" y="161773"/>
                  <a:pt x="2549480" y="162001"/>
                </a:cubicBezTo>
                <a:close/>
                <a:moveTo>
                  <a:pt x="5290070" y="160735"/>
                </a:moveTo>
                <a:cubicBezTo>
                  <a:pt x="5303899" y="159975"/>
                  <a:pt x="5317744" y="161944"/>
                  <a:pt x="5330812" y="166530"/>
                </a:cubicBezTo>
                <a:cubicBezTo>
                  <a:pt x="5336968" y="169969"/>
                  <a:pt x="5328459" y="172324"/>
                  <a:pt x="5310351" y="172324"/>
                </a:cubicBezTo>
                <a:cubicBezTo>
                  <a:pt x="5296956" y="172946"/>
                  <a:pt x="5283565" y="171041"/>
                  <a:pt x="5270875" y="166710"/>
                </a:cubicBezTo>
                <a:cubicBezTo>
                  <a:pt x="5264356" y="163269"/>
                  <a:pt x="5272504" y="160735"/>
                  <a:pt x="5290070" y="160735"/>
                </a:cubicBezTo>
                <a:close/>
                <a:moveTo>
                  <a:pt x="4100933" y="160735"/>
                </a:moveTo>
                <a:cubicBezTo>
                  <a:pt x="4127188" y="160916"/>
                  <a:pt x="4147108" y="164718"/>
                  <a:pt x="4147469" y="169969"/>
                </a:cubicBezTo>
                <a:cubicBezTo>
                  <a:pt x="4147469" y="175039"/>
                  <a:pt x="4127913" y="179023"/>
                  <a:pt x="4100933" y="179023"/>
                </a:cubicBezTo>
                <a:cubicBezTo>
                  <a:pt x="4073953" y="179023"/>
                  <a:pt x="4052404" y="174858"/>
                  <a:pt x="4053128" y="169427"/>
                </a:cubicBezTo>
                <a:cubicBezTo>
                  <a:pt x="4053852" y="163993"/>
                  <a:pt x="4074677" y="160553"/>
                  <a:pt x="4100933" y="160735"/>
                </a:cubicBezTo>
                <a:close/>
                <a:moveTo>
                  <a:pt x="2434494" y="160191"/>
                </a:moveTo>
                <a:cubicBezTo>
                  <a:pt x="2444450" y="160191"/>
                  <a:pt x="2451152" y="161821"/>
                  <a:pt x="2447528" y="163813"/>
                </a:cubicBezTo>
                <a:cubicBezTo>
                  <a:pt x="2438387" y="166598"/>
                  <a:pt x="2428843" y="167944"/>
                  <a:pt x="2419283" y="167796"/>
                </a:cubicBezTo>
                <a:cubicBezTo>
                  <a:pt x="2408958" y="167796"/>
                  <a:pt x="2403166" y="165986"/>
                  <a:pt x="2407693" y="163994"/>
                </a:cubicBezTo>
                <a:cubicBezTo>
                  <a:pt x="2416422" y="161517"/>
                  <a:pt x="2425423" y="160239"/>
                  <a:pt x="2434494" y="160191"/>
                </a:cubicBezTo>
                <a:close/>
                <a:moveTo>
                  <a:pt x="2321310" y="159284"/>
                </a:moveTo>
                <a:cubicBezTo>
                  <a:pt x="2328010" y="159284"/>
                  <a:pt x="2331993" y="160913"/>
                  <a:pt x="2329276" y="162181"/>
                </a:cubicBezTo>
                <a:cubicBezTo>
                  <a:pt x="2321817" y="164413"/>
                  <a:pt x="2314068" y="165510"/>
                  <a:pt x="2306279" y="165441"/>
                </a:cubicBezTo>
                <a:cubicBezTo>
                  <a:pt x="2298312" y="165441"/>
                  <a:pt x="2293966" y="163810"/>
                  <a:pt x="2297769" y="162362"/>
                </a:cubicBezTo>
                <a:cubicBezTo>
                  <a:pt x="2305447" y="160296"/>
                  <a:pt x="2313360" y="159262"/>
                  <a:pt x="2321310" y="159284"/>
                </a:cubicBezTo>
                <a:close/>
                <a:moveTo>
                  <a:pt x="5168927" y="158380"/>
                </a:moveTo>
                <a:cubicBezTo>
                  <a:pt x="5183852" y="157884"/>
                  <a:pt x="5198749" y="160030"/>
                  <a:pt x="5212929" y="164718"/>
                </a:cubicBezTo>
                <a:cubicBezTo>
                  <a:pt x="5218723" y="168157"/>
                  <a:pt x="5207496" y="171417"/>
                  <a:pt x="5189569" y="171237"/>
                </a:cubicBezTo>
                <a:cubicBezTo>
                  <a:pt x="5174799" y="171864"/>
                  <a:pt x="5160047" y="169649"/>
                  <a:pt x="5146110" y="164718"/>
                </a:cubicBezTo>
                <a:cubicBezTo>
                  <a:pt x="5141584" y="161458"/>
                  <a:pt x="5152087" y="158560"/>
                  <a:pt x="5168927" y="158380"/>
                </a:cubicBezTo>
                <a:close/>
                <a:moveTo>
                  <a:pt x="3981964" y="158379"/>
                </a:moveTo>
                <a:cubicBezTo>
                  <a:pt x="4007858" y="158379"/>
                  <a:pt x="4028320" y="162182"/>
                  <a:pt x="4028502" y="167252"/>
                </a:cubicBezTo>
                <a:cubicBezTo>
                  <a:pt x="4028683" y="172322"/>
                  <a:pt x="4008039" y="176487"/>
                  <a:pt x="3981422" y="176487"/>
                </a:cubicBezTo>
                <a:cubicBezTo>
                  <a:pt x="3954803" y="176487"/>
                  <a:pt x="3934342" y="172503"/>
                  <a:pt x="3934884" y="167434"/>
                </a:cubicBezTo>
                <a:cubicBezTo>
                  <a:pt x="3935427" y="162364"/>
                  <a:pt x="3955889" y="158379"/>
                  <a:pt x="3981964" y="158379"/>
                </a:cubicBezTo>
                <a:close/>
                <a:moveTo>
                  <a:pt x="3866981" y="156750"/>
                </a:moveTo>
                <a:cubicBezTo>
                  <a:pt x="3892512" y="156750"/>
                  <a:pt x="3912069" y="160916"/>
                  <a:pt x="3910620" y="165805"/>
                </a:cubicBezTo>
                <a:cubicBezTo>
                  <a:pt x="3909171" y="170693"/>
                  <a:pt x="3887803" y="174677"/>
                  <a:pt x="3862452" y="174677"/>
                </a:cubicBezTo>
                <a:cubicBezTo>
                  <a:pt x="3837102" y="174677"/>
                  <a:pt x="3816279" y="170693"/>
                  <a:pt x="3817908" y="165623"/>
                </a:cubicBezTo>
                <a:cubicBezTo>
                  <a:pt x="3819538" y="160553"/>
                  <a:pt x="3840906" y="156750"/>
                  <a:pt x="3866981" y="156750"/>
                </a:cubicBezTo>
                <a:close/>
                <a:moveTo>
                  <a:pt x="5049599" y="155663"/>
                </a:moveTo>
                <a:cubicBezTo>
                  <a:pt x="5064397" y="155152"/>
                  <a:pt x="5079140" y="157743"/>
                  <a:pt x="5092877" y="163269"/>
                </a:cubicBezTo>
                <a:cubicBezTo>
                  <a:pt x="5098672" y="167435"/>
                  <a:pt x="5087083" y="170149"/>
                  <a:pt x="5065715" y="169969"/>
                </a:cubicBezTo>
                <a:cubicBezTo>
                  <a:pt x="5051190" y="170957"/>
                  <a:pt x="5036634" y="168604"/>
                  <a:pt x="5023161" y="163089"/>
                </a:cubicBezTo>
                <a:cubicBezTo>
                  <a:pt x="5018453" y="158380"/>
                  <a:pt x="5029679" y="155663"/>
                  <a:pt x="5049599" y="155663"/>
                </a:cubicBezTo>
                <a:close/>
                <a:moveTo>
                  <a:pt x="3749280" y="154576"/>
                </a:moveTo>
                <a:cubicBezTo>
                  <a:pt x="3773182" y="154395"/>
                  <a:pt x="3793282" y="158560"/>
                  <a:pt x="3791834" y="163267"/>
                </a:cubicBezTo>
                <a:cubicBezTo>
                  <a:pt x="3790205" y="167976"/>
                  <a:pt x="3766483" y="172141"/>
                  <a:pt x="3742219" y="172141"/>
                </a:cubicBezTo>
                <a:cubicBezTo>
                  <a:pt x="3717954" y="172141"/>
                  <a:pt x="3698034" y="167613"/>
                  <a:pt x="3700933" y="162906"/>
                </a:cubicBezTo>
                <a:cubicBezTo>
                  <a:pt x="3716062" y="156011"/>
                  <a:pt x="3732716" y="153142"/>
                  <a:pt x="3749280" y="154576"/>
                </a:cubicBezTo>
                <a:close/>
                <a:moveTo>
                  <a:pt x="4930269" y="153671"/>
                </a:moveTo>
                <a:cubicBezTo>
                  <a:pt x="4945880" y="152839"/>
                  <a:pt x="4961490" y="155306"/>
                  <a:pt x="4976081" y="160914"/>
                </a:cubicBezTo>
                <a:cubicBezTo>
                  <a:pt x="4980609" y="164716"/>
                  <a:pt x="4967209" y="168157"/>
                  <a:pt x="4946747" y="167976"/>
                </a:cubicBezTo>
                <a:cubicBezTo>
                  <a:pt x="4931113" y="168974"/>
                  <a:pt x="4915453" y="166435"/>
                  <a:pt x="4900935" y="160553"/>
                </a:cubicBezTo>
                <a:cubicBezTo>
                  <a:pt x="4896770" y="156749"/>
                  <a:pt x="4910351" y="153491"/>
                  <a:pt x="4930269" y="153671"/>
                </a:cubicBezTo>
                <a:close/>
                <a:moveTo>
                  <a:pt x="3630492" y="153310"/>
                </a:moveTo>
                <a:cubicBezTo>
                  <a:pt x="3654395" y="153310"/>
                  <a:pt x="3670510" y="156751"/>
                  <a:pt x="3668520" y="161458"/>
                </a:cubicBezTo>
                <a:cubicBezTo>
                  <a:pt x="3666527" y="166166"/>
                  <a:pt x="3646247" y="169968"/>
                  <a:pt x="3620896" y="169968"/>
                </a:cubicBezTo>
                <a:cubicBezTo>
                  <a:pt x="3595364" y="169968"/>
                  <a:pt x="3578885" y="166347"/>
                  <a:pt x="3582144" y="161458"/>
                </a:cubicBezTo>
                <a:cubicBezTo>
                  <a:pt x="3597185" y="154283"/>
                  <a:pt x="3613932" y="151462"/>
                  <a:pt x="3630492" y="153310"/>
                </a:cubicBezTo>
                <a:close/>
                <a:moveTo>
                  <a:pt x="4809672" y="151137"/>
                </a:moveTo>
                <a:cubicBezTo>
                  <a:pt x="4825565" y="149829"/>
                  <a:pt x="4841547" y="152183"/>
                  <a:pt x="4856389" y="158017"/>
                </a:cubicBezTo>
                <a:cubicBezTo>
                  <a:pt x="4862183" y="162544"/>
                  <a:pt x="4849509" y="165804"/>
                  <a:pt x="4826148" y="165804"/>
                </a:cubicBezTo>
                <a:cubicBezTo>
                  <a:pt x="4810438" y="167175"/>
                  <a:pt x="4794636" y="164624"/>
                  <a:pt x="4780156" y="158380"/>
                </a:cubicBezTo>
                <a:cubicBezTo>
                  <a:pt x="4775629" y="154215"/>
                  <a:pt x="4787942" y="151137"/>
                  <a:pt x="4809672" y="151137"/>
                </a:cubicBezTo>
                <a:close/>
                <a:moveTo>
                  <a:pt x="3515146" y="151137"/>
                </a:moveTo>
                <a:cubicBezTo>
                  <a:pt x="3538142" y="151137"/>
                  <a:pt x="3554440" y="154758"/>
                  <a:pt x="3551180" y="159285"/>
                </a:cubicBezTo>
                <a:cubicBezTo>
                  <a:pt x="3535967" y="166102"/>
                  <a:pt x="3519245" y="168847"/>
                  <a:pt x="3502651" y="167252"/>
                </a:cubicBezTo>
                <a:cubicBezTo>
                  <a:pt x="3479111" y="167252"/>
                  <a:pt x="3463538" y="163450"/>
                  <a:pt x="3467703" y="158922"/>
                </a:cubicBezTo>
                <a:cubicBezTo>
                  <a:pt x="3482651" y="152511"/>
                  <a:pt x="3498934" y="149840"/>
                  <a:pt x="3515146" y="151137"/>
                </a:cubicBezTo>
                <a:close/>
                <a:moveTo>
                  <a:pt x="3401430" y="149871"/>
                </a:moveTo>
                <a:cubicBezTo>
                  <a:pt x="3422252" y="149871"/>
                  <a:pt x="3437645" y="153673"/>
                  <a:pt x="3433841" y="157656"/>
                </a:cubicBezTo>
                <a:cubicBezTo>
                  <a:pt x="3418359" y="163956"/>
                  <a:pt x="3401618" y="166561"/>
                  <a:pt x="3384951" y="165262"/>
                </a:cubicBezTo>
                <a:cubicBezTo>
                  <a:pt x="3363402" y="165262"/>
                  <a:pt x="3348735" y="161278"/>
                  <a:pt x="3353805" y="157295"/>
                </a:cubicBezTo>
                <a:cubicBezTo>
                  <a:pt x="3368978" y="151489"/>
                  <a:pt x="3385208" y="148958"/>
                  <a:pt x="3401430" y="149871"/>
                </a:cubicBezTo>
                <a:close/>
                <a:moveTo>
                  <a:pt x="4689437" y="148964"/>
                </a:moveTo>
                <a:cubicBezTo>
                  <a:pt x="4705392" y="148093"/>
                  <a:pt x="4721344" y="150751"/>
                  <a:pt x="4736154" y="156751"/>
                </a:cubicBezTo>
                <a:cubicBezTo>
                  <a:pt x="4740138" y="160914"/>
                  <a:pt x="4723479" y="164718"/>
                  <a:pt x="4701387" y="164537"/>
                </a:cubicBezTo>
                <a:cubicBezTo>
                  <a:pt x="4685420" y="165651"/>
                  <a:pt x="4669412" y="162982"/>
                  <a:pt x="4654669" y="156751"/>
                </a:cubicBezTo>
                <a:cubicBezTo>
                  <a:pt x="4651048" y="152585"/>
                  <a:pt x="4667888" y="148964"/>
                  <a:pt x="4689437" y="148964"/>
                </a:cubicBezTo>
                <a:close/>
                <a:moveTo>
                  <a:pt x="5745478" y="148964"/>
                </a:moveTo>
                <a:cubicBezTo>
                  <a:pt x="5753130" y="148922"/>
                  <a:pt x="5760750" y="149958"/>
                  <a:pt x="5768113" y="152042"/>
                </a:cubicBezTo>
                <a:cubicBezTo>
                  <a:pt x="5771734" y="153673"/>
                  <a:pt x="5768113" y="154939"/>
                  <a:pt x="5759602" y="155122"/>
                </a:cubicBezTo>
                <a:cubicBezTo>
                  <a:pt x="5751387" y="155219"/>
                  <a:pt x="5743203" y="154057"/>
                  <a:pt x="5735338" y="151680"/>
                </a:cubicBezTo>
                <a:cubicBezTo>
                  <a:pt x="5732078" y="150232"/>
                  <a:pt x="5737511" y="148783"/>
                  <a:pt x="5745478" y="148964"/>
                </a:cubicBezTo>
                <a:close/>
                <a:moveTo>
                  <a:pt x="3287530" y="148059"/>
                </a:moveTo>
                <a:cubicBezTo>
                  <a:pt x="3308535" y="148059"/>
                  <a:pt x="3321936" y="151318"/>
                  <a:pt x="3317227" y="155302"/>
                </a:cubicBezTo>
                <a:cubicBezTo>
                  <a:pt x="3302921" y="161015"/>
                  <a:pt x="3287509" y="163430"/>
                  <a:pt x="3272139" y="162365"/>
                </a:cubicBezTo>
                <a:cubicBezTo>
                  <a:pt x="3250590" y="162365"/>
                  <a:pt x="3237372" y="159105"/>
                  <a:pt x="3242442" y="154939"/>
                </a:cubicBezTo>
                <a:cubicBezTo>
                  <a:pt x="3256816" y="149483"/>
                  <a:pt x="3272185" y="147137"/>
                  <a:pt x="3287530" y="148059"/>
                </a:cubicBezTo>
                <a:close/>
                <a:moveTo>
                  <a:pt x="3172547" y="146791"/>
                </a:moveTo>
                <a:cubicBezTo>
                  <a:pt x="3190655" y="146791"/>
                  <a:pt x="3204236" y="149869"/>
                  <a:pt x="3200434" y="153490"/>
                </a:cubicBezTo>
                <a:cubicBezTo>
                  <a:pt x="3186558" y="158918"/>
                  <a:pt x="3171667" y="161266"/>
                  <a:pt x="3156793" y="160372"/>
                </a:cubicBezTo>
                <a:cubicBezTo>
                  <a:pt x="3137600" y="160372"/>
                  <a:pt x="3124743" y="157292"/>
                  <a:pt x="3129089" y="153671"/>
                </a:cubicBezTo>
                <a:cubicBezTo>
                  <a:pt x="3142947" y="148407"/>
                  <a:pt x="3157743" y="146064"/>
                  <a:pt x="3172547" y="146791"/>
                </a:cubicBezTo>
                <a:close/>
                <a:moveTo>
                  <a:pt x="4571916" y="146608"/>
                </a:moveTo>
                <a:cubicBezTo>
                  <a:pt x="4587812" y="145395"/>
                  <a:pt x="4603768" y="148004"/>
                  <a:pt x="4618452" y="154215"/>
                </a:cubicBezTo>
                <a:cubicBezTo>
                  <a:pt x="4622617" y="158561"/>
                  <a:pt x="4606502" y="162363"/>
                  <a:pt x="4583143" y="162363"/>
                </a:cubicBezTo>
                <a:cubicBezTo>
                  <a:pt x="4566931" y="163660"/>
                  <a:pt x="4550648" y="160987"/>
                  <a:pt x="4535700" y="154576"/>
                </a:cubicBezTo>
                <a:cubicBezTo>
                  <a:pt x="4532259" y="150230"/>
                  <a:pt x="4548376" y="146608"/>
                  <a:pt x="4571916" y="146608"/>
                </a:cubicBezTo>
                <a:close/>
                <a:moveTo>
                  <a:pt x="5624338" y="146067"/>
                </a:moveTo>
                <a:cubicBezTo>
                  <a:pt x="5633096" y="146040"/>
                  <a:pt x="5641817" y="147261"/>
                  <a:pt x="5650233" y="149689"/>
                </a:cubicBezTo>
                <a:cubicBezTo>
                  <a:pt x="5654398" y="151500"/>
                  <a:pt x="5648421" y="153493"/>
                  <a:pt x="5638281" y="153310"/>
                </a:cubicBezTo>
                <a:cubicBezTo>
                  <a:pt x="5629011" y="153489"/>
                  <a:pt x="5619774" y="152141"/>
                  <a:pt x="5610939" y="149327"/>
                </a:cubicBezTo>
                <a:cubicBezTo>
                  <a:pt x="5607498" y="147515"/>
                  <a:pt x="5614378" y="145886"/>
                  <a:pt x="5624338" y="146067"/>
                </a:cubicBezTo>
                <a:close/>
                <a:moveTo>
                  <a:pt x="4455844" y="145162"/>
                </a:moveTo>
                <a:cubicBezTo>
                  <a:pt x="4471618" y="143508"/>
                  <a:pt x="4487541" y="146267"/>
                  <a:pt x="4501839" y="153130"/>
                </a:cubicBezTo>
                <a:cubicBezTo>
                  <a:pt x="4504736" y="157837"/>
                  <a:pt x="4488077" y="161458"/>
                  <a:pt x="4462726" y="161278"/>
                </a:cubicBezTo>
                <a:cubicBezTo>
                  <a:pt x="4437375" y="161097"/>
                  <a:pt x="4419629" y="157476"/>
                  <a:pt x="4417637" y="152947"/>
                </a:cubicBezTo>
                <a:cubicBezTo>
                  <a:pt x="4415646" y="148421"/>
                  <a:pt x="4432123" y="145162"/>
                  <a:pt x="4455844" y="145162"/>
                </a:cubicBezTo>
                <a:close/>
                <a:moveTo>
                  <a:pt x="3056839" y="145162"/>
                </a:moveTo>
                <a:cubicBezTo>
                  <a:pt x="3074947" y="145162"/>
                  <a:pt x="3085268" y="148059"/>
                  <a:pt x="3080379" y="151499"/>
                </a:cubicBezTo>
                <a:cubicBezTo>
                  <a:pt x="3066849" y="156276"/>
                  <a:pt x="3052518" y="158367"/>
                  <a:pt x="3038188" y="157656"/>
                </a:cubicBezTo>
                <a:cubicBezTo>
                  <a:pt x="3020080" y="157656"/>
                  <a:pt x="3009759" y="154759"/>
                  <a:pt x="3014829" y="151318"/>
                </a:cubicBezTo>
                <a:cubicBezTo>
                  <a:pt x="3028306" y="146586"/>
                  <a:pt x="3042570" y="144495"/>
                  <a:pt x="3056839" y="145162"/>
                </a:cubicBezTo>
                <a:close/>
                <a:moveTo>
                  <a:pt x="2943847" y="144074"/>
                </a:moveTo>
                <a:cubicBezTo>
                  <a:pt x="2961955" y="144074"/>
                  <a:pt x="2969379" y="146428"/>
                  <a:pt x="2964309" y="149688"/>
                </a:cubicBezTo>
                <a:cubicBezTo>
                  <a:pt x="2951830" y="154118"/>
                  <a:pt x="2938596" y="156026"/>
                  <a:pt x="2925376" y="155300"/>
                </a:cubicBezTo>
                <a:cubicBezTo>
                  <a:pt x="2907269" y="155300"/>
                  <a:pt x="2899664" y="152766"/>
                  <a:pt x="2905276" y="149506"/>
                </a:cubicBezTo>
                <a:cubicBezTo>
                  <a:pt x="2917654" y="145184"/>
                  <a:pt x="2930758" y="143339"/>
                  <a:pt x="2943847" y="144074"/>
                </a:cubicBezTo>
                <a:close/>
                <a:moveTo>
                  <a:pt x="5502654" y="144074"/>
                </a:moveTo>
                <a:cubicBezTo>
                  <a:pt x="5512885" y="143682"/>
                  <a:pt x="5523111" y="145030"/>
                  <a:pt x="5532892" y="148057"/>
                </a:cubicBezTo>
                <a:cubicBezTo>
                  <a:pt x="5537962" y="150593"/>
                  <a:pt x="5532892" y="152222"/>
                  <a:pt x="5519130" y="152222"/>
                </a:cubicBezTo>
                <a:cubicBezTo>
                  <a:pt x="5509049" y="152636"/>
                  <a:pt x="5498975" y="151163"/>
                  <a:pt x="5489433" y="147876"/>
                </a:cubicBezTo>
                <a:cubicBezTo>
                  <a:pt x="5485270" y="145523"/>
                  <a:pt x="5489433" y="144074"/>
                  <a:pt x="5502654" y="144074"/>
                </a:cubicBezTo>
                <a:close/>
                <a:moveTo>
                  <a:pt x="4339411" y="142445"/>
                </a:moveTo>
                <a:cubicBezTo>
                  <a:pt x="4364038" y="142445"/>
                  <a:pt x="4383231" y="145886"/>
                  <a:pt x="4385043" y="150593"/>
                </a:cubicBezTo>
                <a:cubicBezTo>
                  <a:pt x="4386853" y="155302"/>
                  <a:pt x="4370376" y="158560"/>
                  <a:pt x="4345930" y="158560"/>
                </a:cubicBezTo>
                <a:cubicBezTo>
                  <a:pt x="4321484" y="158560"/>
                  <a:pt x="4301565" y="154939"/>
                  <a:pt x="4300298" y="150232"/>
                </a:cubicBezTo>
                <a:cubicBezTo>
                  <a:pt x="4299030" y="145523"/>
                  <a:pt x="4315509" y="142445"/>
                  <a:pt x="4339411" y="142445"/>
                </a:cubicBezTo>
                <a:close/>
                <a:moveTo>
                  <a:pt x="2831780" y="142082"/>
                </a:moveTo>
                <a:cubicBezTo>
                  <a:pt x="2846267" y="142263"/>
                  <a:pt x="2854777" y="145160"/>
                  <a:pt x="2849888" y="147333"/>
                </a:cubicBezTo>
                <a:cubicBezTo>
                  <a:pt x="2838207" y="151158"/>
                  <a:pt x="2825958" y="152935"/>
                  <a:pt x="2813671" y="152586"/>
                </a:cubicBezTo>
                <a:cubicBezTo>
                  <a:pt x="2799006" y="152586"/>
                  <a:pt x="2790676" y="149869"/>
                  <a:pt x="2795566" y="147152"/>
                </a:cubicBezTo>
                <a:cubicBezTo>
                  <a:pt x="2807271" y="143466"/>
                  <a:pt x="2819510" y="141752"/>
                  <a:pt x="2831780" y="142082"/>
                </a:cubicBezTo>
                <a:close/>
                <a:moveTo>
                  <a:pt x="4223885" y="140816"/>
                </a:moveTo>
                <a:cubicBezTo>
                  <a:pt x="4247424" y="140636"/>
                  <a:pt x="4267524" y="145162"/>
                  <a:pt x="4269153" y="148784"/>
                </a:cubicBezTo>
                <a:cubicBezTo>
                  <a:pt x="4270602" y="153491"/>
                  <a:pt x="4253219" y="157112"/>
                  <a:pt x="4228231" y="156932"/>
                </a:cubicBezTo>
                <a:cubicBezTo>
                  <a:pt x="4203241" y="156751"/>
                  <a:pt x="4184409" y="153310"/>
                  <a:pt x="4183865" y="148603"/>
                </a:cubicBezTo>
                <a:cubicBezTo>
                  <a:pt x="4183324" y="143894"/>
                  <a:pt x="4200344" y="140997"/>
                  <a:pt x="4223885" y="140816"/>
                </a:cubicBezTo>
                <a:close/>
                <a:moveTo>
                  <a:pt x="5382962" y="140633"/>
                </a:moveTo>
                <a:cubicBezTo>
                  <a:pt x="5394302" y="140312"/>
                  <a:pt x="5405615" y="141840"/>
                  <a:pt x="5416461" y="145159"/>
                </a:cubicBezTo>
                <a:cubicBezTo>
                  <a:pt x="5421894" y="147876"/>
                  <a:pt x="5416461" y="149868"/>
                  <a:pt x="5402338" y="150049"/>
                </a:cubicBezTo>
                <a:cubicBezTo>
                  <a:pt x="5390430" y="150537"/>
                  <a:pt x="5378531" y="148883"/>
                  <a:pt x="5367208" y="145159"/>
                </a:cubicBezTo>
                <a:cubicBezTo>
                  <a:pt x="5362501" y="142625"/>
                  <a:pt x="5369381" y="140633"/>
                  <a:pt x="5382962" y="140633"/>
                </a:cubicBezTo>
                <a:close/>
                <a:moveTo>
                  <a:pt x="2719148" y="140453"/>
                </a:moveTo>
                <a:cubicBezTo>
                  <a:pt x="2732187" y="141177"/>
                  <a:pt x="2739248" y="143533"/>
                  <a:pt x="2734178" y="145162"/>
                </a:cubicBezTo>
                <a:cubicBezTo>
                  <a:pt x="2723151" y="148523"/>
                  <a:pt x="2711654" y="150051"/>
                  <a:pt x="2700136" y="149688"/>
                </a:cubicBezTo>
                <a:cubicBezTo>
                  <a:pt x="2687277" y="149688"/>
                  <a:pt x="2680942" y="147154"/>
                  <a:pt x="2686737" y="144618"/>
                </a:cubicBezTo>
                <a:cubicBezTo>
                  <a:pt x="2697276" y="141624"/>
                  <a:pt x="2708195" y="140219"/>
                  <a:pt x="2719148" y="140453"/>
                </a:cubicBezTo>
                <a:close/>
                <a:moveTo>
                  <a:pt x="5265261" y="139731"/>
                </a:moveTo>
                <a:cubicBezTo>
                  <a:pt x="5277528" y="139438"/>
                  <a:pt x="5289760" y="141151"/>
                  <a:pt x="5301476" y="144801"/>
                </a:cubicBezTo>
                <a:cubicBezTo>
                  <a:pt x="5307090" y="146791"/>
                  <a:pt x="5298759" y="149328"/>
                  <a:pt x="5284636" y="149508"/>
                </a:cubicBezTo>
                <a:cubicBezTo>
                  <a:pt x="5271992" y="149997"/>
                  <a:pt x="5259348" y="148531"/>
                  <a:pt x="5247153" y="145162"/>
                </a:cubicBezTo>
                <a:cubicBezTo>
                  <a:pt x="5241358" y="142446"/>
                  <a:pt x="5250411" y="139731"/>
                  <a:pt x="5265261" y="139731"/>
                </a:cubicBezTo>
                <a:close/>
                <a:moveTo>
                  <a:pt x="2607422" y="139548"/>
                </a:moveTo>
                <a:cubicBezTo>
                  <a:pt x="2618830" y="139548"/>
                  <a:pt x="2624624" y="141177"/>
                  <a:pt x="2620642" y="143350"/>
                </a:cubicBezTo>
                <a:cubicBezTo>
                  <a:pt x="2611533" y="146304"/>
                  <a:pt x="2601972" y="147652"/>
                  <a:pt x="2592394" y="147335"/>
                </a:cubicBezTo>
                <a:cubicBezTo>
                  <a:pt x="2580984" y="147335"/>
                  <a:pt x="2574286" y="145706"/>
                  <a:pt x="2579358" y="143533"/>
                </a:cubicBezTo>
                <a:cubicBezTo>
                  <a:pt x="2588409" y="140594"/>
                  <a:pt x="2597915" y="139244"/>
                  <a:pt x="2607422" y="139548"/>
                </a:cubicBezTo>
                <a:close/>
                <a:moveTo>
                  <a:pt x="2494783" y="139006"/>
                </a:moveTo>
                <a:cubicBezTo>
                  <a:pt x="2504563" y="139006"/>
                  <a:pt x="2509270" y="140092"/>
                  <a:pt x="2505648" y="141903"/>
                </a:cubicBezTo>
                <a:cubicBezTo>
                  <a:pt x="2498241" y="144362"/>
                  <a:pt x="2490457" y="145464"/>
                  <a:pt x="2482651" y="145162"/>
                </a:cubicBezTo>
                <a:cubicBezTo>
                  <a:pt x="2472694" y="145162"/>
                  <a:pt x="2468164" y="144076"/>
                  <a:pt x="2471787" y="142265"/>
                </a:cubicBezTo>
                <a:cubicBezTo>
                  <a:pt x="2479192" y="139822"/>
                  <a:pt x="2486979" y="138717"/>
                  <a:pt x="2494783" y="139006"/>
                </a:cubicBezTo>
                <a:close/>
                <a:moveTo>
                  <a:pt x="4110710" y="138643"/>
                </a:moveTo>
                <a:cubicBezTo>
                  <a:pt x="4134975" y="138824"/>
                  <a:pt x="4152178" y="141902"/>
                  <a:pt x="4153264" y="146430"/>
                </a:cubicBezTo>
                <a:cubicBezTo>
                  <a:pt x="4154351" y="150957"/>
                  <a:pt x="4136785" y="154578"/>
                  <a:pt x="4111797" y="154578"/>
                </a:cubicBezTo>
                <a:cubicBezTo>
                  <a:pt x="4086808" y="154578"/>
                  <a:pt x="4068339" y="151137"/>
                  <a:pt x="4068339" y="146430"/>
                </a:cubicBezTo>
                <a:cubicBezTo>
                  <a:pt x="4068339" y="141721"/>
                  <a:pt x="4086447" y="138462"/>
                  <a:pt x="4110710" y="138643"/>
                </a:cubicBezTo>
                <a:close/>
                <a:moveTo>
                  <a:pt x="2379068" y="137919"/>
                </a:moveTo>
                <a:cubicBezTo>
                  <a:pt x="2387035" y="137919"/>
                  <a:pt x="2389932" y="138824"/>
                  <a:pt x="2386674" y="140273"/>
                </a:cubicBezTo>
                <a:cubicBezTo>
                  <a:pt x="2380807" y="142075"/>
                  <a:pt x="2374704" y="142929"/>
                  <a:pt x="2368566" y="142807"/>
                </a:cubicBezTo>
                <a:cubicBezTo>
                  <a:pt x="2360779" y="142807"/>
                  <a:pt x="2357701" y="142807"/>
                  <a:pt x="2360959" y="140453"/>
                </a:cubicBezTo>
                <a:cubicBezTo>
                  <a:pt x="2366828" y="138683"/>
                  <a:pt x="2372928" y="137826"/>
                  <a:pt x="2379068" y="137919"/>
                </a:cubicBezTo>
                <a:close/>
                <a:moveTo>
                  <a:pt x="3991562" y="137194"/>
                </a:moveTo>
                <a:cubicBezTo>
                  <a:pt x="4016007" y="137194"/>
                  <a:pt x="4033752" y="140272"/>
                  <a:pt x="4033752" y="144981"/>
                </a:cubicBezTo>
                <a:cubicBezTo>
                  <a:pt x="4033752" y="149688"/>
                  <a:pt x="4015644" y="152948"/>
                  <a:pt x="3990657" y="152948"/>
                </a:cubicBezTo>
                <a:cubicBezTo>
                  <a:pt x="3965667" y="152948"/>
                  <a:pt x="3949371" y="149688"/>
                  <a:pt x="3949371" y="145162"/>
                </a:cubicBezTo>
                <a:cubicBezTo>
                  <a:pt x="3949371" y="140635"/>
                  <a:pt x="3967479" y="137194"/>
                  <a:pt x="3991562" y="137194"/>
                </a:cubicBezTo>
                <a:close/>
                <a:moveTo>
                  <a:pt x="5148649" y="136470"/>
                </a:moveTo>
                <a:cubicBezTo>
                  <a:pt x="5160956" y="135939"/>
                  <a:pt x="5173253" y="137783"/>
                  <a:pt x="5184864" y="141901"/>
                </a:cubicBezTo>
                <a:cubicBezTo>
                  <a:pt x="5190476" y="145162"/>
                  <a:pt x="5181785" y="147335"/>
                  <a:pt x="5164401" y="147335"/>
                </a:cubicBezTo>
                <a:cubicBezTo>
                  <a:pt x="5151533" y="148149"/>
                  <a:pt x="5138636" y="146236"/>
                  <a:pt x="5126557" y="141721"/>
                </a:cubicBezTo>
                <a:cubicBezTo>
                  <a:pt x="5122030" y="138643"/>
                  <a:pt x="5131266" y="136289"/>
                  <a:pt x="5148649" y="136470"/>
                </a:cubicBezTo>
                <a:close/>
                <a:moveTo>
                  <a:pt x="3878750" y="135021"/>
                </a:moveTo>
                <a:cubicBezTo>
                  <a:pt x="3902291" y="135021"/>
                  <a:pt x="3919130" y="138099"/>
                  <a:pt x="3918767" y="142445"/>
                </a:cubicBezTo>
                <a:cubicBezTo>
                  <a:pt x="3918767" y="146973"/>
                  <a:pt x="3900660" y="150412"/>
                  <a:pt x="3876940" y="150595"/>
                </a:cubicBezTo>
                <a:cubicBezTo>
                  <a:pt x="3853218" y="150775"/>
                  <a:pt x="3834386" y="147334"/>
                  <a:pt x="3835835" y="142627"/>
                </a:cubicBezTo>
                <a:cubicBezTo>
                  <a:pt x="3837284" y="137919"/>
                  <a:pt x="3855211" y="135021"/>
                  <a:pt x="3878750" y="135021"/>
                </a:cubicBezTo>
                <a:close/>
                <a:moveTo>
                  <a:pt x="5025877" y="134478"/>
                </a:moveTo>
                <a:cubicBezTo>
                  <a:pt x="5039726" y="133942"/>
                  <a:pt x="5053568" y="135778"/>
                  <a:pt x="5066799" y="139909"/>
                </a:cubicBezTo>
                <a:cubicBezTo>
                  <a:pt x="5072594" y="143169"/>
                  <a:pt x="5062092" y="146247"/>
                  <a:pt x="5044890" y="146428"/>
                </a:cubicBezTo>
                <a:cubicBezTo>
                  <a:pt x="5030738" y="147110"/>
                  <a:pt x="5016590" y="145019"/>
                  <a:pt x="5003241" y="140272"/>
                </a:cubicBezTo>
                <a:cubicBezTo>
                  <a:pt x="4999078" y="137375"/>
                  <a:pt x="5009760" y="134478"/>
                  <a:pt x="5025877" y="134478"/>
                </a:cubicBezTo>
                <a:close/>
                <a:moveTo>
                  <a:pt x="3766302" y="133572"/>
                </a:moveTo>
                <a:cubicBezTo>
                  <a:pt x="3789660" y="133572"/>
                  <a:pt x="3806139" y="137013"/>
                  <a:pt x="3804327" y="141359"/>
                </a:cubicBezTo>
                <a:cubicBezTo>
                  <a:pt x="3790050" y="148267"/>
                  <a:pt x="3774060" y="150847"/>
                  <a:pt x="3758334" y="148782"/>
                </a:cubicBezTo>
                <a:cubicBezTo>
                  <a:pt x="3735337" y="148782"/>
                  <a:pt x="3719221" y="145161"/>
                  <a:pt x="3722119" y="140815"/>
                </a:cubicBezTo>
                <a:cubicBezTo>
                  <a:pt x="3735943" y="134527"/>
                  <a:pt x="3751192" y="132027"/>
                  <a:pt x="3766302" y="133572"/>
                </a:cubicBezTo>
                <a:close/>
                <a:moveTo>
                  <a:pt x="4910892" y="132667"/>
                </a:moveTo>
                <a:cubicBezTo>
                  <a:pt x="4924979" y="131808"/>
                  <a:pt x="4939088" y="133842"/>
                  <a:pt x="4952358" y="138643"/>
                </a:cubicBezTo>
                <a:cubicBezTo>
                  <a:pt x="4957428" y="142264"/>
                  <a:pt x="4947107" y="144981"/>
                  <a:pt x="4927914" y="145162"/>
                </a:cubicBezTo>
                <a:cubicBezTo>
                  <a:pt x="4913749" y="146152"/>
                  <a:pt x="4899539" y="144052"/>
                  <a:pt x="4886265" y="139004"/>
                </a:cubicBezTo>
                <a:cubicBezTo>
                  <a:pt x="4881015" y="135382"/>
                  <a:pt x="4891879" y="132848"/>
                  <a:pt x="4910892" y="132667"/>
                </a:cubicBezTo>
                <a:close/>
                <a:moveTo>
                  <a:pt x="3654033" y="132124"/>
                </a:moveTo>
                <a:cubicBezTo>
                  <a:pt x="3675219" y="132124"/>
                  <a:pt x="3692422" y="135746"/>
                  <a:pt x="3690068" y="139728"/>
                </a:cubicBezTo>
                <a:cubicBezTo>
                  <a:pt x="3675867" y="146049"/>
                  <a:pt x="3660275" y="148606"/>
                  <a:pt x="3644798" y="147154"/>
                </a:cubicBezTo>
                <a:cubicBezTo>
                  <a:pt x="3623069" y="147154"/>
                  <a:pt x="3606592" y="143350"/>
                  <a:pt x="3610031" y="139367"/>
                </a:cubicBezTo>
                <a:cubicBezTo>
                  <a:pt x="3623905" y="133451"/>
                  <a:pt x="3638998" y="130964"/>
                  <a:pt x="3654033" y="132124"/>
                </a:cubicBezTo>
                <a:close/>
                <a:moveTo>
                  <a:pt x="3543577" y="130313"/>
                </a:moveTo>
                <a:cubicBezTo>
                  <a:pt x="3564762" y="130495"/>
                  <a:pt x="3577256" y="133392"/>
                  <a:pt x="3575264" y="137375"/>
                </a:cubicBezTo>
                <a:cubicBezTo>
                  <a:pt x="3561574" y="143685"/>
                  <a:pt x="3546421" y="146127"/>
                  <a:pt x="3531444" y="144437"/>
                </a:cubicBezTo>
                <a:cubicBezTo>
                  <a:pt x="3509896" y="144437"/>
                  <a:pt x="3496858" y="141360"/>
                  <a:pt x="3499936" y="137375"/>
                </a:cubicBezTo>
                <a:cubicBezTo>
                  <a:pt x="3513599" y="131193"/>
                  <a:pt x="3528661" y="128756"/>
                  <a:pt x="3543577" y="130313"/>
                </a:cubicBezTo>
                <a:close/>
                <a:moveTo>
                  <a:pt x="4796451" y="130132"/>
                </a:moveTo>
                <a:cubicBezTo>
                  <a:pt x="4810698" y="129305"/>
                  <a:pt x="4824960" y="131525"/>
                  <a:pt x="4838279" y="136650"/>
                </a:cubicBezTo>
                <a:cubicBezTo>
                  <a:pt x="4842264" y="140091"/>
                  <a:pt x="4827597" y="143350"/>
                  <a:pt x="4808402" y="143169"/>
                </a:cubicBezTo>
                <a:cubicBezTo>
                  <a:pt x="4794355" y="144019"/>
                  <a:pt x="4780300" y="141665"/>
                  <a:pt x="4767296" y="136287"/>
                </a:cubicBezTo>
                <a:cubicBezTo>
                  <a:pt x="4764582" y="133029"/>
                  <a:pt x="4778524" y="129951"/>
                  <a:pt x="4796451" y="130132"/>
                </a:cubicBezTo>
                <a:close/>
                <a:moveTo>
                  <a:pt x="3430585" y="129226"/>
                </a:moveTo>
                <a:cubicBezTo>
                  <a:pt x="3449778" y="129226"/>
                  <a:pt x="3462272" y="132665"/>
                  <a:pt x="3457926" y="136287"/>
                </a:cubicBezTo>
                <a:cubicBezTo>
                  <a:pt x="3444006" y="141524"/>
                  <a:pt x="3429121" y="143686"/>
                  <a:pt x="3414287" y="142625"/>
                </a:cubicBezTo>
                <a:cubicBezTo>
                  <a:pt x="3394731" y="142625"/>
                  <a:pt x="3381874" y="139184"/>
                  <a:pt x="3385858" y="135563"/>
                </a:cubicBezTo>
                <a:cubicBezTo>
                  <a:pt x="3400107" y="130139"/>
                  <a:pt x="3415390" y="127974"/>
                  <a:pt x="3430585" y="129226"/>
                </a:cubicBezTo>
                <a:close/>
                <a:moveTo>
                  <a:pt x="4681829" y="128322"/>
                </a:moveTo>
                <a:cubicBezTo>
                  <a:pt x="4696420" y="127126"/>
                  <a:pt x="4711085" y="129487"/>
                  <a:pt x="4724564" y="135202"/>
                </a:cubicBezTo>
                <a:cubicBezTo>
                  <a:pt x="4727642" y="138823"/>
                  <a:pt x="4714243" y="141903"/>
                  <a:pt x="4694323" y="141903"/>
                </a:cubicBezTo>
                <a:cubicBezTo>
                  <a:pt x="4679653" y="143154"/>
                  <a:pt x="4664904" y="140726"/>
                  <a:pt x="4651408" y="134841"/>
                </a:cubicBezTo>
                <a:cubicBezTo>
                  <a:pt x="4648692" y="131219"/>
                  <a:pt x="4662454" y="128322"/>
                  <a:pt x="4681829" y="128322"/>
                </a:cubicBezTo>
                <a:close/>
                <a:moveTo>
                  <a:pt x="5706005" y="128320"/>
                </a:moveTo>
                <a:cubicBezTo>
                  <a:pt x="5712296" y="128118"/>
                  <a:pt x="5718581" y="128852"/>
                  <a:pt x="5724654" y="130493"/>
                </a:cubicBezTo>
                <a:cubicBezTo>
                  <a:pt x="5728095" y="131942"/>
                  <a:pt x="5724654" y="132847"/>
                  <a:pt x="5717955" y="132847"/>
                </a:cubicBezTo>
                <a:cubicBezTo>
                  <a:pt x="5711830" y="133090"/>
                  <a:pt x="5705706" y="132293"/>
                  <a:pt x="5699847" y="130493"/>
                </a:cubicBezTo>
                <a:cubicBezTo>
                  <a:pt x="5697131" y="129225"/>
                  <a:pt x="5699847" y="128500"/>
                  <a:pt x="5706005" y="128320"/>
                </a:cubicBezTo>
                <a:close/>
                <a:moveTo>
                  <a:pt x="3317409" y="127234"/>
                </a:moveTo>
                <a:cubicBezTo>
                  <a:pt x="3335878" y="127054"/>
                  <a:pt x="3348374" y="130314"/>
                  <a:pt x="3344752" y="133753"/>
                </a:cubicBezTo>
                <a:cubicBezTo>
                  <a:pt x="3331416" y="138812"/>
                  <a:pt x="3317156" y="140972"/>
                  <a:pt x="3302923" y="140091"/>
                </a:cubicBezTo>
                <a:cubicBezTo>
                  <a:pt x="3284815" y="140091"/>
                  <a:pt x="3271777" y="136833"/>
                  <a:pt x="3275760" y="133392"/>
                </a:cubicBezTo>
                <a:cubicBezTo>
                  <a:pt x="3289071" y="128495"/>
                  <a:pt x="3303250" y="126398"/>
                  <a:pt x="3317409" y="127234"/>
                </a:cubicBezTo>
                <a:close/>
                <a:moveTo>
                  <a:pt x="3207133" y="127054"/>
                </a:moveTo>
                <a:cubicBezTo>
                  <a:pt x="3225241" y="127054"/>
                  <a:pt x="3235925" y="129951"/>
                  <a:pt x="3230855" y="133390"/>
                </a:cubicBezTo>
                <a:cubicBezTo>
                  <a:pt x="3217954" y="137575"/>
                  <a:pt x="3204356" y="139175"/>
                  <a:pt x="3190835" y="138099"/>
                </a:cubicBezTo>
                <a:cubicBezTo>
                  <a:pt x="3172727" y="138099"/>
                  <a:pt x="3162769" y="135383"/>
                  <a:pt x="3166752" y="132124"/>
                </a:cubicBezTo>
                <a:cubicBezTo>
                  <a:pt x="3179708" y="127621"/>
                  <a:pt x="3193466" y="125893"/>
                  <a:pt x="3207133" y="127054"/>
                </a:cubicBezTo>
                <a:close/>
                <a:moveTo>
                  <a:pt x="4567208" y="125967"/>
                </a:moveTo>
                <a:cubicBezTo>
                  <a:pt x="4581608" y="124695"/>
                  <a:pt x="4596100" y="126995"/>
                  <a:pt x="4609398" y="132668"/>
                </a:cubicBezTo>
                <a:cubicBezTo>
                  <a:pt x="4613383" y="136832"/>
                  <a:pt x="4599982" y="139729"/>
                  <a:pt x="4577529" y="139729"/>
                </a:cubicBezTo>
                <a:cubicBezTo>
                  <a:pt x="4563640" y="141010"/>
                  <a:pt x="4549657" y="138638"/>
                  <a:pt x="4536968" y="132849"/>
                </a:cubicBezTo>
                <a:cubicBezTo>
                  <a:pt x="4533165" y="128864"/>
                  <a:pt x="4546022" y="127054"/>
                  <a:pt x="4567208" y="125967"/>
                </a:cubicBezTo>
                <a:close/>
                <a:moveTo>
                  <a:pt x="5588847" y="125425"/>
                </a:moveTo>
                <a:cubicBezTo>
                  <a:pt x="5596240" y="125326"/>
                  <a:pt x="5603611" y="126240"/>
                  <a:pt x="5610757" y="128141"/>
                </a:cubicBezTo>
                <a:cubicBezTo>
                  <a:pt x="5614922" y="129770"/>
                  <a:pt x="5610576" y="131400"/>
                  <a:pt x="5601521" y="131219"/>
                </a:cubicBezTo>
                <a:cubicBezTo>
                  <a:pt x="5594187" y="131331"/>
                  <a:pt x="5586871" y="130419"/>
                  <a:pt x="5579792" y="128503"/>
                </a:cubicBezTo>
                <a:cubicBezTo>
                  <a:pt x="5575626" y="126873"/>
                  <a:pt x="5579792" y="125425"/>
                  <a:pt x="5588847" y="125425"/>
                </a:cubicBezTo>
                <a:close/>
                <a:moveTo>
                  <a:pt x="3096674" y="124520"/>
                </a:moveTo>
                <a:cubicBezTo>
                  <a:pt x="3114782" y="124520"/>
                  <a:pt x="3122930" y="126873"/>
                  <a:pt x="3117679" y="130132"/>
                </a:cubicBezTo>
                <a:cubicBezTo>
                  <a:pt x="3106020" y="134295"/>
                  <a:pt x="3093642" y="136080"/>
                  <a:pt x="3081283" y="135384"/>
                </a:cubicBezTo>
                <a:cubicBezTo>
                  <a:pt x="3063176" y="135384"/>
                  <a:pt x="3055026" y="132848"/>
                  <a:pt x="3060459" y="129590"/>
                </a:cubicBezTo>
                <a:cubicBezTo>
                  <a:pt x="3072084" y="125554"/>
                  <a:pt x="3084386" y="123832"/>
                  <a:pt x="3096674" y="124520"/>
                </a:cubicBezTo>
                <a:close/>
                <a:moveTo>
                  <a:pt x="4456749" y="124337"/>
                </a:moveTo>
                <a:cubicBezTo>
                  <a:pt x="4471070" y="123026"/>
                  <a:pt x="4485484" y="125459"/>
                  <a:pt x="4498579" y="131400"/>
                </a:cubicBezTo>
                <a:cubicBezTo>
                  <a:pt x="4500752" y="135202"/>
                  <a:pt x="4483912" y="138643"/>
                  <a:pt x="4463451" y="138462"/>
                </a:cubicBezTo>
                <a:cubicBezTo>
                  <a:pt x="4448776" y="139806"/>
                  <a:pt x="4434003" y="137375"/>
                  <a:pt x="4420534" y="131400"/>
                </a:cubicBezTo>
                <a:cubicBezTo>
                  <a:pt x="4418180" y="127415"/>
                  <a:pt x="4435383" y="124157"/>
                  <a:pt x="4456749" y="124337"/>
                </a:cubicBezTo>
                <a:close/>
                <a:moveTo>
                  <a:pt x="5472958" y="123613"/>
                </a:moveTo>
                <a:cubicBezTo>
                  <a:pt x="5481894" y="123402"/>
                  <a:pt x="5490810" y="124562"/>
                  <a:pt x="5499396" y="127052"/>
                </a:cubicBezTo>
                <a:cubicBezTo>
                  <a:pt x="5503017" y="128864"/>
                  <a:pt x="5496679" y="130493"/>
                  <a:pt x="5486900" y="130493"/>
                </a:cubicBezTo>
                <a:cubicBezTo>
                  <a:pt x="5477971" y="130613"/>
                  <a:pt x="5469066" y="129455"/>
                  <a:pt x="5460464" y="127052"/>
                </a:cubicBezTo>
                <a:cubicBezTo>
                  <a:pt x="5457023" y="125242"/>
                  <a:pt x="5463361" y="123431"/>
                  <a:pt x="5472958" y="123613"/>
                </a:cubicBezTo>
                <a:close/>
                <a:moveTo>
                  <a:pt x="2987487" y="123250"/>
                </a:moveTo>
                <a:cubicBezTo>
                  <a:pt x="3000886" y="123431"/>
                  <a:pt x="3010302" y="125604"/>
                  <a:pt x="3007043" y="128140"/>
                </a:cubicBezTo>
                <a:cubicBezTo>
                  <a:pt x="2996251" y="132006"/>
                  <a:pt x="2984822" y="133789"/>
                  <a:pt x="2973362" y="133390"/>
                </a:cubicBezTo>
                <a:cubicBezTo>
                  <a:pt x="2958334" y="133390"/>
                  <a:pt x="2947650" y="131217"/>
                  <a:pt x="2951272" y="128501"/>
                </a:cubicBezTo>
                <a:cubicBezTo>
                  <a:pt x="2962900" y="124467"/>
                  <a:pt x="2975191" y="122684"/>
                  <a:pt x="2987487" y="123250"/>
                </a:cubicBezTo>
                <a:close/>
                <a:moveTo>
                  <a:pt x="2877389" y="122708"/>
                </a:moveTo>
                <a:cubicBezTo>
                  <a:pt x="2891695" y="121803"/>
                  <a:pt x="2898938" y="123613"/>
                  <a:pt x="2895136" y="127054"/>
                </a:cubicBezTo>
                <a:cubicBezTo>
                  <a:pt x="2885168" y="130408"/>
                  <a:pt x="2874680" y="131942"/>
                  <a:pt x="2864191" y="131581"/>
                </a:cubicBezTo>
                <a:cubicBezTo>
                  <a:pt x="2849704" y="131581"/>
                  <a:pt x="2841918" y="129589"/>
                  <a:pt x="2846084" y="127054"/>
                </a:cubicBezTo>
                <a:cubicBezTo>
                  <a:pt x="2856165" y="123676"/>
                  <a:pt x="2866789" y="122203"/>
                  <a:pt x="2877389" y="122708"/>
                </a:cubicBezTo>
                <a:close/>
                <a:moveTo>
                  <a:pt x="4340499" y="121984"/>
                </a:moveTo>
                <a:cubicBezTo>
                  <a:pt x="4354370" y="120606"/>
                  <a:pt x="4368352" y="123114"/>
                  <a:pt x="4380880" y="129227"/>
                </a:cubicBezTo>
                <a:cubicBezTo>
                  <a:pt x="4382146" y="133210"/>
                  <a:pt x="4363858" y="136651"/>
                  <a:pt x="4342853" y="136471"/>
                </a:cubicBezTo>
                <a:cubicBezTo>
                  <a:pt x="4321848" y="136288"/>
                  <a:pt x="4303196" y="132667"/>
                  <a:pt x="4302291" y="128864"/>
                </a:cubicBezTo>
                <a:cubicBezTo>
                  <a:pt x="4301387" y="125062"/>
                  <a:pt x="4320399" y="121802"/>
                  <a:pt x="4340499" y="121984"/>
                </a:cubicBezTo>
                <a:close/>
                <a:moveTo>
                  <a:pt x="5352902" y="120899"/>
                </a:moveTo>
                <a:cubicBezTo>
                  <a:pt x="5362484" y="120423"/>
                  <a:pt x="5372071" y="121777"/>
                  <a:pt x="5381150" y="124881"/>
                </a:cubicBezTo>
                <a:cubicBezTo>
                  <a:pt x="5385316" y="127054"/>
                  <a:pt x="5379521" y="128684"/>
                  <a:pt x="5366664" y="128503"/>
                </a:cubicBezTo>
                <a:cubicBezTo>
                  <a:pt x="5357153" y="128957"/>
                  <a:pt x="5347642" y="127670"/>
                  <a:pt x="5338597" y="124701"/>
                </a:cubicBezTo>
                <a:cubicBezTo>
                  <a:pt x="5334431" y="122347"/>
                  <a:pt x="5340408" y="120899"/>
                  <a:pt x="5352902" y="120899"/>
                </a:cubicBezTo>
                <a:close/>
                <a:moveTo>
                  <a:pt x="2764781" y="120896"/>
                </a:moveTo>
                <a:cubicBezTo>
                  <a:pt x="2777458" y="120896"/>
                  <a:pt x="2782888" y="122525"/>
                  <a:pt x="2778180" y="124880"/>
                </a:cubicBezTo>
                <a:cubicBezTo>
                  <a:pt x="2768875" y="127812"/>
                  <a:pt x="2759132" y="129040"/>
                  <a:pt x="2749389" y="128502"/>
                </a:cubicBezTo>
                <a:cubicBezTo>
                  <a:pt x="2737799" y="128502"/>
                  <a:pt x="2732910" y="127053"/>
                  <a:pt x="2736895" y="124698"/>
                </a:cubicBezTo>
                <a:cubicBezTo>
                  <a:pt x="2745876" y="121740"/>
                  <a:pt x="2755329" y="120451"/>
                  <a:pt x="2764781" y="120896"/>
                </a:cubicBezTo>
                <a:close/>
                <a:moveTo>
                  <a:pt x="4226239" y="120534"/>
                </a:moveTo>
                <a:cubicBezTo>
                  <a:pt x="4240626" y="118887"/>
                  <a:pt x="4255189" y="121336"/>
                  <a:pt x="4268249" y="127596"/>
                </a:cubicBezTo>
                <a:cubicBezTo>
                  <a:pt x="4269698" y="131581"/>
                  <a:pt x="4251771" y="135020"/>
                  <a:pt x="4230585" y="135020"/>
                </a:cubicBezTo>
                <a:cubicBezTo>
                  <a:pt x="4216479" y="136400"/>
                  <a:pt x="4202264" y="133896"/>
                  <a:pt x="4189480" y="127777"/>
                </a:cubicBezTo>
                <a:cubicBezTo>
                  <a:pt x="4187850" y="123974"/>
                  <a:pt x="4205415" y="120534"/>
                  <a:pt x="4226239" y="120534"/>
                </a:cubicBezTo>
                <a:close/>
                <a:moveTo>
                  <a:pt x="2658486" y="119267"/>
                </a:moveTo>
                <a:cubicBezTo>
                  <a:pt x="2667358" y="119450"/>
                  <a:pt x="2671888" y="121079"/>
                  <a:pt x="2668447" y="122708"/>
                </a:cubicBezTo>
                <a:cubicBezTo>
                  <a:pt x="2660387" y="124982"/>
                  <a:pt x="2652022" y="126020"/>
                  <a:pt x="2643639" y="125786"/>
                </a:cubicBezTo>
                <a:cubicBezTo>
                  <a:pt x="2633677" y="125786"/>
                  <a:pt x="2628428" y="123976"/>
                  <a:pt x="2633137" y="122164"/>
                </a:cubicBezTo>
                <a:cubicBezTo>
                  <a:pt x="2641412" y="120035"/>
                  <a:pt x="2649940" y="119062"/>
                  <a:pt x="2658486" y="119267"/>
                </a:cubicBezTo>
                <a:close/>
                <a:moveTo>
                  <a:pt x="5238280" y="118906"/>
                </a:moveTo>
                <a:cubicBezTo>
                  <a:pt x="5248835" y="118528"/>
                  <a:pt x="5259376" y="119998"/>
                  <a:pt x="5269425" y="123252"/>
                </a:cubicBezTo>
                <a:cubicBezTo>
                  <a:pt x="5273952" y="125606"/>
                  <a:pt x="5267252" y="127598"/>
                  <a:pt x="5254034" y="127598"/>
                </a:cubicBezTo>
                <a:cubicBezTo>
                  <a:pt x="5242980" y="128210"/>
                  <a:pt x="5231910" y="126672"/>
                  <a:pt x="5221441" y="123070"/>
                </a:cubicBezTo>
                <a:cubicBezTo>
                  <a:pt x="5217819" y="120716"/>
                  <a:pt x="5225062" y="118906"/>
                  <a:pt x="5238280" y="118906"/>
                </a:cubicBezTo>
                <a:close/>
                <a:moveTo>
                  <a:pt x="2548020" y="118362"/>
                </a:moveTo>
                <a:cubicBezTo>
                  <a:pt x="2555264" y="118362"/>
                  <a:pt x="2560150" y="119811"/>
                  <a:pt x="2557255" y="121079"/>
                </a:cubicBezTo>
                <a:cubicBezTo>
                  <a:pt x="2550302" y="122972"/>
                  <a:pt x="2543095" y="123885"/>
                  <a:pt x="2535886" y="123796"/>
                </a:cubicBezTo>
                <a:cubicBezTo>
                  <a:pt x="2528644" y="123796"/>
                  <a:pt x="2524659" y="122165"/>
                  <a:pt x="2528101" y="120898"/>
                </a:cubicBezTo>
                <a:cubicBezTo>
                  <a:pt x="2534602" y="119205"/>
                  <a:pt x="2541300" y="118351"/>
                  <a:pt x="2548020" y="118362"/>
                </a:cubicBezTo>
                <a:close/>
                <a:moveTo>
                  <a:pt x="4115420" y="118362"/>
                </a:moveTo>
                <a:cubicBezTo>
                  <a:pt x="4135520" y="118181"/>
                  <a:pt x="4154713" y="121440"/>
                  <a:pt x="4156705" y="125242"/>
                </a:cubicBezTo>
                <a:cubicBezTo>
                  <a:pt x="4157973" y="129226"/>
                  <a:pt x="4139866" y="132667"/>
                  <a:pt x="4118497" y="132667"/>
                </a:cubicBezTo>
                <a:cubicBezTo>
                  <a:pt x="4097131" y="132667"/>
                  <a:pt x="4078299" y="129226"/>
                  <a:pt x="4078299" y="125424"/>
                </a:cubicBezTo>
                <a:cubicBezTo>
                  <a:pt x="4078299" y="121620"/>
                  <a:pt x="4095319" y="118543"/>
                  <a:pt x="4115420" y="118362"/>
                </a:cubicBezTo>
                <a:close/>
                <a:moveTo>
                  <a:pt x="4005322" y="116913"/>
                </a:moveTo>
                <a:cubicBezTo>
                  <a:pt x="4025061" y="116913"/>
                  <a:pt x="4044435" y="120354"/>
                  <a:pt x="4044074" y="124156"/>
                </a:cubicBezTo>
                <a:cubicBezTo>
                  <a:pt x="4044074" y="127958"/>
                  <a:pt x="4024518" y="131399"/>
                  <a:pt x="4003693" y="131219"/>
                </a:cubicBezTo>
                <a:cubicBezTo>
                  <a:pt x="3982869" y="131038"/>
                  <a:pt x="3964580" y="127417"/>
                  <a:pt x="3966029" y="123795"/>
                </a:cubicBezTo>
                <a:cubicBezTo>
                  <a:pt x="3967478" y="120174"/>
                  <a:pt x="3985585" y="116913"/>
                  <a:pt x="4005322" y="116913"/>
                </a:cubicBezTo>
                <a:close/>
                <a:moveTo>
                  <a:pt x="5123659" y="116370"/>
                </a:moveTo>
                <a:cubicBezTo>
                  <a:pt x="5135091" y="115915"/>
                  <a:pt x="5146509" y="117571"/>
                  <a:pt x="5157339" y="121257"/>
                </a:cubicBezTo>
                <a:cubicBezTo>
                  <a:pt x="5161324" y="123793"/>
                  <a:pt x="5152269" y="125966"/>
                  <a:pt x="5138146" y="125966"/>
                </a:cubicBezTo>
                <a:cubicBezTo>
                  <a:pt x="5126657" y="126339"/>
                  <a:pt x="5115196" y="124685"/>
                  <a:pt x="5104283" y="121077"/>
                </a:cubicBezTo>
                <a:cubicBezTo>
                  <a:pt x="5100662" y="118360"/>
                  <a:pt x="5109715" y="116187"/>
                  <a:pt x="5123659" y="116370"/>
                </a:cubicBezTo>
                <a:close/>
                <a:moveTo>
                  <a:pt x="3896675" y="114922"/>
                </a:moveTo>
                <a:cubicBezTo>
                  <a:pt x="3916051" y="115102"/>
                  <a:pt x="3932891" y="118182"/>
                  <a:pt x="3932166" y="121804"/>
                </a:cubicBezTo>
                <a:cubicBezTo>
                  <a:pt x="3932166" y="125606"/>
                  <a:pt x="3913154" y="128864"/>
                  <a:pt x="3892692" y="128864"/>
                </a:cubicBezTo>
                <a:cubicBezTo>
                  <a:pt x="3872231" y="128864"/>
                  <a:pt x="3853941" y="125425"/>
                  <a:pt x="3856477" y="121621"/>
                </a:cubicBezTo>
                <a:cubicBezTo>
                  <a:pt x="3869047" y="115866"/>
                  <a:pt x="3882919" y="113555"/>
                  <a:pt x="3896675" y="114922"/>
                </a:cubicBezTo>
                <a:close/>
                <a:moveTo>
                  <a:pt x="5009579" y="114560"/>
                </a:moveTo>
                <a:cubicBezTo>
                  <a:pt x="5021868" y="113806"/>
                  <a:pt x="5034185" y="115530"/>
                  <a:pt x="5045795" y="119631"/>
                </a:cubicBezTo>
                <a:cubicBezTo>
                  <a:pt x="5049778" y="122528"/>
                  <a:pt x="5041268" y="124701"/>
                  <a:pt x="5025695" y="124701"/>
                </a:cubicBezTo>
                <a:cubicBezTo>
                  <a:pt x="5013400" y="125593"/>
                  <a:pt x="5001055" y="123865"/>
                  <a:pt x="4989479" y="119631"/>
                </a:cubicBezTo>
                <a:cubicBezTo>
                  <a:pt x="4985677" y="116733"/>
                  <a:pt x="4994368" y="114741"/>
                  <a:pt x="5009579" y="114560"/>
                </a:cubicBezTo>
                <a:close/>
                <a:moveTo>
                  <a:pt x="3783866" y="113836"/>
                </a:moveTo>
                <a:cubicBezTo>
                  <a:pt x="3804327" y="114016"/>
                  <a:pt x="3817547" y="116733"/>
                  <a:pt x="3815916" y="120535"/>
                </a:cubicBezTo>
                <a:cubicBezTo>
                  <a:pt x="3814287" y="124520"/>
                  <a:pt x="3797808" y="127234"/>
                  <a:pt x="3774994" y="127054"/>
                </a:cubicBezTo>
                <a:cubicBezTo>
                  <a:pt x="3752177" y="126873"/>
                  <a:pt x="3740951" y="123976"/>
                  <a:pt x="3742943" y="120174"/>
                </a:cubicBezTo>
                <a:cubicBezTo>
                  <a:pt x="3755720" y="114269"/>
                  <a:pt x="3769901" y="112073"/>
                  <a:pt x="3783866" y="113836"/>
                </a:cubicBezTo>
                <a:close/>
                <a:moveTo>
                  <a:pt x="4897854" y="112024"/>
                </a:moveTo>
                <a:cubicBezTo>
                  <a:pt x="4910175" y="111552"/>
                  <a:pt x="4922469" y="113457"/>
                  <a:pt x="4934069" y="117638"/>
                </a:cubicBezTo>
                <a:cubicBezTo>
                  <a:pt x="4937510" y="120535"/>
                  <a:pt x="4926283" y="123069"/>
                  <a:pt x="4910348" y="123069"/>
                </a:cubicBezTo>
                <a:cubicBezTo>
                  <a:pt x="4898023" y="123617"/>
                  <a:pt x="4885712" y="121710"/>
                  <a:pt x="4874133" y="117457"/>
                </a:cubicBezTo>
                <a:cubicBezTo>
                  <a:pt x="4870874" y="114560"/>
                  <a:pt x="4882100" y="112024"/>
                  <a:pt x="4897854" y="112024"/>
                </a:cubicBezTo>
                <a:close/>
                <a:moveTo>
                  <a:pt x="3674314" y="111841"/>
                </a:moveTo>
                <a:cubicBezTo>
                  <a:pt x="3693326" y="111841"/>
                  <a:pt x="3707088" y="114739"/>
                  <a:pt x="3705459" y="118179"/>
                </a:cubicBezTo>
                <a:cubicBezTo>
                  <a:pt x="3692942" y="124105"/>
                  <a:pt x="3679005" y="126363"/>
                  <a:pt x="3665259" y="124698"/>
                </a:cubicBezTo>
                <a:cubicBezTo>
                  <a:pt x="3645702" y="124698"/>
                  <a:pt x="3631940" y="121801"/>
                  <a:pt x="3634113" y="118179"/>
                </a:cubicBezTo>
                <a:cubicBezTo>
                  <a:pt x="3646710" y="112524"/>
                  <a:pt x="3660588" y="110336"/>
                  <a:pt x="3674314" y="111841"/>
                </a:cubicBezTo>
                <a:close/>
                <a:moveTo>
                  <a:pt x="3563855" y="110575"/>
                </a:moveTo>
                <a:cubicBezTo>
                  <a:pt x="3581963" y="110575"/>
                  <a:pt x="3597174" y="113292"/>
                  <a:pt x="3595001" y="116733"/>
                </a:cubicBezTo>
                <a:cubicBezTo>
                  <a:pt x="3582604" y="122198"/>
                  <a:pt x="3569011" y="124379"/>
                  <a:pt x="3555525" y="123071"/>
                </a:cubicBezTo>
                <a:cubicBezTo>
                  <a:pt x="3537417" y="123071"/>
                  <a:pt x="3523655" y="120354"/>
                  <a:pt x="3525286" y="116913"/>
                </a:cubicBezTo>
                <a:cubicBezTo>
                  <a:pt x="3537398" y="111571"/>
                  <a:pt x="3550669" y="109391"/>
                  <a:pt x="3563855" y="110575"/>
                </a:cubicBezTo>
                <a:close/>
                <a:moveTo>
                  <a:pt x="4786853" y="110395"/>
                </a:moveTo>
                <a:cubicBezTo>
                  <a:pt x="4799438" y="109674"/>
                  <a:pt x="4812033" y="111650"/>
                  <a:pt x="4823793" y="116189"/>
                </a:cubicBezTo>
                <a:cubicBezTo>
                  <a:pt x="4827234" y="119267"/>
                  <a:pt x="4816188" y="121803"/>
                  <a:pt x="4798805" y="121803"/>
                </a:cubicBezTo>
                <a:cubicBezTo>
                  <a:pt x="4785994" y="122622"/>
                  <a:pt x="4773156" y="120710"/>
                  <a:pt x="4761141" y="116189"/>
                </a:cubicBezTo>
                <a:cubicBezTo>
                  <a:pt x="4757339" y="112931"/>
                  <a:pt x="4769108" y="110395"/>
                  <a:pt x="4786853" y="110395"/>
                </a:cubicBezTo>
                <a:close/>
                <a:moveTo>
                  <a:pt x="3457382" y="108946"/>
                </a:moveTo>
                <a:cubicBezTo>
                  <a:pt x="3475671" y="108946"/>
                  <a:pt x="3486716" y="111299"/>
                  <a:pt x="3484001" y="114740"/>
                </a:cubicBezTo>
                <a:cubicBezTo>
                  <a:pt x="3472595" y="119641"/>
                  <a:pt x="3460150" y="121632"/>
                  <a:pt x="3447786" y="120535"/>
                </a:cubicBezTo>
                <a:cubicBezTo>
                  <a:pt x="3428410" y="120535"/>
                  <a:pt x="3416821" y="118001"/>
                  <a:pt x="3420443" y="114560"/>
                </a:cubicBezTo>
                <a:cubicBezTo>
                  <a:pt x="3432144" y="109813"/>
                  <a:pt x="3444799" y="107891"/>
                  <a:pt x="3457382" y="108946"/>
                </a:cubicBezTo>
                <a:close/>
                <a:moveTo>
                  <a:pt x="4672234" y="108222"/>
                </a:moveTo>
                <a:cubicBezTo>
                  <a:pt x="4684674" y="107122"/>
                  <a:pt x="4697193" y="109177"/>
                  <a:pt x="4708630" y="114197"/>
                </a:cubicBezTo>
                <a:cubicBezTo>
                  <a:pt x="4711527" y="117457"/>
                  <a:pt x="4699938" y="119811"/>
                  <a:pt x="4681287" y="119811"/>
                </a:cubicBezTo>
                <a:cubicBezTo>
                  <a:pt x="4668466" y="121202"/>
                  <a:pt x="4655508" y="119073"/>
                  <a:pt x="4643803" y="113655"/>
                </a:cubicBezTo>
                <a:cubicBezTo>
                  <a:pt x="4641630" y="110395"/>
                  <a:pt x="4653582" y="108042"/>
                  <a:pt x="4672234" y="108222"/>
                </a:cubicBezTo>
                <a:close/>
                <a:moveTo>
                  <a:pt x="3349642" y="107678"/>
                </a:moveTo>
                <a:cubicBezTo>
                  <a:pt x="3366481" y="107678"/>
                  <a:pt x="3378071" y="110395"/>
                  <a:pt x="3374269" y="113293"/>
                </a:cubicBezTo>
                <a:cubicBezTo>
                  <a:pt x="3362386" y="117842"/>
                  <a:pt x="3349659" y="119758"/>
                  <a:pt x="3336965" y="118905"/>
                </a:cubicBezTo>
                <a:cubicBezTo>
                  <a:pt x="3318857" y="118905"/>
                  <a:pt x="3308717" y="116190"/>
                  <a:pt x="3312339" y="113110"/>
                </a:cubicBezTo>
                <a:cubicBezTo>
                  <a:pt x="3324253" y="108703"/>
                  <a:pt x="3336963" y="106851"/>
                  <a:pt x="3349642" y="107678"/>
                </a:cubicBezTo>
                <a:close/>
                <a:moveTo>
                  <a:pt x="5553897" y="106593"/>
                </a:moveTo>
                <a:cubicBezTo>
                  <a:pt x="5559492" y="106285"/>
                  <a:pt x="5565093" y="107086"/>
                  <a:pt x="5570376" y="108947"/>
                </a:cubicBezTo>
                <a:cubicBezTo>
                  <a:pt x="5572729" y="110215"/>
                  <a:pt x="5570376" y="110939"/>
                  <a:pt x="5561865" y="110939"/>
                </a:cubicBezTo>
                <a:cubicBezTo>
                  <a:pt x="5556279" y="111091"/>
                  <a:pt x="5550707" y="110297"/>
                  <a:pt x="5545388" y="108586"/>
                </a:cubicBezTo>
                <a:cubicBezTo>
                  <a:pt x="5542852" y="107318"/>
                  <a:pt x="5546293" y="106413"/>
                  <a:pt x="5553897" y="106593"/>
                </a:cubicBezTo>
                <a:close/>
                <a:moveTo>
                  <a:pt x="4561051" y="106591"/>
                </a:moveTo>
                <a:cubicBezTo>
                  <a:pt x="4574018" y="105595"/>
                  <a:pt x="4587040" y="107640"/>
                  <a:pt x="4599078" y="112567"/>
                </a:cubicBezTo>
                <a:cubicBezTo>
                  <a:pt x="4601431" y="115826"/>
                  <a:pt x="4587669" y="118723"/>
                  <a:pt x="4569562" y="118723"/>
                </a:cubicBezTo>
                <a:cubicBezTo>
                  <a:pt x="4556501" y="119734"/>
                  <a:pt x="4543390" y="117560"/>
                  <a:pt x="4531354" y="112385"/>
                </a:cubicBezTo>
                <a:cubicBezTo>
                  <a:pt x="4529544" y="109307"/>
                  <a:pt x="4543486" y="106410"/>
                  <a:pt x="4561051" y="106591"/>
                </a:cubicBezTo>
                <a:close/>
                <a:moveTo>
                  <a:pt x="3241900" y="106049"/>
                </a:moveTo>
                <a:cubicBezTo>
                  <a:pt x="3258377" y="106049"/>
                  <a:pt x="3267612" y="108040"/>
                  <a:pt x="3264534" y="110937"/>
                </a:cubicBezTo>
                <a:cubicBezTo>
                  <a:pt x="3253112" y="115760"/>
                  <a:pt x="3240641" y="117566"/>
                  <a:pt x="3228319" y="116190"/>
                </a:cubicBezTo>
                <a:cubicBezTo>
                  <a:pt x="3211840" y="116190"/>
                  <a:pt x="3203148" y="114017"/>
                  <a:pt x="3206952" y="111119"/>
                </a:cubicBezTo>
                <a:cubicBezTo>
                  <a:pt x="3218041" y="106703"/>
                  <a:pt x="3230014" y="104965"/>
                  <a:pt x="3241900" y="106049"/>
                </a:cubicBezTo>
                <a:close/>
                <a:moveTo>
                  <a:pt x="3131263" y="104418"/>
                </a:moveTo>
                <a:cubicBezTo>
                  <a:pt x="3144843" y="104962"/>
                  <a:pt x="3154441" y="107135"/>
                  <a:pt x="3151724" y="108945"/>
                </a:cubicBezTo>
                <a:cubicBezTo>
                  <a:pt x="3141634" y="112834"/>
                  <a:pt x="3130837" y="114560"/>
                  <a:pt x="3120036" y="114015"/>
                </a:cubicBezTo>
                <a:cubicBezTo>
                  <a:pt x="3105549" y="114015"/>
                  <a:pt x="3094685" y="112024"/>
                  <a:pt x="3097582" y="109308"/>
                </a:cubicBezTo>
                <a:cubicBezTo>
                  <a:pt x="3108392" y="105534"/>
                  <a:pt x="3119826" y="103874"/>
                  <a:pt x="3131263" y="104418"/>
                </a:cubicBezTo>
                <a:close/>
                <a:moveTo>
                  <a:pt x="4450774" y="104239"/>
                </a:moveTo>
                <a:cubicBezTo>
                  <a:pt x="4463901" y="103068"/>
                  <a:pt x="4477110" y="105249"/>
                  <a:pt x="4489163" y="110575"/>
                </a:cubicBezTo>
                <a:cubicBezTo>
                  <a:pt x="4490972" y="114016"/>
                  <a:pt x="4475762" y="116913"/>
                  <a:pt x="4457113" y="116733"/>
                </a:cubicBezTo>
                <a:cubicBezTo>
                  <a:pt x="4438461" y="116552"/>
                  <a:pt x="4420897" y="113473"/>
                  <a:pt x="4419629" y="110214"/>
                </a:cubicBezTo>
                <a:cubicBezTo>
                  <a:pt x="4418361" y="106954"/>
                  <a:pt x="4433028" y="104239"/>
                  <a:pt x="4450774" y="104239"/>
                </a:cubicBezTo>
                <a:close/>
                <a:moveTo>
                  <a:pt x="5440905" y="104237"/>
                </a:moveTo>
                <a:cubicBezTo>
                  <a:pt x="5447766" y="104072"/>
                  <a:pt x="5454612" y="104988"/>
                  <a:pt x="5461186" y="106954"/>
                </a:cubicBezTo>
                <a:cubicBezTo>
                  <a:pt x="5464627" y="108402"/>
                  <a:pt x="5459920" y="109851"/>
                  <a:pt x="5451228" y="109668"/>
                </a:cubicBezTo>
                <a:cubicBezTo>
                  <a:pt x="5444306" y="109828"/>
                  <a:pt x="5437404" y="108912"/>
                  <a:pt x="5430765" y="106954"/>
                </a:cubicBezTo>
                <a:cubicBezTo>
                  <a:pt x="5427507" y="105505"/>
                  <a:pt x="5432214" y="104237"/>
                  <a:pt x="5440905" y="104237"/>
                </a:cubicBezTo>
                <a:close/>
                <a:moveTo>
                  <a:pt x="3023522" y="104057"/>
                </a:moveTo>
                <a:cubicBezTo>
                  <a:pt x="3037645" y="104057"/>
                  <a:pt x="3045252" y="105868"/>
                  <a:pt x="3041630" y="108403"/>
                </a:cubicBezTo>
                <a:cubicBezTo>
                  <a:pt x="3032149" y="111680"/>
                  <a:pt x="3022129" y="113093"/>
                  <a:pt x="3012114" y="112568"/>
                </a:cubicBezTo>
                <a:cubicBezTo>
                  <a:pt x="2997808" y="112568"/>
                  <a:pt x="2990204" y="110758"/>
                  <a:pt x="2994006" y="108222"/>
                </a:cubicBezTo>
                <a:cubicBezTo>
                  <a:pt x="3003506" y="105036"/>
                  <a:pt x="3013511" y="103623"/>
                  <a:pt x="3023522" y="104057"/>
                </a:cubicBezTo>
                <a:close/>
                <a:moveTo>
                  <a:pt x="4341040" y="102608"/>
                </a:moveTo>
                <a:cubicBezTo>
                  <a:pt x="4354234" y="101201"/>
                  <a:pt x="4367562" y="103391"/>
                  <a:pt x="4379611" y="108946"/>
                </a:cubicBezTo>
                <a:cubicBezTo>
                  <a:pt x="4380877" y="112385"/>
                  <a:pt x="4366210" y="115283"/>
                  <a:pt x="4347017" y="115102"/>
                </a:cubicBezTo>
                <a:cubicBezTo>
                  <a:pt x="4334196" y="116422"/>
                  <a:pt x="4321258" y="114296"/>
                  <a:pt x="4309534" y="108946"/>
                </a:cubicBezTo>
                <a:cubicBezTo>
                  <a:pt x="4308085" y="105505"/>
                  <a:pt x="4322391" y="102789"/>
                  <a:pt x="4341040" y="102608"/>
                </a:cubicBezTo>
                <a:close/>
                <a:moveTo>
                  <a:pt x="2915959" y="102428"/>
                </a:moveTo>
                <a:cubicBezTo>
                  <a:pt x="2928454" y="102247"/>
                  <a:pt x="2936964" y="104057"/>
                  <a:pt x="2934249" y="106049"/>
                </a:cubicBezTo>
                <a:cubicBezTo>
                  <a:pt x="2925688" y="108971"/>
                  <a:pt x="2916672" y="110322"/>
                  <a:pt x="2907630" y="110031"/>
                </a:cubicBezTo>
                <a:cubicBezTo>
                  <a:pt x="2895860" y="110031"/>
                  <a:pt x="2887530" y="108583"/>
                  <a:pt x="2889522" y="106410"/>
                </a:cubicBezTo>
                <a:cubicBezTo>
                  <a:pt x="2898043" y="103589"/>
                  <a:pt x="2906986" y="102243"/>
                  <a:pt x="2915959" y="102428"/>
                </a:cubicBezTo>
                <a:close/>
                <a:moveTo>
                  <a:pt x="2812586" y="102245"/>
                </a:moveTo>
                <a:cubicBezTo>
                  <a:pt x="2822545" y="102245"/>
                  <a:pt x="2828700" y="104057"/>
                  <a:pt x="2824899" y="105867"/>
                </a:cubicBezTo>
                <a:cubicBezTo>
                  <a:pt x="2816816" y="108064"/>
                  <a:pt x="2808463" y="109100"/>
                  <a:pt x="2800093" y="108946"/>
                </a:cubicBezTo>
                <a:cubicBezTo>
                  <a:pt x="2789949" y="108946"/>
                  <a:pt x="2783794" y="107134"/>
                  <a:pt x="2787597" y="105505"/>
                </a:cubicBezTo>
                <a:cubicBezTo>
                  <a:pt x="2795726" y="103260"/>
                  <a:pt x="2804144" y="102163"/>
                  <a:pt x="2812586" y="102245"/>
                </a:cubicBezTo>
                <a:close/>
                <a:moveTo>
                  <a:pt x="4234023" y="101523"/>
                </a:moveTo>
                <a:cubicBezTo>
                  <a:pt x="4252856" y="101704"/>
                  <a:pt x="4270239" y="104601"/>
                  <a:pt x="4270239" y="108042"/>
                </a:cubicBezTo>
                <a:cubicBezTo>
                  <a:pt x="4270239" y="111482"/>
                  <a:pt x="4255028" y="114016"/>
                  <a:pt x="4236016" y="114016"/>
                </a:cubicBezTo>
                <a:cubicBezTo>
                  <a:pt x="4216279" y="114016"/>
                  <a:pt x="4199800" y="110758"/>
                  <a:pt x="4199800" y="107317"/>
                </a:cubicBezTo>
                <a:cubicBezTo>
                  <a:pt x="4199800" y="103876"/>
                  <a:pt x="4215191" y="101342"/>
                  <a:pt x="4234023" y="101523"/>
                </a:cubicBezTo>
                <a:close/>
                <a:moveTo>
                  <a:pt x="5326464" y="101522"/>
                </a:moveTo>
                <a:cubicBezTo>
                  <a:pt x="5335025" y="101429"/>
                  <a:pt x="5343557" y="102526"/>
                  <a:pt x="5351815" y="104781"/>
                </a:cubicBezTo>
                <a:cubicBezTo>
                  <a:pt x="5355436" y="106412"/>
                  <a:pt x="5349642" y="108221"/>
                  <a:pt x="5340226" y="108221"/>
                </a:cubicBezTo>
                <a:cubicBezTo>
                  <a:pt x="5331911" y="108240"/>
                  <a:pt x="5323628" y="107144"/>
                  <a:pt x="5315600" y="104963"/>
                </a:cubicBezTo>
                <a:cubicBezTo>
                  <a:pt x="5311254" y="103332"/>
                  <a:pt x="5317048" y="101703"/>
                  <a:pt x="5326464" y="101522"/>
                </a:cubicBezTo>
                <a:close/>
                <a:moveTo>
                  <a:pt x="2708274" y="100072"/>
                </a:moveTo>
                <a:cubicBezTo>
                  <a:pt x="2715881" y="100253"/>
                  <a:pt x="2720047" y="101340"/>
                  <a:pt x="2717329" y="102789"/>
                </a:cubicBezTo>
                <a:cubicBezTo>
                  <a:pt x="2710339" y="104880"/>
                  <a:pt x="2703061" y="105796"/>
                  <a:pt x="2695781" y="105505"/>
                </a:cubicBezTo>
                <a:cubicBezTo>
                  <a:pt x="2688178" y="105505"/>
                  <a:pt x="2684011" y="104237"/>
                  <a:pt x="2686729" y="102789"/>
                </a:cubicBezTo>
                <a:cubicBezTo>
                  <a:pt x="2693735" y="100806"/>
                  <a:pt x="2700996" y="99890"/>
                  <a:pt x="2708274" y="100072"/>
                </a:cubicBezTo>
                <a:close/>
                <a:moveTo>
                  <a:pt x="5216733" y="99891"/>
                </a:moveTo>
                <a:cubicBezTo>
                  <a:pt x="5225706" y="99469"/>
                  <a:pt x="5234679" y="100760"/>
                  <a:pt x="5243170" y="103694"/>
                </a:cubicBezTo>
                <a:cubicBezTo>
                  <a:pt x="5246791" y="105866"/>
                  <a:pt x="5240635" y="107134"/>
                  <a:pt x="5228140" y="107134"/>
                </a:cubicBezTo>
                <a:cubicBezTo>
                  <a:pt x="5219537" y="107551"/>
                  <a:pt x="5210933" y="106321"/>
                  <a:pt x="5202789" y="103513"/>
                </a:cubicBezTo>
                <a:cubicBezTo>
                  <a:pt x="5198806" y="101340"/>
                  <a:pt x="5204420" y="99891"/>
                  <a:pt x="5216733" y="99891"/>
                </a:cubicBezTo>
                <a:close/>
                <a:moveTo>
                  <a:pt x="2600168" y="99530"/>
                </a:moveTo>
                <a:cubicBezTo>
                  <a:pt x="2607411" y="99348"/>
                  <a:pt x="2611033" y="100072"/>
                  <a:pt x="2608860" y="101340"/>
                </a:cubicBezTo>
                <a:cubicBezTo>
                  <a:pt x="2603662" y="103051"/>
                  <a:pt x="2598209" y="103789"/>
                  <a:pt x="2592744" y="103513"/>
                </a:cubicBezTo>
                <a:cubicBezTo>
                  <a:pt x="2585681" y="103513"/>
                  <a:pt x="2582604" y="102608"/>
                  <a:pt x="2585499" y="101521"/>
                </a:cubicBezTo>
                <a:cubicBezTo>
                  <a:pt x="2590206" y="99926"/>
                  <a:pt x="2595189" y="99249"/>
                  <a:pt x="2600168" y="99530"/>
                </a:cubicBezTo>
                <a:close/>
                <a:moveTo>
                  <a:pt x="4121936" y="99530"/>
                </a:moveTo>
                <a:cubicBezTo>
                  <a:pt x="4141312" y="99711"/>
                  <a:pt x="4156703" y="102245"/>
                  <a:pt x="4156703" y="105505"/>
                </a:cubicBezTo>
                <a:cubicBezTo>
                  <a:pt x="4156703" y="109126"/>
                  <a:pt x="4141312" y="112023"/>
                  <a:pt x="4121575" y="111843"/>
                </a:cubicBezTo>
                <a:cubicBezTo>
                  <a:pt x="4101838" y="111660"/>
                  <a:pt x="4087169" y="108946"/>
                  <a:pt x="4086808" y="105505"/>
                </a:cubicBezTo>
                <a:cubicBezTo>
                  <a:pt x="4086445" y="102064"/>
                  <a:pt x="4102562" y="99347"/>
                  <a:pt x="4121936" y="99530"/>
                </a:cubicBezTo>
                <a:close/>
                <a:moveTo>
                  <a:pt x="4014196" y="98081"/>
                </a:moveTo>
                <a:cubicBezTo>
                  <a:pt x="4034477" y="98081"/>
                  <a:pt x="4048239" y="100798"/>
                  <a:pt x="4048421" y="104239"/>
                </a:cubicBezTo>
                <a:cubicBezTo>
                  <a:pt x="4048602" y="107678"/>
                  <a:pt x="4033028" y="110394"/>
                  <a:pt x="4014196" y="110394"/>
                </a:cubicBezTo>
                <a:cubicBezTo>
                  <a:pt x="3995183" y="110394"/>
                  <a:pt x="3979249" y="107678"/>
                  <a:pt x="3977981" y="104419"/>
                </a:cubicBezTo>
                <a:cubicBezTo>
                  <a:pt x="3976715" y="101159"/>
                  <a:pt x="3993915" y="98081"/>
                  <a:pt x="4014196" y="98081"/>
                </a:cubicBezTo>
                <a:close/>
                <a:moveTo>
                  <a:pt x="5104825" y="97538"/>
                </a:moveTo>
                <a:cubicBezTo>
                  <a:pt x="5114886" y="97030"/>
                  <a:pt x="5124952" y="98382"/>
                  <a:pt x="5134522" y="101521"/>
                </a:cubicBezTo>
                <a:cubicBezTo>
                  <a:pt x="5138143" y="103694"/>
                  <a:pt x="5130176" y="105506"/>
                  <a:pt x="5117682" y="105506"/>
                </a:cubicBezTo>
                <a:cubicBezTo>
                  <a:pt x="5107848" y="105972"/>
                  <a:pt x="5098016" y="104557"/>
                  <a:pt x="5088710" y="101340"/>
                </a:cubicBezTo>
                <a:cubicBezTo>
                  <a:pt x="5085993" y="99167"/>
                  <a:pt x="5093419" y="97538"/>
                  <a:pt x="5104825" y="97538"/>
                </a:cubicBezTo>
                <a:close/>
                <a:moveTo>
                  <a:pt x="3907723" y="96813"/>
                </a:moveTo>
                <a:cubicBezTo>
                  <a:pt x="3925831" y="96813"/>
                  <a:pt x="3941222" y="99711"/>
                  <a:pt x="3940317" y="102969"/>
                </a:cubicBezTo>
                <a:cubicBezTo>
                  <a:pt x="3939412" y="106230"/>
                  <a:pt x="3922753" y="108946"/>
                  <a:pt x="3904101" y="108946"/>
                </a:cubicBezTo>
                <a:cubicBezTo>
                  <a:pt x="3885994" y="108946"/>
                  <a:pt x="3870420" y="106049"/>
                  <a:pt x="3871507" y="102789"/>
                </a:cubicBezTo>
                <a:cubicBezTo>
                  <a:pt x="3872595" y="99530"/>
                  <a:pt x="3889615" y="96813"/>
                  <a:pt x="3907723" y="96813"/>
                </a:cubicBezTo>
                <a:close/>
                <a:moveTo>
                  <a:pt x="4993102" y="95909"/>
                </a:moveTo>
                <a:cubicBezTo>
                  <a:pt x="5002900" y="95264"/>
                  <a:pt x="5012721" y="96747"/>
                  <a:pt x="5021892" y="100255"/>
                </a:cubicBezTo>
                <a:cubicBezTo>
                  <a:pt x="5025152" y="102791"/>
                  <a:pt x="5017546" y="104420"/>
                  <a:pt x="5003784" y="104420"/>
                </a:cubicBezTo>
                <a:cubicBezTo>
                  <a:pt x="4993433" y="105240"/>
                  <a:pt x="4983030" y="103690"/>
                  <a:pt x="4973363" y="99894"/>
                </a:cubicBezTo>
                <a:cubicBezTo>
                  <a:pt x="4970829" y="97358"/>
                  <a:pt x="4978977" y="95728"/>
                  <a:pt x="4993102" y="95909"/>
                </a:cubicBezTo>
                <a:close/>
                <a:moveTo>
                  <a:pt x="3799620" y="94821"/>
                </a:moveTo>
                <a:cubicBezTo>
                  <a:pt x="3816460" y="94821"/>
                  <a:pt x="3832032" y="97355"/>
                  <a:pt x="3832214" y="100435"/>
                </a:cubicBezTo>
                <a:cubicBezTo>
                  <a:pt x="3832395" y="103513"/>
                  <a:pt x="3815372" y="106771"/>
                  <a:pt x="3797265" y="106771"/>
                </a:cubicBezTo>
                <a:cubicBezTo>
                  <a:pt x="3779157" y="106771"/>
                  <a:pt x="3763404" y="103874"/>
                  <a:pt x="3764670" y="100796"/>
                </a:cubicBezTo>
                <a:cubicBezTo>
                  <a:pt x="3775609" y="95819"/>
                  <a:pt x="3787651" y="93760"/>
                  <a:pt x="3799620" y="94821"/>
                </a:cubicBezTo>
                <a:close/>
                <a:moveTo>
                  <a:pt x="4883006" y="93555"/>
                </a:moveTo>
                <a:cubicBezTo>
                  <a:pt x="4893465" y="93005"/>
                  <a:pt x="4903929" y="94545"/>
                  <a:pt x="4913790" y="98081"/>
                </a:cubicBezTo>
                <a:cubicBezTo>
                  <a:pt x="4917231" y="100617"/>
                  <a:pt x="4906908" y="102790"/>
                  <a:pt x="4892604" y="102790"/>
                </a:cubicBezTo>
                <a:cubicBezTo>
                  <a:pt x="4881633" y="103480"/>
                  <a:pt x="4870643" y="101813"/>
                  <a:pt x="4860371" y="97901"/>
                </a:cubicBezTo>
                <a:cubicBezTo>
                  <a:pt x="4858018" y="95365"/>
                  <a:pt x="4868882" y="93374"/>
                  <a:pt x="4883006" y="93555"/>
                </a:cubicBezTo>
                <a:close/>
                <a:moveTo>
                  <a:pt x="3696587" y="93192"/>
                </a:moveTo>
                <a:cubicBezTo>
                  <a:pt x="3714695" y="93192"/>
                  <a:pt x="3726826" y="95909"/>
                  <a:pt x="3723928" y="99168"/>
                </a:cubicBezTo>
                <a:cubicBezTo>
                  <a:pt x="3712484" y="103905"/>
                  <a:pt x="3700034" y="105711"/>
                  <a:pt x="3687713" y="104420"/>
                </a:cubicBezTo>
                <a:cubicBezTo>
                  <a:pt x="3668880" y="104238"/>
                  <a:pt x="3657654" y="101704"/>
                  <a:pt x="3660371" y="98443"/>
                </a:cubicBezTo>
                <a:cubicBezTo>
                  <a:pt x="3671816" y="93708"/>
                  <a:pt x="3684266" y="91902"/>
                  <a:pt x="3696587" y="93192"/>
                </a:cubicBezTo>
                <a:close/>
                <a:moveTo>
                  <a:pt x="3589207" y="92107"/>
                </a:moveTo>
                <a:cubicBezTo>
                  <a:pt x="3606048" y="92107"/>
                  <a:pt x="3617818" y="94280"/>
                  <a:pt x="3616189" y="97357"/>
                </a:cubicBezTo>
                <a:cubicBezTo>
                  <a:pt x="3605322" y="102338"/>
                  <a:pt x="3593288" y="104218"/>
                  <a:pt x="3581422" y="102789"/>
                </a:cubicBezTo>
                <a:cubicBezTo>
                  <a:pt x="3564399" y="102789"/>
                  <a:pt x="3552630" y="100616"/>
                  <a:pt x="3554440" y="97538"/>
                </a:cubicBezTo>
                <a:cubicBezTo>
                  <a:pt x="3565371" y="92768"/>
                  <a:pt x="3577346" y="90898"/>
                  <a:pt x="3589207" y="92107"/>
                </a:cubicBezTo>
                <a:close/>
                <a:moveTo>
                  <a:pt x="4772913" y="91924"/>
                </a:moveTo>
                <a:cubicBezTo>
                  <a:pt x="4784127" y="91009"/>
                  <a:pt x="4795403" y="92682"/>
                  <a:pt x="4805868" y="96813"/>
                </a:cubicBezTo>
                <a:cubicBezTo>
                  <a:pt x="4808948" y="99710"/>
                  <a:pt x="4799532" y="101701"/>
                  <a:pt x="4783234" y="101520"/>
                </a:cubicBezTo>
                <a:cubicBezTo>
                  <a:pt x="4772234" y="102573"/>
                  <a:pt x="4761147" y="100830"/>
                  <a:pt x="4751003" y="96450"/>
                </a:cubicBezTo>
                <a:cubicBezTo>
                  <a:pt x="4748647" y="93916"/>
                  <a:pt x="4757702" y="92104"/>
                  <a:pt x="4772913" y="91924"/>
                </a:cubicBezTo>
                <a:close/>
                <a:moveTo>
                  <a:pt x="3482009" y="90295"/>
                </a:moveTo>
                <a:cubicBezTo>
                  <a:pt x="3496676" y="90839"/>
                  <a:pt x="3508265" y="92831"/>
                  <a:pt x="3505912" y="95546"/>
                </a:cubicBezTo>
                <a:cubicBezTo>
                  <a:pt x="3494338" y="99791"/>
                  <a:pt x="3481990" y="101520"/>
                  <a:pt x="3469696" y="100617"/>
                </a:cubicBezTo>
                <a:cubicBezTo>
                  <a:pt x="3454666" y="100617"/>
                  <a:pt x="3443258" y="97901"/>
                  <a:pt x="3445794" y="95365"/>
                </a:cubicBezTo>
                <a:cubicBezTo>
                  <a:pt x="3457375" y="91148"/>
                  <a:pt x="3469715" y="89420"/>
                  <a:pt x="3482009" y="90295"/>
                </a:cubicBezTo>
                <a:close/>
                <a:moveTo>
                  <a:pt x="4665170" y="89753"/>
                </a:moveTo>
                <a:cubicBezTo>
                  <a:pt x="4676575" y="88945"/>
                  <a:pt x="4688015" y="90675"/>
                  <a:pt x="4698669" y="94823"/>
                </a:cubicBezTo>
                <a:cubicBezTo>
                  <a:pt x="4701205" y="97538"/>
                  <a:pt x="4689435" y="99893"/>
                  <a:pt x="4674043" y="99893"/>
                </a:cubicBezTo>
                <a:cubicBezTo>
                  <a:pt x="4662564" y="100713"/>
                  <a:pt x="4651047" y="98918"/>
                  <a:pt x="4640363" y="94641"/>
                </a:cubicBezTo>
                <a:cubicBezTo>
                  <a:pt x="4638190" y="91926"/>
                  <a:pt x="4649779" y="89571"/>
                  <a:pt x="4665170" y="89753"/>
                </a:cubicBezTo>
                <a:close/>
                <a:moveTo>
                  <a:pt x="3375717" y="89388"/>
                </a:moveTo>
                <a:cubicBezTo>
                  <a:pt x="3391652" y="89388"/>
                  <a:pt x="3400887" y="91380"/>
                  <a:pt x="3397808" y="94277"/>
                </a:cubicBezTo>
                <a:cubicBezTo>
                  <a:pt x="3387243" y="98256"/>
                  <a:pt x="3375917" y="99804"/>
                  <a:pt x="3364671" y="98804"/>
                </a:cubicBezTo>
                <a:cubicBezTo>
                  <a:pt x="3349461" y="98804"/>
                  <a:pt x="3340769" y="96813"/>
                  <a:pt x="3343484" y="94097"/>
                </a:cubicBezTo>
                <a:cubicBezTo>
                  <a:pt x="3353733" y="90101"/>
                  <a:pt x="3364755" y="88491"/>
                  <a:pt x="3375717" y="89388"/>
                </a:cubicBezTo>
                <a:close/>
                <a:moveTo>
                  <a:pt x="4555981" y="88121"/>
                </a:moveTo>
                <a:cubicBezTo>
                  <a:pt x="4567992" y="87310"/>
                  <a:pt x="4580037" y="89102"/>
                  <a:pt x="4591291" y="93372"/>
                </a:cubicBezTo>
                <a:cubicBezTo>
                  <a:pt x="4594189" y="96089"/>
                  <a:pt x="4582056" y="98623"/>
                  <a:pt x="4565941" y="98623"/>
                </a:cubicBezTo>
                <a:cubicBezTo>
                  <a:pt x="4554161" y="99584"/>
                  <a:pt x="4542320" y="97786"/>
                  <a:pt x="4531354" y="93372"/>
                </a:cubicBezTo>
                <a:cubicBezTo>
                  <a:pt x="4529544" y="90656"/>
                  <a:pt x="4540953" y="88302"/>
                  <a:pt x="4555981" y="88121"/>
                </a:cubicBezTo>
                <a:close/>
                <a:moveTo>
                  <a:pt x="3274494" y="87578"/>
                </a:moveTo>
                <a:cubicBezTo>
                  <a:pt x="3288256" y="87578"/>
                  <a:pt x="3296223" y="90475"/>
                  <a:pt x="3291334" y="92648"/>
                </a:cubicBezTo>
                <a:cubicBezTo>
                  <a:pt x="3280644" y="95794"/>
                  <a:pt x="3269510" y="97140"/>
                  <a:pt x="3258377" y="96633"/>
                </a:cubicBezTo>
                <a:cubicBezTo>
                  <a:pt x="3244254" y="96633"/>
                  <a:pt x="3236467" y="93735"/>
                  <a:pt x="3241718" y="91382"/>
                </a:cubicBezTo>
                <a:cubicBezTo>
                  <a:pt x="3252377" y="88401"/>
                  <a:pt x="3263438" y="87116"/>
                  <a:pt x="3274494" y="87578"/>
                </a:cubicBezTo>
                <a:close/>
                <a:moveTo>
                  <a:pt x="3168382" y="86674"/>
                </a:moveTo>
                <a:cubicBezTo>
                  <a:pt x="3181602" y="86854"/>
                  <a:pt x="3188301" y="88666"/>
                  <a:pt x="3184860" y="90839"/>
                </a:cubicBezTo>
                <a:cubicBezTo>
                  <a:pt x="3175710" y="93897"/>
                  <a:pt x="3166062" y="95188"/>
                  <a:pt x="3156431" y="94641"/>
                </a:cubicBezTo>
                <a:cubicBezTo>
                  <a:pt x="3142669" y="94641"/>
                  <a:pt x="3135246" y="92831"/>
                  <a:pt x="3138324" y="90476"/>
                </a:cubicBezTo>
                <a:cubicBezTo>
                  <a:pt x="3148000" y="87263"/>
                  <a:pt x="3158211" y="85970"/>
                  <a:pt x="3168382" y="86674"/>
                </a:cubicBezTo>
                <a:close/>
                <a:moveTo>
                  <a:pt x="4446972" y="85766"/>
                </a:moveTo>
                <a:cubicBezTo>
                  <a:pt x="4458510" y="84375"/>
                  <a:pt x="4470209" y="86126"/>
                  <a:pt x="4480832" y="90836"/>
                </a:cubicBezTo>
                <a:cubicBezTo>
                  <a:pt x="4482644" y="94458"/>
                  <a:pt x="4470511" y="96813"/>
                  <a:pt x="4453491" y="96813"/>
                </a:cubicBezTo>
                <a:cubicBezTo>
                  <a:pt x="4441866" y="98037"/>
                  <a:pt x="4430133" y="95967"/>
                  <a:pt x="4419629" y="90836"/>
                </a:cubicBezTo>
                <a:cubicBezTo>
                  <a:pt x="4418361" y="87939"/>
                  <a:pt x="4430131" y="85766"/>
                  <a:pt x="4446972" y="85766"/>
                </a:cubicBezTo>
                <a:close/>
                <a:moveTo>
                  <a:pt x="5412115" y="85586"/>
                </a:moveTo>
                <a:cubicBezTo>
                  <a:pt x="5417442" y="85303"/>
                  <a:pt x="5422778" y="85976"/>
                  <a:pt x="5427867" y="87579"/>
                </a:cubicBezTo>
                <a:cubicBezTo>
                  <a:pt x="5430223" y="88666"/>
                  <a:pt x="5426782" y="89571"/>
                  <a:pt x="5419719" y="89390"/>
                </a:cubicBezTo>
                <a:cubicBezTo>
                  <a:pt x="5414824" y="89600"/>
                  <a:pt x="5409927" y="88987"/>
                  <a:pt x="5405233" y="87579"/>
                </a:cubicBezTo>
                <a:cubicBezTo>
                  <a:pt x="5402336" y="86311"/>
                  <a:pt x="5405233" y="85586"/>
                  <a:pt x="5412115" y="85586"/>
                </a:cubicBezTo>
                <a:close/>
                <a:moveTo>
                  <a:pt x="3063176" y="85044"/>
                </a:moveTo>
                <a:cubicBezTo>
                  <a:pt x="3074041" y="85044"/>
                  <a:pt x="3082732" y="86854"/>
                  <a:pt x="3081284" y="88665"/>
                </a:cubicBezTo>
                <a:cubicBezTo>
                  <a:pt x="3072320" y="91717"/>
                  <a:pt x="3062851" y="93007"/>
                  <a:pt x="3053397" y="92468"/>
                </a:cubicBezTo>
                <a:cubicBezTo>
                  <a:pt x="3042352" y="92468"/>
                  <a:pt x="3035289" y="90658"/>
                  <a:pt x="3037462" y="88846"/>
                </a:cubicBezTo>
                <a:cubicBezTo>
                  <a:pt x="3045770" y="86196"/>
                  <a:pt x="3054454" y="84911"/>
                  <a:pt x="3063176" y="85044"/>
                </a:cubicBezTo>
                <a:close/>
                <a:moveTo>
                  <a:pt x="4342128" y="84863"/>
                </a:moveTo>
                <a:cubicBezTo>
                  <a:pt x="4353097" y="83888"/>
                  <a:pt x="4364125" y="85956"/>
                  <a:pt x="4373997" y="90838"/>
                </a:cubicBezTo>
                <a:cubicBezTo>
                  <a:pt x="4375809" y="93192"/>
                  <a:pt x="4363676" y="95545"/>
                  <a:pt x="4345749" y="95545"/>
                </a:cubicBezTo>
                <a:cubicBezTo>
                  <a:pt x="4327642" y="95545"/>
                  <a:pt x="4313699" y="93011"/>
                  <a:pt x="4312612" y="89933"/>
                </a:cubicBezTo>
                <a:cubicBezTo>
                  <a:pt x="4311526" y="86854"/>
                  <a:pt x="4324383" y="84681"/>
                  <a:pt x="4342128" y="84863"/>
                </a:cubicBezTo>
                <a:close/>
                <a:moveTo>
                  <a:pt x="2961592" y="84319"/>
                </a:moveTo>
                <a:cubicBezTo>
                  <a:pt x="2970825" y="84319"/>
                  <a:pt x="2976983" y="85768"/>
                  <a:pt x="2973905" y="87578"/>
                </a:cubicBezTo>
                <a:cubicBezTo>
                  <a:pt x="2965826" y="90098"/>
                  <a:pt x="2957370" y="91201"/>
                  <a:pt x="2948916" y="90838"/>
                </a:cubicBezTo>
                <a:cubicBezTo>
                  <a:pt x="2938775" y="90838"/>
                  <a:pt x="2933161" y="89207"/>
                  <a:pt x="2936965" y="87397"/>
                </a:cubicBezTo>
                <a:cubicBezTo>
                  <a:pt x="2944963" y="85097"/>
                  <a:pt x="2953273" y="84057"/>
                  <a:pt x="2961592" y="84319"/>
                </a:cubicBezTo>
                <a:close/>
                <a:moveTo>
                  <a:pt x="5300029" y="83595"/>
                </a:moveTo>
                <a:cubicBezTo>
                  <a:pt x="5306512" y="83578"/>
                  <a:pt x="5312966" y="84430"/>
                  <a:pt x="5319222" y="86132"/>
                </a:cubicBezTo>
                <a:cubicBezTo>
                  <a:pt x="5322300" y="87580"/>
                  <a:pt x="5317413" y="88847"/>
                  <a:pt x="5309082" y="88847"/>
                </a:cubicBezTo>
                <a:cubicBezTo>
                  <a:pt x="5302597" y="88902"/>
                  <a:pt x="5296138" y="88048"/>
                  <a:pt x="5289889" y="86312"/>
                </a:cubicBezTo>
                <a:cubicBezTo>
                  <a:pt x="5286809" y="84864"/>
                  <a:pt x="5291699" y="83595"/>
                  <a:pt x="5300029" y="83595"/>
                </a:cubicBezTo>
                <a:close/>
                <a:moveTo>
                  <a:pt x="4236016" y="82871"/>
                </a:moveTo>
                <a:cubicBezTo>
                  <a:pt x="4253943" y="82871"/>
                  <a:pt x="4266980" y="85225"/>
                  <a:pt x="4267705" y="88305"/>
                </a:cubicBezTo>
                <a:cubicBezTo>
                  <a:pt x="4268429" y="91382"/>
                  <a:pt x="4255935" y="93555"/>
                  <a:pt x="4237827" y="93555"/>
                </a:cubicBezTo>
                <a:cubicBezTo>
                  <a:pt x="4219720" y="93555"/>
                  <a:pt x="4206500" y="91202"/>
                  <a:pt x="4206139" y="87942"/>
                </a:cubicBezTo>
                <a:cubicBezTo>
                  <a:pt x="4205776" y="84681"/>
                  <a:pt x="4218089" y="82871"/>
                  <a:pt x="4236016" y="82871"/>
                </a:cubicBezTo>
                <a:close/>
                <a:moveTo>
                  <a:pt x="2854767" y="82871"/>
                </a:moveTo>
                <a:cubicBezTo>
                  <a:pt x="2863276" y="82871"/>
                  <a:pt x="2867622" y="84138"/>
                  <a:pt x="2864364" y="85769"/>
                </a:cubicBezTo>
                <a:cubicBezTo>
                  <a:pt x="2858119" y="87499"/>
                  <a:pt x="2851647" y="88294"/>
                  <a:pt x="2845168" y="88123"/>
                </a:cubicBezTo>
                <a:cubicBezTo>
                  <a:pt x="2836476" y="88123"/>
                  <a:pt x="2831770" y="87035"/>
                  <a:pt x="2834486" y="85586"/>
                </a:cubicBezTo>
                <a:cubicBezTo>
                  <a:pt x="2841046" y="83550"/>
                  <a:pt x="2847903" y="82632"/>
                  <a:pt x="2854767" y="82871"/>
                </a:cubicBezTo>
                <a:close/>
                <a:moveTo>
                  <a:pt x="2750641" y="82328"/>
                </a:moveTo>
                <a:cubicBezTo>
                  <a:pt x="2757884" y="82147"/>
                  <a:pt x="2760961" y="83052"/>
                  <a:pt x="2758790" y="84139"/>
                </a:cubicBezTo>
                <a:cubicBezTo>
                  <a:pt x="2753793" y="85845"/>
                  <a:pt x="2748504" y="86582"/>
                  <a:pt x="2743216" y="86312"/>
                </a:cubicBezTo>
                <a:cubicBezTo>
                  <a:pt x="2735974" y="86312"/>
                  <a:pt x="2732896" y="86312"/>
                  <a:pt x="2735068" y="84320"/>
                </a:cubicBezTo>
                <a:cubicBezTo>
                  <a:pt x="2740083" y="82695"/>
                  <a:pt x="2745371" y="82020"/>
                  <a:pt x="2750641" y="82328"/>
                </a:cubicBezTo>
                <a:close/>
                <a:moveTo>
                  <a:pt x="4129905" y="81603"/>
                </a:moveTo>
                <a:cubicBezTo>
                  <a:pt x="4147650" y="81603"/>
                  <a:pt x="4161050" y="83776"/>
                  <a:pt x="4161775" y="86674"/>
                </a:cubicBezTo>
                <a:cubicBezTo>
                  <a:pt x="4162499" y="89571"/>
                  <a:pt x="4150186" y="92105"/>
                  <a:pt x="4132259" y="92287"/>
                </a:cubicBezTo>
                <a:cubicBezTo>
                  <a:pt x="4114151" y="92287"/>
                  <a:pt x="4100933" y="89934"/>
                  <a:pt x="4100389" y="86854"/>
                </a:cubicBezTo>
                <a:cubicBezTo>
                  <a:pt x="4099845" y="83776"/>
                  <a:pt x="4112159" y="81603"/>
                  <a:pt x="4129905" y="81603"/>
                </a:cubicBezTo>
                <a:close/>
                <a:moveTo>
                  <a:pt x="5191925" y="81242"/>
                </a:moveTo>
                <a:cubicBezTo>
                  <a:pt x="5199128" y="81010"/>
                  <a:pt x="5206310" y="82114"/>
                  <a:pt x="5213110" y="84500"/>
                </a:cubicBezTo>
                <a:cubicBezTo>
                  <a:pt x="5215283" y="85949"/>
                  <a:pt x="5209308" y="87217"/>
                  <a:pt x="5200436" y="87217"/>
                </a:cubicBezTo>
                <a:cubicBezTo>
                  <a:pt x="5193024" y="87432"/>
                  <a:pt x="5185627" y="86453"/>
                  <a:pt x="5178524" y="84320"/>
                </a:cubicBezTo>
                <a:cubicBezTo>
                  <a:pt x="5175810" y="82690"/>
                  <a:pt x="5182509" y="81242"/>
                  <a:pt x="5191925" y="81242"/>
                </a:cubicBezTo>
                <a:close/>
                <a:moveTo>
                  <a:pt x="4026329" y="80335"/>
                </a:moveTo>
                <a:cubicBezTo>
                  <a:pt x="4043894" y="80335"/>
                  <a:pt x="4055663" y="82508"/>
                  <a:pt x="4056207" y="85406"/>
                </a:cubicBezTo>
                <a:cubicBezTo>
                  <a:pt x="4056751" y="88303"/>
                  <a:pt x="4043713" y="90839"/>
                  <a:pt x="4025966" y="90839"/>
                </a:cubicBezTo>
                <a:cubicBezTo>
                  <a:pt x="4007858" y="90839"/>
                  <a:pt x="3995003" y="88666"/>
                  <a:pt x="3995184" y="85586"/>
                </a:cubicBezTo>
                <a:cubicBezTo>
                  <a:pt x="3995365" y="82508"/>
                  <a:pt x="4008765" y="80335"/>
                  <a:pt x="4026329" y="80335"/>
                </a:cubicBezTo>
                <a:close/>
                <a:moveTo>
                  <a:pt x="5083458" y="79793"/>
                </a:moveTo>
                <a:cubicBezTo>
                  <a:pt x="5091606" y="79382"/>
                  <a:pt x="5099760" y="80424"/>
                  <a:pt x="5107543" y="82871"/>
                </a:cubicBezTo>
                <a:cubicBezTo>
                  <a:pt x="5110801" y="84863"/>
                  <a:pt x="5105551" y="86129"/>
                  <a:pt x="5094867" y="86311"/>
                </a:cubicBezTo>
                <a:cubicBezTo>
                  <a:pt x="5086483" y="86701"/>
                  <a:pt x="5078094" y="85661"/>
                  <a:pt x="5070060" y="83232"/>
                </a:cubicBezTo>
                <a:cubicBezTo>
                  <a:pt x="5066075" y="81241"/>
                  <a:pt x="5071870" y="79793"/>
                  <a:pt x="5083458" y="79793"/>
                </a:cubicBezTo>
                <a:close/>
                <a:moveTo>
                  <a:pt x="3922391" y="78525"/>
                </a:moveTo>
                <a:cubicBezTo>
                  <a:pt x="3939774" y="78706"/>
                  <a:pt x="3952088" y="80879"/>
                  <a:pt x="3950820" y="83958"/>
                </a:cubicBezTo>
                <a:cubicBezTo>
                  <a:pt x="3940961" y="88437"/>
                  <a:pt x="3930064" y="90129"/>
                  <a:pt x="3919311" y="88846"/>
                </a:cubicBezTo>
                <a:cubicBezTo>
                  <a:pt x="3902472" y="88846"/>
                  <a:pt x="3890158" y="86493"/>
                  <a:pt x="3890702" y="83595"/>
                </a:cubicBezTo>
                <a:cubicBezTo>
                  <a:pt x="3891246" y="80698"/>
                  <a:pt x="3905008" y="78344"/>
                  <a:pt x="3922391" y="78525"/>
                </a:cubicBezTo>
                <a:close/>
                <a:moveTo>
                  <a:pt x="4976082" y="77438"/>
                </a:moveTo>
                <a:cubicBezTo>
                  <a:pt x="4984993" y="77103"/>
                  <a:pt x="4993888" y="78390"/>
                  <a:pt x="5002338" y="81242"/>
                </a:cubicBezTo>
                <a:cubicBezTo>
                  <a:pt x="5004692" y="83052"/>
                  <a:pt x="4996000" y="84864"/>
                  <a:pt x="4985135" y="84681"/>
                </a:cubicBezTo>
                <a:cubicBezTo>
                  <a:pt x="4976386" y="85023"/>
                  <a:pt x="4967657" y="83672"/>
                  <a:pt x="4959423" y="80698"/>
                </a:cubicBezTo>
                <a:cubicBezTo>
                  <a:pt x="4957975" y="79069"/>
                  <a:pt x="4965942" y="77438"/>
                  <a:pt x="4976082" y="77438"/>
                </a:cubicBezTo>
                <a:close/>
                <a:moveTo>
                  <a:pt x="3814106" y="76713"/>
                </a:moveTo>
                <a:cubicBezTo>
                  <a:pt x="3830222" y="76713"/>
                  <a:pt x="3843079" y="78886"/>
                  <a:pt x="3842535" y="81603"/>
                </a:cubicBezTo>
                <a:cubicBezTo>
                  <a:pt x="3841991" y="84317"/>
                  <a:pt x="3827868" y="86673"/>
                  <a:pt x="3811570" y="86853"/>
                </a:cubicBezTo>
                <a:cubicBezTo>
                  <a:pt x="3795274" y="86853"/>
                  <a:pt x="3782417" y="84500"/>
                  <a:pt x="3783142" y="81783"/>
                </a:cubicBezTo>
                <a:cubicBezTo>
                  <a:pt x="3783866" y="79067"/>
                  <a:pt x="3797991" y="76713"/>
                  <a:pt x="3814106" y="76713"/>
                </a:cubicBezTo>
                <a:close/>
                <a:moveTo>
                  <a:pt x="4869424" y="75989"/>
                </a:moveTo>
                <a:cubicBezTo>
                  <a:pt x="4878806" y="75386"/>
                  <a:pt x="4888216" y="76618"/>
                  <a:pt x="4897130" y="79610"/>
                </a:cubicBezTo>
                <a:cubicBezTo>
                  <a:pt x="4900752" y="81966"/>
                  <a:pt x="4892965" y="83776"/>
                  <a:pt x="4879022" y="83595"/>
                </a:cubicBezTo>
                <a:cubicBezTo>
                  <a:pt x="4869802" y="84219"/>
                  <a:pt x="4860554" y="82924"/>
                  <a:pt x="4851860" y="79793"/>
                </a:cubicBezTo>
                <a:cubicBezTo>
                  <a:pt x="4849687" y="77620"/>
                  <a:pt x="4856930" y="75989"/>
                  <a:pt x="4869424" y="75989"/>
                </a:cubicBezTo>
                <a:close/>
                <a:moveTo>
                  <a:pt x="3712159" y="75448"/>
                </a:moveTo>
                <a:cubicBezTo>
                  <a:pt x="3726826" y="75448"/>
                  <a:pt x="3739140" y="77982"/>
                  <a:pt x="3737872" y="80518"/>
                </a:cubicBezTo>
                <a:cubicBezTo>
                  <a:pt x="3727125" y="84780"/>
                  <a:pt x="3715524" y="86455"/>
                  <a:pt x="3704010" y="85405"/>
                </a:cubicBezTo>
                <a:cubicBezTo>
                  <a:pt x="3689162" y="85405"/>
                  <a:pt x="3677210" y="82691"/>
                  <a:pt x="3679383" y="80155"/>
                </a:cubicBezTo>
                <a:cubicBezTo>
                  <a:pt x="3689831" y="76204"/>
                  <a:pt x="3701021" y="74596"/>
                  <a:pt x="3712159" y="75448"/>
                </a:cubicBezTo>
                <a:close/>
                <a:moveTo>
                  <a:pt x="3608221" y="74540"/>
                </a:moveTo>
                <a:cubicBezTo>
                  <a:pt x="3623976" y="74540"/>
                  <a:pt x="3633753" y="76352"/>
                  <a:pt x="3632485" y="79067"/>
                </a:cubicBezTo>
                <a:cubicBezTo>
                  <a:pt x="3622780" y="83405"/>
                  <a:pt x="3612079" y="85032"/>
                  <a:pt x="3601522" y="83776"/>
                </a:cubicBezTo>
                <a:cubicBezTo>
                  <a:pt x="3585768" y="83776"/>
                  <a:pt x="3576352" y="81783"/>
                  <a:pt x="3578525" y="79067"/>
                </a:cubicBezTo>
                <a:cubicBezTo>
                  <a:pt x="3587846" y="74949"/>
                  <a:pt x="3598094" y="73386"/>
                  <a:pt x="3608221" y="74540"/>
                </a:cubicBezTo>
                <a:close/>
                <a:moveTo>
                  <a:pt x="4760054" y="74360"/>
                </a:moveTo>
                <a:cubicBezTo>
                  <a:pt x="4770373" y="73649"/>
                  <a:pt x="4780728" y="75067"/>
                  <a:pt x="4790475" y="78524"/>
                </a:cubicBezTo>
                <a:cubicBezTo>
                  <a:pt x="4793372" y="80697"/>
                  <a:pt x="4784139" y="82689"/>
                  <a:pt x="4770738" y="82689"/>
                </a:cubicBezTo>
                <a:cubicBezTo>
                  <a:pt x="4760976" y="83210"/>
                  <a:pt x="4751202" y="81858"/>
                  <a:pt x="4741946" y="78706"/>
                </a:cubicBezTo>
                <a:cubicBezTo>
                  <a:pt x="4738868" y="76533"/>
                  <a:pt x="4747560" y="74360"/>
                  <a:pt x="4760054" y="74360"/>
                </a:cubicBezTo>
                <a:close/>
                <a:moveTo>
                  <a:pt x="3403965" y="72730"/>
                </a:moveTo>
                <a:cubicBezTo>
                  <a:pt x="3417003" y="72730"/>
                  <a:pt x="3426780" y="73635"/>
                  <a:pt x="3424970" y="75808"/>
                </a:cubicBezTo>
                <a:cubicBezTo>
                  <a:pt x="3415952" y="79417"/>
                  <a:pt x="3406226" y="80903"/>
                  <a:pt x="3396542" y="80154"/>
                </a:cubicBezTo>
                <a:cubicBezTo>
                  <a:pt x="3383321" y="80154"/>
                  <a:pt x="3373544" y="78344"/>
                  <a:pt x="3375537" y="75989"/>
                </a:cubicBezTo>
                <a:cubicBezTo>
                  <a:pt x="3384673" y="72896"/>
                  <a:pt x="3394365" y="71786"/>
                  <a:pt x="3403965" y="72730"/>
                </a:cubicBezTo>
                <a:close/>
                <a:moveTo>
                  <a:pt x="3507180" y="72729"/>
                </a:moveTo>
                <a:cubicBezTo>
                  <a:pt x="3520942" y="72729"/>
                  <a:pt x="3530902" y="74721"/>
                  <a:pt x="3528548" y="77075"/>
                </a:cubicBezTo>
                <a:cubicBezTo>
                  <a:pt x="3519003" y="80845"/>
                  <a:pt x="3508710" y="82334"/>
                  <a:pt x="3498488" y="81421"/>
                </a:cubicBezTo>
                <a:cubicBezTo>
                  <a:pt x="3484545" y="81421"/>
                  <a:pt x="3474585" y="79248"/>
                  <a:pt x="3477121" y="76894"/>
                </a:cubicBezTo>
                <a:cubicBezTo>
                  <a:pt x="3486720" y="73343"/>
                  <a:pt x="3496977" y="71925"/>
                  <a:pt x="3507180" y="72729"/>
                </a:cubicBezTo>
                <a:close/>
                <a:moveTo>
                  <a:pt x="4657203" y="72368"/>
                </a:moveTo>
                <a:cubicBezTo>
                  <a:pt x="4667085" y="71512"/>
                  <a:pt x="4677025" y="73067"/>
                  <a:pt x="4686175" y="76894"/>
                </a:cubicBezTo>
                <a:cubicBezTo>
                  <a:pt x="4686356" y="79067"/>
                  <a:pt x="4675854" y="81060"/>
                  <a:pt x="4663722" y="80879"/>
                </a:cubicBezTo>
                <a:cubicBezTo>
                  <a:pt x="4653842" y="81675"/>
                  <a:pt x="4643914" y="80126"/>
                  <a:pt x="4634749" y="76352"/>
                </a:cubicBezTo>
                <a:cubicBezTo>
                  <a:pt x="4633662" y="73997"/>
                  <a:pt x="4644346" y="72187"/>
                  <a:pt x="4657203" y="72368"/>
                </a:cubicBezTo>
                <a:close/>
                <a:moveTo>
                  <a:pt x="4550910" y="70921"/>
                </a:moveTo>
                <a:cubicBezTo>
                  <a:pt x="4561149" y="69975"/>
                  <a:pt x="4571464" y="71530"/>
                  <a:pt x="4580969" y="75448"/>
                </a:cubicBezTo>
                <a:cubicBezTo>
                  <a:pt x="4582779" y="77982"/>
                  <a:pt x="4573183" y="79794"/>
                  <a:pt x="4558697" y="79794"/>
                </a:cubicBezTo>
                <a:cubicBezTo>
                  <a:pt x="4548456" y="80830"/>
                  <a:pt x="4538120" y="79271"/>
                  <a:pt x="4528639" y="75267"/>
                </a:cubicBezTo>
                <a:cubicBezTo>
                  <a:pt x="4527008" y="72731"/>
                  <a:pt x="4536967" y="70921"/>
                  <a:pt x="4550910" y="70921"/>
                </a:cubicBezTo>
                <a:close/>
                <a:moveTo>
                  <a:pt x="3303647" y="70375"/>
                </a:moveTo>
                <a:cubicBezTo>
                  <a:pt x="3315599" y="70375"/>
                  <a:pt x="3323747" y="72728"/>
                  <a:pt x="3321031" y="73996"/>
                </a:cubicBezTo>
                <a:cubicBezTo>
                  <a:pt x="3312725" y="77165"/>
                  <a:pt x="3303822" y="78464"/>
                  <a:pt x="3294956" y="77798"/>
                </a:cubicBezTo>
                <a:cubicBezTo>
                  <a:pt x="3281918" y="77798"/>
                  <a:pt x="3273589" y="76169"/>
                  <a:pt x="3276848" y="73996"/>
                </a:cubicBezTo>
                <a:cubicBezTo>
                  <a:pt x="3285450" y="71014"/>
                  <a:pt x="3294562" y="69784"/>
                  <a:pt x="3303647" y="70375"/>
                </a:cubicBezTo>
                <a:close/>
                <a:moveTo>
                  <a:pt x="3199166" y="69290"/>
                </a:moveTo>
                <a:cubicBezTo>
                  <a:pt x="3209126" y="69471"/>
                  <a:pt x="3216187" y="71102"/>
                  <a:pt x="3213833" y="72731"/>
                </a:cubicBezTo>
                <a:cubicBezTo>
                  <a:pt x="3205360" y="75450"/>
                  <a:pt x="3196465" y="76615"/>
                  <a:pt x="3187577" y="76172"/>
                </a:cubicBezTo>
                <a:cubicBezTo>
                  <a:pt x="3177437" y="76172"/>
                  <a:pt x="3169469" y="74360"/>
                  <a:pt x="3172910" y="72551"/>
                </a:cubicBezTo>
                <a:cubicBezTo>
                  <a:pt x="3181402" y="69929"/>
                  <a:pt x="3190290" y="68826"/>
                  <a:pt x="3199166" y="69290"/>
                </a:cubicBezTo>
                <a:close/>
                <a:moveTo>
                  <a:pt x="4447514" y="69109"/>
                </a:moveTo>
                <a:cubicBezTo>
                  <a:pt x="4462907" y="69109"/>
                  <a:pt x="4475038" y="70921"/>
                  <a:pt x="4476306" y="73635"/>
                </a:cubicBezTo>
                <a:cubicBezTo>
                  <a:pt x="4477574" y="76352"/>
                  <a:pt x="4468339" y="77981"/>
                  <a:pt x="4453491" y="77981"/>
                </a:cubicBezTo>
                <a:cubicBezTo>
                  <a:pt x="4443241" y="78941"/>
                  <a:pt x="4432922" y="77130"/>
                  <a:pt x="4423612" y="72730"/>
                </a:cubicBezTo>
                <a:cubicBezTo>
                  <a:pt x="4421983" y="70921"/>
                  <a:pt x="4431943" y="68928"/>
                  <a:pt x="4447514" y="69109"/>
                </a:cubicBezTo>
                <a:close/>
                <a:moveTo>
                  <a:pt x="3098307" y="68024"/>
                </a:moveTo>
                <a:cubicBezTo>
                  <a:pt x="3106455" y="68024"/>
                  <a:pt x="3113154" y="69473"/>
                  <a:pt x="3110981" y="70921"/>
                </a:cubicBezTo>
                <a:cubicBezTo>
                  <a:pt x="3103512" y="73370"/>
                  <a:pt x="3095653" y="74415"/>
                  <a:pt x="3087803" y="73999"/>
                </a:cubicBezTo>
                <a:cubicBezTo>
                  <a:pt x="3078931" y="73999"/>
                  <a:pt x="3072773" y="72550"/>
                  <a:pt x="3074946" y="70921"/>
                </a:cubicBezTo>
                <a:cubicBezTo>
                  <a:pt x="3082520" y="68668"/>
                  <a:pt x="3090413" y="67689"/>
                  <a:pt x="3098307" y="68024"/>
                </a:cubicBezTo>
                <a:close/>
                <a:moveTo>
                  <a:pt x="4344482" y="67660"/>
                </a:moveTo>
                <a:cubicBezTo>
                  <a:pt x="4359875" y="67660"/>
                  <a:pt x="4372369" y="69653"/>
                  <a:pt x="4373093" y="72550"/>
                </a:cubicBezTo>
                <a:cubicBezTo>
                  <a:pt x="4373817" y="75447"/>
                  <a:pt x="4363496" y="76896"/>
                  <a:pt x="4347742" y="76715"/>
                </a:cubicBezTo>
                <a:cubicBezTo>
                  <a:pt x="4331444" y="76715"/>
                  <a:pt x="4319675" y="74723"/>
                  <a:pt x="4319131" y="72006"/>
                </a:cubicBezTo>
                <a:cubicBezTo>
                  <a:pt x="4318589" y="69290"/>
                  <a:pt x="4329091" y="67660"/>
                  <a:pt x="4344482" y="67660"/>
                </a:cubicBezTo>
                <a:close/>
                <a:moveTo>
                  <a:pt x="2997807" y="67298"/>
                </a:moveTo>
                <a:cubicBezTo>
                  <a:pt x="3005412" y="67298"/>
                  <a:pt x="3009758" y="68385"/>
                  <a:pt x="3007043" y="69834"/>
                </a:cubicBezTo>
                <a:cubicBezTo>
                  <a:pt x="3000726" y="71826"/>
                  <a:pt x="2994095" y="72625"/>
                  <a:pt x="2987487" y="72187"/>
                </a:cubicBezTo>
                <a:cubicBezTo>
                  <a:pt x="2978795" y="72187"/>
                  <a:pt x="2974630" y="71100"/>
                  <a:pt x="2977527" y="69651"/>
                </a:cubicBezTo>
                <a:cubicBezTo>
                  <a:pt x="2984068" y="67556"/>
                  <a:pt x="2990960" y="66758"/>
                  <a:pt x="2997807" y="67298"/>
                </a:cubicBezTo>
                <a:close/>
                <a:moveTo>
                  <a:pt x="5277033" y="66754"/>
                </a:moveTo>
                <a:cubicBezTo>
                  <a:pt x="5282112" y="66417"/>
                  <a:pt x="5287209" y="67031"/>
                  <a:pt x="5292063" y="68566"/>
                </a:cubicBezTo>
                <a:cubicBezTo>
                  <a:pt x="5294236" y="69651"/>
                  <a:pt x="5290795" y="70376"/>
                  <a:pt x="5283913" y="70376"/>
                </a:cubicBezTo>
                <a:cubicBezTo>
                  <a:pt x="5279253" y="70606"/>
                  <a:pt x="5274592" y="69992"/>
                  <a:pt x="5270151" y="68566"/>
                </a:cubicBezTo>
                <a:cubicBezTo>
                  <a:pt x="5267436" y="67478"/>
                  <a:pt x="5270514" y="66754"/>
                  <a:pt x="5277033" y="66754"/>
                </a:cubicBezTo>
                <a:close/>
                <a:moveTo>
                  <a:pt x="2896765" y="65849"/>
                </a:moveTo>
                <a:cubicBezTo>
                  <a:pt x="2904008" y="65849"/>
                  <a:pt x="2907268" y="66756"/>
                  <a:pt x="2904371" y="68022"/>
                </a:cubicBezTo>
                <a:cubicBezTo>
                  <a:pt x="2899430" y="69432"/>
                  <a:pt x="2894294" y="70045"/>
                  <a:pt x="2889161" y="69834"/>
                </a:cubicBezTo>
                <a:cubicBezTo>
                  <a:pt x="2881737" y="69834"/>
                  <a:pt x="2878477" y="68929"/>
                  <a:pt x="2881374" y="67660"/>
                </a:cubicBezTo>
                <a:cubicBezTo>
                  <a:pt x="2886381" y="66267"/>
                  <a:pt x="2891573" y="65657"/>
                  <a:pt x="2896765" y="65849"/>
                </a:cubicBezTo>
                <a:close/>
                <a:moveTo>
                  <a:pt x="4241450" y="65848"/>
                </a:moveTo>
                <a:cubicBezTo>
                  <a:pt x="4256841" y="65848"/>
                  <a:pt x="4268973" y="67841"/>
                  <a:pt x="4269335" y="70557"/>
                </a:cubicBezTo>
                <a:cubicBezTo>
                  <a:pt x="4269698" y="73272"/>
                  <a:pt x="4259194" y="74903"/>
                  <a:pt x="4243622" y="74903"/>
                </a:cubicBezTo>
                <a:cubicBezTo>
                  <a:pt x="4227325" y="74903"/>
                  <a:pt x="4215736" y="72911"/>
                  <a:pt x="4215555" y="70194"/>
                </a:cubicBezTo>
                <a:cubicBezTo>
                  <a:pt x="4215374" y="67478"/>
                  <a:pt x="4226057" y="65848"/>
                  <a:pt x="4241450" y="65848"/>
                </a:cubicBezTo>
                <a:close/>
                <a:moveTo>
                  <a:pt x="4136061" y="64583"/>
                </a:moveTo>
                <a:cubicBezTo>
                  <a:pt x="4150910" y="64763"/>
                  <a:pt x="4162680" y="66573"/>
                  <a:pt x="4163584" y="69109"/>
                </a:cubicBezTo>
                <a:cubicBezTo>
                  <a:pt x="4164491" y="71643"/>
                  <a:pt x="4151815" y="73816"/>
                  <a:pt x="4136785" y="73816"/>
                </a:cubicBezTo>
                <a:cubicBezTo>
                  <a:pt x="4121575" y="73816"/>
                  <a:pt x="4108176" y="71643"/>
                  <a:pt x="4108176" y="69109"/>
                </a:cubicBezTo>
                <a:cubicBezTo>
                  <a:pt x="4108176" y="66573"/>
                  <a:pt x="4121214" y="64400"/>
                  <a:pt x="4136061" y="64583"/>
                </a:cubicBezTo>
                <a:close/>
                <a:moveTo>
                  <a:pt x="5170737" y="64403"/>
                </a:moveTo>
                <a:cubicBezTo>
                  <a:pt x="5176836" y="64279"/>
                  <a:pt x="5182921" y="64948"/>
                  <a:pt x="5188845" y="66393"/>
                </a:cubicBezTo>
                <a:cubicBezTo>
                  <a:pt x="5191924" y="67480"/>
                  <a:pt x="5188845" y="68748"/>
                  <a:pt x="5181421" y="68929"/>
                </a:cubicBezTo>
                <a:cubicBezTo>
                  <a:pt x="5174828" y="69233"/>
                  <a:pt x="5168230" y="68499"/>
                  <a:pt x="5161865" y="66756"/>
                </a:cubicBezTo>
                <a:cubicBezTo>
                  <a:pt x="5159331" y="65669"/>
                  <a:pt x="5164038" y="64403"/>
                  <a:pt x="5170737" y="64403"/>
                </a:cubicBezTo>
                <a:close/>
                <a:moveTo>
                  <a:pt x="5063541" y="62952"/>
                </a:moveTo>
                <a:cubicBezTo>
                  <a:pt x="5069909" y="62573"/>
                  <a:pt x="5076293" y="63372"/>
                  <a:pt x="5082373" y="65305"/>
                </a:cubicBezTo>
                <a:cubicBezTo>
                  <a:pt x="5085451" y="66936"/>
                  <a:pt x="5081105" y="68021"/>
                  <a:pt x="5071328" y="68021"/>
                </a:cubicBezTo>
                <a:cubicBezTo>
                  <a:pt x="5064883" y="68474"/>
                  <a:pt x="5058414" y="67613"/>
                  <a:pt x="5052313" y="65487"/>
                </a:cubicBezTo>
                <a:cubicBezTo>
                  <a:pt x="5049416" y="63856"/>
                  <a:pt x="5053944" y="62952"/>
                  <a:pt x="5063541" y="62952"/>
                </a:cubicBezTo>
                <a:close/>
                <a:moveTo>
                  <a:pt x="4035020" y="62771"/>
                </a:moveTo>
                <a:cubicBezTo>
                  <a:pt x="4051135" y="62771"/>
                  <a:pt x="4060371" y="64764"/>
                  <a:pt x="4060008" y="67478"/>
                </a:cubicBezTo>
                <a:cubicBezTo>
                  <a:pt x="4060008" y="70014"/>
                  <a:pt x="4047875" y="72006"/>
                  <a:pt x="4031579" y="71826"/>
                </a:cubicBezTo>
                <a:cubicBezTo>
                  <a:pt x="4015281" y="71643"/>
                  <a:pt x="4006228" y="69834"/>
                  <a:pt x="4006590" y="67117"/>
                </a:cubicBezTo>
                <a:cubicBezTo>
                  <a:pt x="4006953" y="64401"/>
                  <a:pt x="4018903" y="62771"/>
                  <a:pt x="4035020" y="62771"/>
                </a:cubicBezTo>
                <a:close/>
                <a:moveTo>
                  <a:pt x="3932349" y="61683"/>
                </a:moveTo>
                <a:cubicBezTo>
                  <a:pt x="3947559" y="61683"/>
                  <a:pt x="3957519" y="63495"/>
                  <a:pt x="3957519" y="66029"/>
                </a:cubicBezTo>
                <a:cubicBezTo>
                  <a:pt x="3957519" y="68746"/>
                  <a:pt x="3945748" y="70555"/>
                  <a:pt x="3930356" y="70555"/>
                </a:cubicBezTo>
                <a:cubicBezTo>
                  <a:pt x="3914965" y="70555"/>
                  <a:pt x="3904462" y="68565"/>
                  <a:pt x="3905186" y="66029"/>
                </a:cubicBezTo>
                <a:cubicBezTo>
                  <a:pt x="3905911" y="63495"/>
                  <a:pt x="3917138" y="61683"/>
                  <a:pt x="3932349" y="61683"/>
                </a:cubicBezTo>
                <a:close/>
                <a:moveTo>
                  <a:pt x="4959241" y="60598"/>
                </a:moveTo>
                <a:cubicBezTo>
                  <a:pt x="4966422" y="60478"/>
                  <a:pt x="4973577" y="61518"/>
                  <a:pt x="4980427" y="63676"/>
                </a:cubicBezTo>
                <a:cubicBezTo>
                  <a:pt x="4982961" y="65125"/>
                  <a:pt x="4975901" y="66754"/>
                  <a:pt x="4966484" y="66574"/>
                </a:cubicBezTo>
                <a:cubicBezTo>
                  <a:pt x="4959249" y="66832"/>
                  <a:pt x="4952021" y="65853"/>
                  <a:pt x="4945116" y="63676"/>
                </a:cubicBezTo>
                <a:cubicBezTo>
                  <a:pt x="4942582" y="62047"/>
                  <a:pt x="4949643" y="60598"/>
                  <a:pt x="4959241" y="60598"/>
                </a:cubicBezTo>
                <a:close/>
                <a:moveTo>
                  <a:pt x="3832214" y="60055"/>
                </a:moveTo>
                <a:cubicBezTo>
                  <a:pt x="3847061" y="60235"/>
                  <a:pt x="3856116" y="61867"/>
                  <a:pt x="3855572" y="64220"/>
                </a:cubicBezTo>
                <a:cubicBezTo>
                  <a:pt x="3855572" y="66755"/>
                  <a:pt x="3842715" y="68566"/>
                  <a:pt x="3827505" y="68566"/>
                </a:cubicBezTo>
                <a:cubicBezTo>
                  <a:pt x="3812294" y="68566"/>
                  <a:pt x="3803422" y="66574"/>
                  <a:pt x="3804327" y="64220"/>
                </a:cubicBezTo>
                <a:cubicBezTo>
                  <a:pt x="3805232" y="61867"/>
                  <a:pt x="3817364" y="59874"/>
                  <a:pt x="3832214" y="60055"/>
                </a:cubicBezTo>
                <a:close/>
                <a:moveTo>
                  <a:pt x="4855662" y="59332"/>
                </a:moveTo>
                <a:cubicBezTo>
                  <a:pt x="4863418" y="58612"/>
                  <a:pt x="4871236" y="59728"/>
                  <a:pt x="4878479" y="62590"/>
                </a:cubicBezTo>
                <a:cubicBezTo>
                  <a:pt x="4880832" y="64402"/>
                  <a:pt x="4874314" y="65668"/>
                  <a:pt x="4862544" y="65668"/>
                </a:cubicBezTo>
                <a:cubicBezTo>
                  <a:pt x="4854955" y="66214"/>
                  <a:pt x="4847343" y="65037"/>
                  <a:pt x="4840271" y="62229"/>
                </a:cubicBezTo>
                <a:cubicBezTo>
                  <a:pt x="4838822" y="60418"/>
                  <a:pt x="4844617" y="59332"/>
                  <a:pt x="4855662" y="59332"/>
                </a:cubicBezTo>
                <a:close/>
                <a:moveTo>
                  <a:pt x="3729723" y="58788"/>
                </a:moveTo>
                <a:cubicBezTo>
                  <a:pt x="3742941" y="58788"/>
                  <a:pt x="3754530" y="60598"/>
                  <a:pt x="3753988" y="62952"/>
                </a:cubicBezTo>
                <a:cubicBezTo>
                  <a:pt x="3745456" y="66708"/>
                  <a:pt x="3736103" y="68205"/>
                  <a:pt x="3726825" y="67300"/>
                </a:cubicBezTo>
                <a:cubicBezTo>
                  <a:pt x="3713244" y="67300"/>
                  <a:pt x="3702199" y="65307"/>
                  <a:pt x="3703647" y="62952"/>
                </a:cubicBezTo>
                <a:cubicBezTo>
                  <a:pt x="3711910" y="59600"/>
                  <a:pt x="3720827" y="58176"/>
                  <a:pt x="3729723" y="58788"/>
                </a:cubicBezTo>
                <a:close/>
                <a:moveTo>
                  <a:pt x="3630494" y="57340"/>
                </a:moveTo>
                <a:cubicBezTo>
                  <a:pt x="3643349" y="57340"/>
                  <a:pt x="3653490" y="58969"/>
                  <a:pt x="3652404" y="61142"/>
                </a:cubicBezTo>
                <a:cubicBezTo>
                  <a:pt x="3644133" y="64684"/>
                  <a:pt x="3635108" y="66114"/>
                  <a:pt x="3626148" y="65308"/>
                </a:cubicBezTo>
                <a:cubicBezTo>
                  <a:pt x="3613291" y="65308"/>
                  <a:pt x="3602970" y="63496"/>
                  <a:pt x="3604237" y="61323"/>
                </a:cubicBezTo>
                <a:cubicBezTo>
                  <a:pt x="3612542" y="57908"/>
                  <a:pt x="3621548" y="56541"/>
                  <a:pt x="3630494" y="57340"/>
                </a:cubicBezTo>
                <a:close/>
                <a:moveTo>
                  <a:pt x="4752993" y="57157"/>
                </a:moveTo>
                <a:cubicBezTo>
                  <a:pt x="4761101" y="56880"/>
                  <a:pt x="4769194" y="58043"/>
                  <a:pt x="4776895" y="60598"/>
                </a:cubicBezTo>
                <a:cubicBezTo>
                  <a:pt x="4779068" y="62228"/>
                  <a:pt x="4771281" y="64039"/>
                  <a:pt x="4760778" y="64039"/>
                </a:cubicBezTo>
                <a:cubicBezTo>
                  <a:pt x="4752004" y="64593"/>
                  <a:pt x="4743208" y="63423"/>
                  <a:pt x="4734885" y="60598"/>
                </a:cubicBezTo>
                <a:cubicBezTo>
                  <a:pt x="4733437" y="58789"/>
                  <a:pt x="4741585" y="57157"/>
                  <a:pt x="4752993" y="57157"/>
                </a:cubicBezTo>
                <a:close/>
                <a:moveTo>
                  <a:pt x="3528545" y="56433"/>
                </a:moveTo>
                <a:cubicBezTo>
                  <a:pt x="3539954" y="56433"/>
                  <a:pt x="3547921" y="57882"/>
                  <a:pt x="3546653" y="59874"/>
                </a:cubicBezTo>
                <a:cubicBezTo>
                  <a:pt x="3538659" y="63262"/>
                  <a:pt x="3529939" y="64568"/>
                  <a:pt x="3521302" y="63677"/>
                </a:cubicBezTo>
                <a:cubicBezTo>
                  <a:pt x="3508809" y="63677"/>
                  <a:pt x="3500841" y="62228"/>
                  <a:pt x="3503195" y="60055"/>
                </a:cubicBezTo>
                <a:cubicBezTo>
                  <a:pt x="3511253" y="56910"/>
                  <a:pt x="3519930" y="55671"/>
                  <a:pt x="3528545" y="56433"/>
                </a:cubicBezTo>
                <a:close/>
                <a:moveTo>
                  <a:pt x="4651589" y="55889"/>
                </a:moveTo>
                <a:cubicBezTo>
                  <a:pt x="4659602" y="55448"/>
                  <a:pt x="4667619" y="56682"/>
                  <a:pt x="4675130" y="59511"/>
                </a:cubicBezTo>
                <a:cubicBezTo>
                  <a:pt x="4677121" y="61503"/>
                  <a:pt x="4668611" y="63132"/>
                  <a:pt x="4656659" y="62952"/>
                </a:cubicBezTo>
                <a:cubicBezTo>
                  <a:pt x="4648283" y="63591"/>
                  <a:pt x="4639871" y="62353"/>
                  <a:pt x="4632033" y="59330"/>
                </a:cubicBezTo>
                <a:cubicBezTo>
                  <a:pt x="4630765" y="57338"/>
                  <a:pt x="4639820" y="55708"/>
                  <a:pt x="4651589" y="55889"/>
                </a:cubicBezTo>
                <a:close/>
                <a:moveTo>
                  <a:pt x="3329539" y="54623"/>
                </a:moveTo>
                <a:cubicBezTo>
                  <a:pt x="3341853" y="54623"/>
                  <a:pt x="3346923" y="54623"/>
                  <a:pt x="3344389" y="57157"/>
                </a:cubicBezTo>
                <a:cubicBezTo>
                  <a:pt x="3336891" y="59752"/>
                  <a:pt x="3328944" y="60800"/>
                  <a:pt x="3321030" y="60235"/>
                </a:cubicBezTo>
                <a:cubicBezTo>
                  <a:pt x="3309983" y="60235"/>
                  <a:pt x="3304371" y="58606"/>
                  <a:pt x="3307449" y="56796"/>
                </a:cubicBezTo>
                <a:cubicBezTo>
                  <a:pt x="3314586" y="54558"/>
                  <a:pt x="3322104" y="53819"/>
                  <a:pt x="3329539" y="54623"/>
                </a:cubicBezTo>
                <a:close/>
                <a:moveTo>
                  <a:pt x="4547471" y="54623"/>
                </a:moveTo>
                <a:cubicBezTo>
                  <a:pt x="4556209" y="53733"/>
                  <a:pt x="4565032" y="54976"/>
                  <a:pt x="4573183" y="58244"/>
                </a:cubicBezTo>
                <a:cubicBezTo>
                  <a:pt x="4574813" y="60237"/>
                  <a:pt x="4567208" y="61685"/>
                  <a:pt x="4555076" y="61866"/>
                </a:cubicBezTo>
                <a:cubicBezTo>
                  <a:pt x="4546279" y="62706"/>
                  <a:pt x="4537409" y="61465"/>
                  <a:pt x="4529181" y="58244"/>
                </a:cubicBezTo>
                <a:cubicBezTo>
                  <a:pt x="4527732" y="55708"/>
                  <a:pt x="4535339" y="54623"/>
                  <a:pt x="4547471" y="54623"/>
                </a:cubicBezTo>
                <a:close/>
                <a:moveTo>
                  <a:pt x="3427687" y="54623"/>
                </a:moveTo>
                <a:cubicBezTo>
                  <a:pt x="3438912" y="54623"/>
                  <a:pt x="3448148" y="56252"/>
                  <a:pt x="3445794" y="58064"/>
                </a:cubicBezTo>
                <a:cubicBezTo>
                  <a:pt x="3438390" y="60819"/>
                  <a:pt x="3430508" y="62051"/>
                  <a:pt x="3422617" y="61686"/>
                </a:cubicBezTo>
                <a:cubicBezTo>
                  <a:pt x="3411933" y="61686"/>
                  <a:pt x="3403060" y="60237"/>
                  <a:pt x="3404509" y="58606"/>
                </a:cubicBezTo>
                <a:cubicBezTo>
                  <a:pt x="3411830" y="55524"/>
                  <a:pt x="3419757" y="54163"/>
                  <a:pt x="3427687" y="54623"/>
                </a:cubicBezTo>
                <a:close/>
                <a:moveTo>
                  <a:pt x="4443712" y="52812"/>
                </a:moveTo>
                <a:cubicBezTo>
                  <a:pt x="4452213" y="51909"/>
                  <a:pt x="4460804" y="53154"/>
                  <a:pt x="4468699" y="56433"/>
                </a:cubicBezTo>
                <a:cubicBezTo>
                  <a:pt x="4470511" y="58606"/>
                  <a:pt x="4462544" y="60054"/>
                  <a:pt x="4449506" y="60237"/>
                </a:cubicBezTo>
                <a:cubicBezTo>
                  <a:pt x="4440632" y="61222"/>
                  <a:pt x="4431653" y="59912"/>
                  <a:pt x="4423431" y="56433"/>
                </a:cubicBezTo>
                <a:cubicBezTo>
                  <a:pt x="4422344" y="54260"/>
                  <a:pt x="4430674" y="52812"/>
                  <a:pt x="4443712" y="52812"/>
                </a:cubicBezTo>
                <a:close/>
                <a:moveTo>
                  <a:pt x="3230852" y="51906"/>
                </a:moveTo>
                <a:cubicBezTo>
                  <a:pt x="3239364" y="52450"/>
                  <a:pt x="3246426" y="54623"/>
                  <a:pt x="3244977" y="54623"/>
                </a:cubicBezTo>
                <a:cubicBezTo>
                  <a:pt x="3238274" y="56863"/>
                  <a:pt x="3231214" y="57844"/>
                  <a:pt x="3224153" y="57521"/>
                </a:cubicBezTo>
                <a:cubicBezTo>
                  <a:pt x="3215461" y="57521"/>
                  <a:pt x="3208399" y="56252"/>
                  <a:pt x="3210211" y="54804"/>
                </a:cubicBezTo>
                <a:cubicBezTo>
                  <a:pt x="3216855" y="52576"/>
                  <a:pt x="3223853" y="51591"/>
                  <a:pt x="3230852" y="51906"/>
                </a:cubicBezTo>
                <a:close/>
                <a:moveTo>
                  <a:pt x="3132349" y="51724"/>
                </a:moveTo>
                <a:cubicBezTo>
                  <a:pt x="3140497" y="51724"/>
                  <a:pt x="3145567" y="52812"/>
                  <a:pt x="3143756" y="54080"/>
                </a:cubicBezTo>
                <a:cubicBezTo>
                  <a:pt x="3137581" y="56142"/>
                  <a:pt x="3131054" y="56943"/>
                  <a:pt x="3124562" y="56433"/>
                </a:cubicBezTo>
                <a:cubicBezTo>
                  <a:pt x="3116414" y="56433"/>
                  <a:pt x="3111886" y="55346"/>
                  <a:pt x="3114241" y="53897"/>
                </a:cubicBezTo>
                <a:cubicBezTo>
                  <a:pt x="3120116" y="52175"/>
                  <a:pt x="3126233" y="51441"/>
                  <a:pt x="3132349" y="51724"/>
                </a:cubicBezTo>
                <a:close/>
                <a:moveTo>
                  <a:pt x="3030582" y="50821"/>
                </a:moveTo>
                <a:cubicBezTo>
                  <a:pt x="3037644" y="50821"/>
                  <a:pt x="3040903" y="51726"/>
                  <a:pt x="3038549" y="52994"/>
                </a:cubicBezTo>
                <a:cubicBezTo>
                  <a:pt x="3033764" y="54239"/>
                  <a:pt x="3028823" y="54788"/>
                  <a:pt x="3023882" y="54623"/>
                </a:cubicBezTo>
                <a:cubicBezTo>
                  <a:pt x="3016640" y="54623"/>
                  <a:pt x="3013379" y="54623"/>
                  <a:pt x="3015915" y="52631"/>
                </a:cubicBezTo>
                <a:cubicBezTo>
                  <a:pt x="3020668" y="51209"/>
                  <a:pt x="3025626" y="50597"/>
                  <a:pt x="3030582" y="50821"/>
                </a:cubicBezTo>
                <a:close/>
                <a:moveTo>
                  <a:pt x="4342490" y="50639"/>
                </a:moveTo>
                <a:cubicBezTo>
                  <a:pt x="4351370" y="50007"/>
                  <a:pt x="4360280" y="51369"/>
                  <a:pt x="4368565" y="54621"/>
                </a:cubicBezTo>
                <a:cubicBezTo>
                  <a:pt x="4370014" y="56614"/>
                  <a:pt x="4359873" y="58606"/>
                  <a:pt x="4347199" y="58606"/>
                </a:cubicBezTo>
                <a:cubicBezTo>
                  <a:pt x="4338258" y="59269"/>
                  <a:pt x="4329283" y="57908"/>
                  <a:pt x="4320941" y="54621"/>
                </a:cubicBezTo>
                <a:cubicBezTo>
                  <a:pt x="4319855" y="52448"/>
                  <a:pt x="4329815" y="50639"/>
                  <a:pt x="4342490" y="50639"/>
                </a:cubicBezTo>
                <a:close/>
                <a:moveTo>
                  <a:pt x="4243261" y="49553"/>
                </a:moveTo>
                <a:cubicBezTo>
                  <a:pt x="4251852" y="48749"/>
                  <a:pt x="4260507" y="50117"/>
                  <a:pt x="4268431" y="53536"/>
                </a:cubicBezTo>
                <a:cubicBezTo>
                  <a:pt x="4268431" y="55528"/>
                  <a:pt x="4258471" y="57520"/>
                  <a:pt x="4245977" y="57520"/>
                </a:cubicBezTo>
                <a:cubicBezTo>
                  <a:pt x="4233482" y="57520"/>
                  <a:pt x="4220083" y="55528"/>
                  <a:pt x="4220083" y="53355"/>
                </a:cubicBezTo>
                <a:cubicBezTo>
                  <a:pt x="4220083" y="51182"/>
                  <a:pt x="4231128" y="49553"/>
                  <a:pt x="4243261" y="49553"/>
                </a:cubicBezTo>
                <a:close/>
                <a:moveTo>
                  <a:pt x="4143487" y="48466"/>
                </a:moveTo>
                <a:cubicBezTo>
                  <a:pt x="4151887" y="47585"/>
                  <a:pt x="4160370" y="48895"/>
                  <a:pt x="4168113" y="52268"/>
                </a:cubicBezTo>
                <a:cubicBezTo>
                  <a:pt x="4168657" y="54623"/>
                  <a:pt x="4157973" y="56253"/>
                  <a:pt x="4145296" y="56253"/>
                </a:cubicBezTo>
                <a:cubicBezTo>
                  <a:pt x="4136660" y="57194"/>
                  <a:pt x="4127926" y="55884"/>
                  <a:pt x="4119945" y="52450"/>
                </a:cubicBezTo>
                <a:cubicBezTo>
                  <a:pt x="4118860" y="50458"/>
                  <a:pt x="4130630" y="48466"/>
                  <a:pt x="4143487" y="48466"/>
                </a:cubicBezTo>
                <a:close/>
                <a:moveTo>
                  <a:pt x="5048512" y="47017"/>
                </a:moveTo>
                <a:cubicBezTo>
                  <a:pt x="5053385" y="46588"/>
                  <a:pt x="5058289" y="47333"/>
                  <a:pt x="5062816" y="49190"/>
                </a:cubicBezTo>
                <a:cubicBezTo>
                  <a:pt x="5063723" y="50095"/>
                  <a:pt x="5059919" y="50820"/>
                  <a:pt x="5053219" y="50820"/>
                </a:cubicBezTo>
                <a:cubicBezTo>
                  <a:pt x="5048550" y="50987"/>
                  <a:pt x="5043888" y="50314"/>
                  <a:pt x="5039457" y="48829"/>
                </a:cubicBezTo>
                <a:cubicBezTo>
                  <a:pt x="5037465" y="47742"/>
                  <a:pt x="5041086" y="47017"/>
                  <a:pt x="5048512" y="47017"/>
                </a:cubicBezTo>
                <a:close/>
                <a:moveTo>
                  <a:pt x="4044617" y="46836"/>
                </a:moveTo>
                <a:cubicBezTo>
                  <a:pt x="4057111" y="46836"/>
                  <a:pt x="4067976" y="48647"/>
                  <a:pt x="4067795" y="50638"/>
                </a:cubicBezTo>
                <a:cubicBezTo>
                  <a:pt x="4067613" y="52630"/>
                  <a:pt x="4056387" y="54623"/>
                  <a:pt x="4043710" y="54442"/>
                </a:cubicBezTo>
                <a:cubicBezTo>
                  <a:pt x="4031036" y="54259"/>
                  <a:pt x="4020171" y="52630"/>
                  <a:pt x="4020533" y="50457"/>
                </a:cubicBezTo>
                <a:cubicBezTo>
                  <a:pt x="4020896" y="48284"/>
                  <a:pt x="4032122" y="46655"/>
                  <a:pt x="4044617" y="46836"/>
                </a:cubicBezTo>
                <a:close/>
                <a:moveTo>
                  <a:pt x="3945026" y="45749"/>
                </a:moveTo>
                <a:cubicBezTo>
                  <a:pt x="3957520" y="45568"/>
                  <a:pt x="3968385" y="47378"/>
                  <a:pt x="3968022" y="49551"/>
                </a:cubicBezTo>
                <a:cubicBezTo>
                  <a:pt x="3968022" y="51543"/>
                  <a:pt x="3956252" y="53354"/>
                  <a:pt x="3943577" y="53172"/>
                </a:cubicBezTo>
                <a:cubicBezTo>
                  <a:pt x="3930901" y="52991"/>
                  <a:pt x="3921304" y="51362"/>
                  <a:pt x="3921304" y="49189"/>
                </a:cubicBezTo>
                <a:cubicBezTo>
                  <a:pt x="3928832" y="46203"/>
                  <a:pt x="3936958" y="45024"/>
                  <a:pt x="3945026" y="45749"/>
                </a:cubicBezTo>
                <a:close/>
                <a:moveTo>
                  <a:pt x="4946384" y="44844"/>
                </a:moveTo>
                <a:cubicBezTo>
                  <a:pt x="4952169" y="44576"/>
                  <a:pt x="4957950" y="45437"/>
                  <a:pt x="4963406" y="47380"/>
                </a:cubicBezTo>
                <a:cubicBezTo>
                  <a:pt x="4964131" y="48648"/>
                  <a:pt x="4958878" y="49553"/>
                  <a:pt x="4951635" y="49372"/>
                </a:cubicBezTo>
                <a:cubicBezTo>
                  <a:pt x="4946061" y="49589"/>
                  <a:pt x="4940487" y="48853"/>
                  <a:pt x="4935158" y="47199"/>
                </a:cubicBezTo>
                <a:cubicBezTo>
                  <a:pt x="4933166" y="45931"/>
                  <a:pt x="4938416" y="44844"/>
                  <a:pt x="4946384" y="44844"/>
                </a:cubicBezTo>
                <a:close/>
                <a:moveTo>
                  <a:pt x="3843440" y="44121"/>
                </a:moveTo>
                <a:cubicBezTo>
                  <a:pt x="3856114" y="44121"/>
                  <a:pt x="3864988" y="45751"/>
                  <a:pt x="3864264" y="47743"/>
                </a:cubicBezTo>
                <a:cubicBezTo>
                  <a:pt x="3864264" y="49916"/>
                  <a:pt x="3853580" y="51364"/>
                  <a:pt x="3840723" y="51364"/>
                </a:cubicBezTo>
                <a:cubicBezTo>
                  <a:pt x="3827866" y="51364"/>
                  <a:pt x="3819537" y="49553"/>
                  <a:pt x="3820805" y="47560"/>
                </a:cubicBezTo>
                <a:cubicBezTo>
                  <a:pt x="3827931" y="44494"/>
                  <a:pt x="3835723" y="43310"/>
                  <a:pt x="3843440" y="44121"/>
                </a:cubicBezTo>
                <a:close/>
                <a:moveTo>
                  <a:pt x="4844800" y="43576"/>
                </a:moveTo>
                <a:cubicBezTo>
                  <a:pt x="4850950" y="43019"/>
                  <a:pt x="4857145" y="43886"/>
                  <a:pt x="4862907" y="46112"/>
                </a:cubicBezTo>
                <a:cubicBezTo>
                  <a:pt x="4864900" y="47560"/>
                  <a:pt x="4859829" y="48465"/>
                  <a:pt x="4850231" y="48465"/>
                </a:cubicBezTo>
                <a:cubicBezTo>
                  <a:pt x="4844094" y="49049"/>
                  <a:pt x="4837908" y="48244"/>
                  <a:pt x="4832123" y="46112"/>
                </a:cubicBezTo>
                <a:cubicBezTo>
                  <a:pt x="4831399" y="44483"/>
                  <a:pt x="4835927" y="43576"/>
                  <a:pt x="4844800" y="43576"/>
                </a:cubicBezTo>
                <a:close/>
                <a:moveTo>
                  <a:pt x="3745658" y="43215"/>
                </a:moveTo>
                <a:cubicBezTo>
                  <a:pt x="3757427" y="43215"/>
                  <a:pt x="3765939" y="44664"/>
                  <a:pt x="3765214" y="46476"/>
                </a:cubicBezTo>
                <a:cubicBezTo>
                  <a:pt x="3757703" y="49759"/>
                  <a:pt x="3749458" y="51008"/>
                  <a:pt x="3741312" y="50097"/>
                </a:cubicBezTo>
                <a:cubicBezTo>
                  <a:pt x="3729723" y="50097"/>
                  <a:pt x="3721575" y="48468"/>
                  <a:pt x="3723204" y="46476"/>
                </a:cubicBezTo>
                <a:cubicBezTo>
                  <a:pt x="3730329" y="43643"/>
                  <a:pt x="3738021" y="42525"/>
                  <a:pt x="3745658" y="43215"/>
                </a:cubicBezTo>
                <a:close/>
                <a:moveTo>
                  <a:pt x="4741585" y="41586"/>
                </a:moveTo>
                <a:cubicBezTo>
                  <a:pt x="4748273" y="41306"/>
                  <a:pt x="4754957" y="42227"/>
                  <a:pt x="4761322" y="44301"/>
                </a:cubicBezTo>
                <a:cubicBezTo>
                  <a:pt x="4762590" y="45749"/>
                  <a:pt x="4755527" y="47017"/>
                  <a:pt x="4747016" y="47017"/>
                </a:cubicBezTo>
                <a:cubicBezTo>
                  <a:pt x="4740267" y="47325"/>
                  <a:pt x="4733518" y="46405"/>
                  <a:pt x="4727099" y="44301"/>
                </a:cubicBezTo>
                <a:cubicBezTo>
                  <a:pt x="4725831" y="42852"/>
                  <a:pt x="4733074" y="41586"/>
                  <a:pt x="4741585" y="41586"/>
                </a:cubicBezTo>
                <a:close/>
                <a:moveTo>
                  <a:pt x="3649687" y="41585"/>
                </a:moveTo>
                <a:cubicBezTo>
                  <a:pt x="3660008" y="41585"/>
                  <a:pt x="3667795" y="43034"/>
                  <a:pt x="3667795" y="44846"/>
                </a:cubicBezTo>
                <a:cubicBezTo>
                  <a:pt x="3660381" y="47787"/>
                  <a:pt x="3652383" y="48968"/>
                  <a:pt x="3644436" y="48285"/>
                </a:cubicBezTo>
                <a:cubicBezTo>
                  <a:pt x="3633209" y="48105"/>
                  <a:pt x="3624698" y="46656"/>
                  <a:pt x="3625422" y="45027"/>
                </a:cubicBezTo>
                <a:cubicBezTo>
                  <a:pt x="3633127" y="41988"/>
                  <a:pt x="3641440" y="40810"/>
                  <a:pt x="3649687" y="41585"/>
                </a:cubicBezTo>
                <a:close/>
                <a:moveTo>
                  <a:pt x="3550999" y="40678"/>
                </a:moveTo>
                <a:cubicBezTo>
                  <a:pt x="3561863" y="40678"/>
                  <a:pt x="3569107" y="41946"/>
                  <a:pt x="3567116" y="43756"/>
                </a:cubicBezTo>
                <a:cubicBezTo>
                  <a:pt x="3560457" y="46427"/>
                  <a:pt x="3553244" y="47422"/>
                  <a:pt x="3546111" y="46653"/>
                </a:cubicBezTo>
                <a:cubicBezTo>
                  <a:pt x="3535064" y="46653"/>
                  <a:pt x="3528003" y="45568"/>
                  <a:pt x="3529994" y="43756"/>
                </a:cubicBezTo>
                <a:cubicBezTo>
                  <a:pt x="3536627" y="40988"/>
                  <a:pt x="3543851" y="39929"/>
                  <a:pt x="3550999" y="40678"/>
                </a:cubicBezTo>
                <a:close/>
                <a:moveTo>
                  <a:pt x="4643080" y="40317"/>
                </a:moveTo>
                <a:cubicBezTo>
                  <a:pt x="4649671" y="39892"/>
                  <a:pt x="4656278" y="40878"/>
                  <a:pt x="4662454" y="43215"/>
                </a:cubicBezTo>
                <a:cubicBezTo>
                  <a:pt x="4664085" y="44844"/>
                  <a:pt x="4658291" y="45930"/>
                  <a:pt x="4647968" y="46112"/>
                </a:cubicBezTo>
                <a:cubicBezTo>
                  <a:pt x="4641001" y="46720"/>
                  <a:pt x="4633988" y="45663"/>
                  <a:pt x="4627507" y="43032"/>
                </a:cubicBezTo>
                <a:cubicBezTo>
                  <a:pt x="4626421" y="41403"/>
                  <a:pt x="4632758" y="40317"/>
                  <a:pt x="4643080" y="40317"/>
                </a:cubicBezTo>
                <a:close/>
                <a:moveTo>
                  <a:pt x="3454123" y="39230"/>
                </a:moveTo>
                <a:cubicBezTo>
                  <a:pt x="3464081" y="39230"/>
                  <a:pt x="3470782" y="40498"/>
                  <a:pt x="3468609" y="42128"/>
                </a:cubicBezTo>
                <a:cubicBezTo>
                  <a:pt x="3461900" y="44333"/>
                  <a:pt x="3454834" y="45253"/>
                  <a:pt x="3447785" y="44844"/>
                </a:cubicBezTo>
                <a:cubicBezTo>
                  <a:pt x="3438369" y="44844"/>
                  <a:pt x="3431850" y="43396"/>
                  <a:pt x="3434204" y="41766"/>
                </a:cubicBezTo>
                <a:cubicBezTo>
                  <a:pt x="3440635" y="39726"/>
                  <a:pt x="3447384" y="38869"/>
                  <a:pt x="3454123" y="39230"/>
                </a:cubicBezTo>
                <a:close/>
                <a:moveTo>
                  <a:pt x="4541494" y="38506"/>
                </a:moveTo>
                <a:cubicBezTo>
                  <a:pt x="4548804" y="37805"/>
                  <a:pt x="4556178" y="38797"/>
                  <a:pt x="4563043" y="41403"/>
                </a:cubicBezTo>
                <a:cubicBezTo>
                  <a:pt x="4564853" y="43215"/>
                  <a:pt x="4558697" y="44483"/>
                  <a:pt x="4547289" y="44483"/>
                </a:cubicBezTo>
                <a:cubicBezTo>
                  <a:pt x="4540198" y="45265"/>
                  <a:pt x="4533025" y="44204"/>
                  <a:pt x="4526464" y="41403"/>
                </a:cubicBezTo>
                <a:cubicBezTo>
                  <a:pt x="4525379" y="39774"/>
                  <a:pt x="4531173" y="38689"/>
                  <a:pt x="4541494" y="38506"/>
                </a:cubicBezTo>
                <a:close/>
                <a:moveTo>
                  <a:pt x="3352176" y="38506"/>
                </a:moveTo>
                <a:cubicBezTo>
                  <a:pt x="3362317" y="38325"/>
                  <a:pt x="3367748" y="39230"/>
                  <a:pt x="3366480" y="40861"/>
                </a:cubicBezTo>
                <a:cubicBezTo>
                  <a:pt x="3360733" y="43139"/>
                  <a:pt x="3354524" y="44008"/>
                  <a:pt x="3348372" y="43395"/>
                </a:cubicBezTo>
                <a:cubicBezTo>
                  <a:pt x="3338956" y="43395"/>
                  <a:pt x="3333886" y="42310"/>
                  <a:pt x="3335698" y="40861"/>
                </a:cubicBezTo>
                <a:cubicBezTo>
                  <a:pt x="3340975" y="38969"/>
                  <a:pt x="3346579" y="38169"/>
                  <a:pt x="3352176" y="38506"/>
                </a:cubicBezTo>
                <a:close/>
                <a:moveTo>
                  <a:pt x="4442988" y="37240"/>
                </a:moveTo>
                <a:cubicBezTo>
                  <a:pt x="4450606" y="36641"/>
                  <a:pt x="4458265" y="37692"/>
                  <a:pt x="4465442" y="40317"/>
                </a:cubicBezTo>
                <a:cubicBezTo>
                  <a:pt x="4466710" y="41947"/>
                  <a:pt x="4458923" y="43395"/>
                  <a:pt x="4449144" y="43395"/>
                </a:cubicBezTo>
                <a:cubicBezTo>
                  <a:pt x="4441464" y="44085"/>
                  <a:pt x="4433728" y="43034"/>
                  <a:pt x="4426510" y="40317"/>
                </a:cubicBezTo>
                <a:cubicBezTo>
                  <a:pt x="4425424" y="38869"/>
                  <a:pt x="4433209" y="37420"/>
                  <a:pt x="4442988" y="37240"/>
                </a:cubicBezTo>
                <a:close/>
                <a:moveTo>
                  <a:pt x="3257654" y="37057"/>
                </a:moveTo>
                <a:cubicBezTo>
                  <a:pt x="3265258" y="37057"/>
                  <a:pt x="3270872" y="38144"/>
                  <a:pt x="3269062" y="39230"/>
                </a:cubicBezTo>
                <a:cubicBezTo>
                  <a:pt x="3263747" y="40948"/>
                  <a:pt x="3258163" y="41686"/>
                  <a:pt x="3252584" y="41402"/>
                </a:cubicBezTo>
                <a:cubicBezTo>
                  <a:pt x="3245884" y="41402"/>
                  <a:pt x="3240814" y="40317"/>
                  <a:pt x="3242080" y="39230"/>
                </a:cubicBezTo>
                <a:cubicBezTo>
                  <a:pt x="3247090" y="37532"/>
                  <a:pt x="3252371" y="36794"/>
                  <a:pt x="3257654" y="37057"/>
                </a:cubicBezTo>
                <a:close/>
                <a:moveTo>
                  <a:pt x="3160777" y="36516"/>
                </a:moveTo>
                <a:cubicBezTo>
                  <a:pt x="3168020" y="36516"/>
                  <a:pt x="3171642" y="36516"/>
                  <a:pt x="3170554" y="37964"/>
                </a:cubicBezTo>
                <a:cubicBezTo>
                  <a:pt x="3166534" y="39563"/>
                  <a:pt x="3162188" y="40182"/>
                  <a:pt x="3157878" y="39774"/>
                </a:cubicBezTo>
                <a:cubicBezTo>
                  <a:pt x="3151179" y="39774"/>
                  <a:pt x="3147377" y="39774"/>
                  <a:pt x="3148464" y="38325"/>
                </a:cubicBezTo>
                <a:cubicBezTo>
                  <a:pt x="3152401" y="36890"/>
                  <a:pt x="3156591" y="36274"/>
                  <a:pt x="3160777" y="36516"/>
                </a:cubicBezTo>
                <a:close/>
                <a:moveTo>
                  <a:pt x="4346474" y="35428"/>
                </a:moveTo>
                <a:cubicBezTo>
                  <a:pt x="4353631" y="34899"/>
                  <a:pt x="4360816" y="36015"/>
                  <a:pt x="4367479" y="38688"/>
                </a:cubicBezTo>
                <a:cubicBezTo>
                  <a:pt x="4367479" y="40498"/>
                  <a:pt x="4358063" y="42129"/>
                  <a:pt x="4347379" y="41946"/>
                </a:cubicBezTo>
                <a:cubicBezTo>
                  <a:pt x="4336695" y="41765"/>
                  <a:pt x="4327098" y="40136"/>
                  <a:pt x="4327098" y="38507"/>
                </a:cubicBezTo>
                <a:cubicBezTo>
                  <a:pt x="4327098" y="36876"/>
                  <a:pt x="4336514" y="35428"/>
                  <a:pt x="4346474" y="35428"/>
                </a:cubicBezTo>
                <a:close/>
                <a:moveTo>
                  <a:pt x="4248873" y="34342"/>
                </a:moveTo>
                <a:cubicBezTo>
                  <a:pt x="4255975" y="33738"/>
                  <a:pt x="4263117" y="34857"/>
                  <a:pt x="4269697" y="37601"/>
                </a:cubicBezTo>
                <a:cubicBezTo>
                  <a:pt x="4270602" y="39230"/>
                  <a:pt x="4260825" y="40861"/>
                  <a:pt x="4249778" y="40861"/>
                </a:cubicBezTo>
                <a:cubicBezTo>
                  <a:pt x="4242736" y="41447"/>
                  <a:pt x="4235655" y="40331"/>
                  <a:pt x="4229136" y="37601"/>
                </a:cubicBezTo>
                <a:cubicBezTo>
                  <a:pt x="4229136" y="35791"/>
                  <a:pt x="4238189" y="34342"/>
                  <a:pt x="4248873" y="34342"/>
                </a:cubicBezTo>
                <a:close/>
                <a:moveTo>
                  <a:pt x="4148193" y="32713"/>
                </a:moveTo>
                <a:cubicBezTo>
                  <a:pt x="4155106" y="32025"/>
                  <a:pt x="4162079" y="33082"/>
                  <a:pt x="4168474" y="35791"/>
                </a:cubicBezTo>
                <a:cubicBezTo>
                  <a:pt x="4168474" y="37601"/>
                  <a:pt x="4159058" y="39232"/>
                  <a:pt x="4148193" y="39232"/>
                </a:cubicBezTo>
                <a:cubicBezTo>
                  <a:pt x="4137329" y="39232"/>
                  <a:pt x="4127188" y="37421"/>
                  <a:pt x="4127732" y="35611"/>
                </a:cubicBezTo>
                <a:cubicBezTo>
                  <a:pt x="4134198" y="32934"/>
                  <a:pt x="4141237" y="31936"/>
                  <a:pt x="4148193" y="32713"/>
                </a:cubicBezTo>
                <a:close/>
                <a:moveTo>
                  <a:pt x="4051497" y="31625"/>
                </a:moveTo>
                <a:cubicBezTo>
                  <a:pt x="4061638" y="31625"/>
                  <a:pt x="4071054" y="33254"/>
                  <a:pt x="4071054" y="34884"/>
                </a:cubicBezTo>
                <a:cubicBezTo>
                  <a:pt x="4071054" y="36513"/>
                  <a:pt x="4061457" y="37961"/>
                  <a:pt x="4051317" y="37961"/>
                </a:cubicBezTo>
                <a:cubicBezTo>
                  <a:pt x="4041176" y="37961"/>
                  <a:pt x="4029950" y="36513"/>
                  <a:pt x="4030855" y="34703"/>
                </a:cubicBezTo>
                <a:cubicBezTo>
                  <a:pt x="4037395" y="32057"/>
                  <a:pt x="4044471" y="31002"/>
                  <a:pt x="4051497" y="31625"/>
                </a:cubicBezTo>
                <a:close/>
                <a:moveTo>
                  <a:pt x="3954622" y="29996"/>
                </a:moveTo>
                <a:cubicBezTo>
                  <a:pt x="3964580" y="29996"/>
                  <a:pt x="3974179" y="31625"/>
                  <a:pt x="3973816" y="33254"/>
                </a:cubicBezTo>
                <a:cubicBezTo>
                  <a:pt x="3967196" y="35840"/>
                  <a:pt x="3960076" y="36893"/>
                  <a:pt x="3952991" y="36334"/>
                </a:cubicBezTo>
                <a:cubicBezTo>
                  <a:pt x="3943033" y="36334"/>
                  <a:pt x="3933617" y="34522"/>
                  <a:pt x="3934883" y="32893"/>
                </a:cubicBezTo>
                <a:cubicBezTo>
                  <a:pt x="3941172" y="30502"/>
                  <a:pt x="3947909" y="29513"/>
                  <a:pt x="3954622" y="29996"/>
                </a:cubicBezTo>
                <a:close/>
                <a:moveTo>
                  <a:pt x="4929907" y="29995"/>
                </a:moveTo>
                <a:cubicBezTo>
                  <a:pt x="4934125" y="29699"/>
                  <a:pt x="4938363" y="30189"/>
                  <a:pt x="4942401" y="31444"/>
                </a:cubicBezTo>
                <a:cubicBezTo>
                  <a:pt x="4944213" y="32351"/>
                  <a:pt x="4940228" y="33256"/>
                  <a:pt x="4934253" y="33075"/>
                </a:cubicBezTo>
                <a:cubicBezTo>
                  <a:pt x="4930202" y="33305"/>
                  <a:pt x="4926143" y="32752"/>
                  <a:pt x="4922301" y="31444"/>
                </a:cubicBezTo>
                <a:cubicBezTo>
                  <a:pt x="4921215" y="30719"/>
                  <a:pt x="4924656" y="29995"/>
                  <a:pt x="4929907" y="29995"/>
                </a:cubicBezTo>
                <a:close/>
                <a:moveTo>
                  <a:pt x="3857745" y="29090"/>
                </a:moveTo>
                <a:cubicBezTo>
                  <a:pt x="3868247" y="28909"/>
                  <a:pt x="3875853" y="30177"/>
                  <a:pt x="3875853" y="31987"/>
                </a:cubicBezTo>
                <a:cubicBezTo>
                  <a:pt x="3875853" y="33799"/>
                  <a:pt x="3868429" y="34884"/>
                  <a:pt x="3857745" y="34884"/>
                </a:cubicBezTo>
                <a:cubicBezTo>
                  <a:pt x="3846700" y="34884"/>
                  <a:pt x="3839637" y="33799"/>
                  <a:pt x="3839637" y="32168"/>
                </a:cubicBezTo>
                <a:cubicBezTo>
                  <a:pt x="3839637" y="30538"/>
                  <a:pt x="3847241" y="29270"/>
                  <a:pt x="3857745" y="29090"/>
                </a:cubicBezTo>
                <a:close/>
                <a:moveTo>
                  <a:pt x="4832125" y="28185"/>
                </a:moveTo>
                <a:cubicBezTo>
                  <a:pt x="4836416" y="27905"/>
                  <a:pt x="4840720" y="28459"/>
                  <a:pt x="4844800" y="29814"/>
                </a:cubicBezTo>
                <a:cubicBezTo>
                  <a:pt x="4846429" y="30901"/>
                  <a:pt x="4842446" y="31626"/>
                  <a:pt x="4835384" y="31626"/>
                </a:cubicBezTo>
                <a:cubicBezTo>
                  <a:pt x="4831076" y="31993"/>
                  <a:pt x="4826741" y="31373"/>
                  <a:pt x="4822709" y="29814"/>
                </a:cubicBezTo>
                <a:cubicBezTo>
                  <a:pt x="4821078" y="28728"/>
                  <a:pt x="4825063" y="28004"/>
                  <a:pt x="4832125" y="28185"/>
                </a:cubicBezTo>
                <a:close/>
                <a:moveTo>
                  <a:pt x="3762678" y="27642"/>
                </a:moveTo>
                <a:cubicBezTo>
                  <a:pt x="3772638" y="27461"/>
                  <a:pt x="3780786" y="28729"/>
                  <a:pt x="3779520" y="30539"/>
                </a:cubicBezTo>
                <a:cubicBezTo>
                  <a:pt x="3773596" y="33107"/>
                  <a:pt x="3767094" y="34044"/>
                  <a:pt x="3760688" y="33255"/>
                </a:cubicBezTo>
                <a:cubicBezTo>
                  <a:pt x="3750547" y="33255"/>
                  <a:pt x="3744029" y="31987"/>
                  <a:pt x="3744570" y="30539"/>
                </a:cubicBezTo>
                <a:cubicBezTo>
                  <a:pt x="3745114" y="29090"/>
                  <a:pt x="3752720" y="27822"/>
                  <a:pt x="3762678" y="27642"/>
                </a:cubicBezTo>
                <a:close/>
                <a:moveTo>
                  <a:pt x="3664174" y="26738"/>
                </a:moveTo>
                <a:cubicBezTo>
                  <a:pt x="3673047" y="26556"/>
                  <a:pt x="3680834" y="28004"/>
                  <a:pt x="3679927" y="29453"/>
                </a:cubicBezTo>
                <a:cubicBezTo>
                  <a:pt x="3674134" y="31557"/>
                  <a:pt x="3667967" y="32421"/>
                  <a:pt x="3661819" y="31989"/>
                </a:cubicBezTo>
                <a:cubicBezTo>
                  <a:pt x="3652946" y="31989"/>
                  <a:pt x="3645159" y="30721"/>
                  <a:pt x="3646066" y="29272"/>
                </a:cubicBezTo>
                <a:cubicBezTo>
                  <a:pt x="3651863" y="27185"/>
                  <a:pt x="3658028" y="26322"/>
                  <a:pt x="3664174" y="26738"/>
                </a:cubicBezTo>
                <a:close/>
                <a:moveTo>
                  <a:pt x="4734524" y="26736"/>
                </a:moveTo>
                <a:cubicBezTo>
                  <a:pt x="4739668" y="26544"/>
                  <a:pt x="4744810" y="27217"/>
                  <a:pt x="4749734" y="28728"/>
                </a:cubicBezTo>
                <a:cubicBezTo>
                  <a:pt x="4751000" y="29813"/>
                  <a:pt x="4745930" y="30901"/>
                  <a:pt x="4739411" y="30901"/>
                </a:cubicBezTo>
                <a:cubicBezTo>
                  <a:pt x="4733890" y="31245"/>
                  <a:pt x="4728353" y="30509"/>
                  <a:pt x="4723115" y="28728"/>
                </a:cubicBezTo>
                <a:cubicBezTo>
                  <a:pt x="4723115" y="27641"/>
                  <a:pt x="4727822" y="26736"/>
                  <a:pt x="4734524" y="26736"/>
                </a:cubicBezTo>
                <a:close/>
                <a:moveTo>
                  <a:pt x="3569830" y="25832"/>
                </a:moveTo>
                <a:cubicBezTo>
                  <a:pt x="3578522" y="25832"/>
                  <a:pt x="3584680" y="27098"/>
                  <a:pt x="3583412" y="28365"/>
                </a:cubicBezTo>
                <a:cubicBezTo>
                  <a:pt x="3577608" y="30413"/>
                  <a:pt x="3571439" y="31215"/>
                  <a:pt x="3565304" y="30719"/>
                </a:cubicBezTo>
                <a:cubicBezTo>
                  <a:pt x="3556793" y="30719"/>
                  <a:pt x="3549913" y="29453"/>
                  <a:pt x="3551723" y="28004"/>
                </a:cubicBezTo>
                <a:cubicBezTo>
                  <a:pt x="3557571" y="26155"/>
                  <a:pt x="3563713" y="25417"/>
                  <a:pt x="3569830" y="25832"/>
                </a:cubicBezTo>
                <a:close/>
                <a:moveTo>
                  <a:pt x="4637647" y="25468"/>
                </a:moveTo>
                <a:cubicBezTo>
                  <a:pt x="4643006" y="25075"/>
                  <a:pt x="4648388" y="25879"/>
                  <a:pt x="4653399" y="27824"/>
                </a:cubicBezTo>
                <a:cubicBezTo>
                  <a:pt x="4654487" y="29090"/>
                  <a:pt x="4649236" y="29996"/>
                  <a:pt x="4641086" y="29996"/>
                </a:cubicBezTo>
                <a:cubicBezTo>
                  <a:pt x="4635725" y="30390"/>
                  <a:pt x="4630345" y="29586"/>
                  <a:pt x="4625334" y="27641"/>
                </a:cubicBezTo>
                <a:cubicBezTo>
                  <a:pt x="4624427" y="26375"/>
                  <a:pt x="4629497" y="25468"/>
                  <a:pt x="4637647" y="25468"/>
                </a:cubicBezTo>
                <a:close/>
                <a:moveTo>
                  <a:pt x="3476397" y="24564"/>
                </a:moveTo>
                <a:cubicBezTo>
                  <a:pt x="3484184" y="24564"/>
                  <a:pt x="3488891" y="25651"/>
                  <a:pt x="3487081" y="26917"/>
                </a:cubicBezTo>
                <a:cubicBezTo>
                  <a:pt x="3482038" y="28436"/>
                  <a:pt x="3476764" y="29050"/>
                  <a:pt x="3471508" y="28729"/>
                </a:cubicBezTo>
                <a:cubicBezTo>
                  <a:pt x="3463723" y="28729"/>
                  <a:pt x="3458470" y="28729"/>
                  <a:pt x="3459919" y="26556"/>
                </a:cubicBezTo>
                <a:cubicBezTo>
                  <a:pt x="3465207" y="24721"/>
                  <a:pt x="3470825" y="24041"/>
                  <a:pt x="3476397" y="24564"/>
                </a:cubicBezTo>
                <a:close/>
                <a:moveTo>
                  <a:pt x="4539501" y="23839"/>
                </a:moveTo>
                <a:cubicBezTo>
                  <a:pt x="4545326" y="23254"/>
                  <a:pt x="4551206" y="23999"/>
                  <a:pt x="4556704" y="26012"/>
                </a:cubicBezTo>
                <a:cubicBezTo>
                  <a:pt x="4558153" y="27461"/>
                  <a:pt x="4553263" y="28366"/>
                  <a:pt x="4544028" y="28366"/>
                </a:cubicBezTo>
                <a:cubicBezTo>
                  <a:pt x="4538517" y="28836"/>
                  <a:pt x="4532968" y="28159"/>
                  <a:pt x="4527732" y="26374"/>
                </a:cubicBezTo>
                <a:cubicBezTo>
                  <a:pt x="4525920" y="24925"/>
                  <a:pt x="4530629" y="23839"/>
                  <a:pt x="4539501" y="23839"/>
                </a:cubicBezTo>
                <a:close/>
                <a:moveTo>
                  <a:pt x="3380605" y="23658"/>
                </a:moveTo>
                <a:cubicBezTo>
                  <a:pt x="3386400" y="23658"/>
                  <a:pt x="3391833" y="24563"/>
                  <a:pt x="3391470" y="25468"/>
                </a:cubicBezTo>
                <a:cubicBezTo>
                  <a:pt x="3387303" y="26998"/>
                  <a:pt x="3382868" y="27675"/>
                  <a:pt x="3378432" y="27460"/>
                </a:cubicBezTo>
                <a:cubicBezTo>
                  <a:pt x="3371732" y="27460"/>
                  <a:pt x="3365757" y="27460"/>
                  <a:pt x="3366843" y="25651"/>
                </a:cubicBezTo>
                <a:cubicBezTo>
                  <a:pt x="3371265" y="24128"/>
                  <a:pt x="3375934" y="23453"/>
                  <a:pt x="3380605" y="23658"/>
                </a:cubicBezTo>
                <a:close/>
                <a:moveTo>
                  <a:pt x="4441178" y="22573"/>
                </a:moveTo>
                <a:cubicBezTo>
                  <a:pt x="4447328" y="21982"/>
                  <a:pt x="4453533" y="22849"/>
                  <a:pt x="4459286" y="25107"/>
                </a:cubicBezTo>
                <a:cubicBezTo>
                  <a:pt x="4459286" y="26375"/>
                  <a:pt x="4451680" y="27643"/>
                  <a:pt x="4443712" y="27643"/>
                </a:cubicBezTo>
                <a:cubicBezTo>
                  <a:pt x="4438110" y="27838"/>
                  <a:pt x="4432519" y="26977"/>
                  <a:pt x="4427234" y="25107"/>
                </a:cubicBezTo>
                <a:cubicBezTo>
                  <a:pt x="4425605" y="23839"/>
                  <a:pt x="4432848" y="22573"/>
                  <a:pt x="4441178" y="22573"/>
                </a:cubicBezTo>
                <a:close/>
                <a:moveTo>
                  <a:pt x="3288436" y="22391"/>
                </a:moveTo>
                <a:cubicBezTo>
                  <a:pt x="3293507" y="22573"/>
                  <a:pt x="3296767" y="23298"/>
                  <a:pt x="3295499" y="24022"/>
                </a:cubicBezTo>
                <a:cubicBezTo>
                  <a:pt x="3291699" y="25233"/>
                  <a:pt x="3287708" y="25724"/>
                  <a:pt x="3283730" y="25471"/>
                </a:cubicBezTo>
                <a:cubicBezTo>
                  <a:pt x="3278477" y="25471"/>
                  <a:pt x="3274855" y="25471"/>
                  <a:pt x="3275580" y="24022"/>
                </a:cubicBezTo>
                <a:cubicBezTo>
                  <a:pt x="3279732" y="22710"/>
                  <a:pt x="3284087" y="22159"/>
                  <a:pt x="3288436" y="22391"/>
                </a:cubicBezTo>
                <a:close/>
                <a:moveTo>
                  <a:pt x="4344481" y="20942"/>
                </a:moveTo>
                <a:cubicBezTo>
                  <a:pt x="4350630" y="20465"/>
                  <a:pt x="4356808" y="21330"/>
                  <a:pt x="4362589" y="23476"/>
                </a:cubicBezTo>
                <a:cubicBezTo>
                  <a:pt x="4363677" y="24744"/>
                  <a:pt x="4355890" y="26012"/>
                  <a:pt x="4348103" y="26012"/>
                </a:cubicBezTo>
                <a:cubicBezTo>
                  <a:pt x="4341957" y="26434"/>
                  <a:pt x="4335790" y="25571"/>
                  <a:pt x="4329995" y="23476"/>
                </a:cubicBezTo>
                <a:cubicBezTo>
                  <a:pt x="4329090" y="22210"/>
                  <a:pt x="4336333" y="20942"/>
                  <a:pt x="4344481" y="20942"/>
                </a:cubicBezTo>
                <a:close/>
                <a:moveTo>
                  <a:pt x="4249416" y="19856"/>
                </a:moveTo>
                <a:cubicBezTo>
                  <a:pt x="4255566" y="19251"/>
                  <a:pt x="4261773" y="20120"/>
                  <a:pt x="4267524" y="22392"/>
                </a:cubicBezTo>
                <a:cubicBezTo>
                  <a:pt x="4267885" y="23658"/>
                  <a:pt x="4260642" y="24926"/>
                  <a:pt x="4252494" y="24926"/>
                </a:cubicBezTo>
                <a:cubicBezTo>
                  <a:pt x="4246340" y="25643"/>
                  <a:pt x="4240106" y="24770"/>
                  <a:pt x="4234386" y="22392"/>
                </a:cubicBezTo>
                <a:cubicBezTo>
                  <a:pt x="4234386" y="21124"/>
                  <a:pt x="4241266" y="19856"/>
                  <a:pt x="4249416" y="19856"/>
                </a:cubicBezTo>
                <a:close/>
                <a:moveTo>
                  <a:pt x="4155437" y="18408"/>
                </a:moveTo>
                <a:cubicBezTo>
                  <a:pt x="4161112" y="17931"/>
                  <a:pt x="4166819" y="18799"/>
                  <a:pt x="4172096" y="20942"/>
                </a:cubicBezTo>
                <a:cubicBezTo>
                  <a:pt x="4172096" y="22390"/>
                  <a:pt x="4164309" y="23658"/>
                  <a:pt x="4155437" y="23658"/>
                </a:cubicBezTo>
                <a:cubicBezTo>
                  <a:pt x="4149821" y="24105"/>
                  <a:pt x="4144179" y="23238"/>
                  <a:pt x="4138958" y="21124"/>
                </a:cubicBezTo>
                <a:cubicBezTo>
                  <a:pt x="4138595" y="19493"/>
                  <a:pt x="4146745" y="18408"/>
                  <a:pt x="4155437" y="18408"/>
                </a:cubicBezTo>
                <a:close/>
                <a:moveTo>
                  <a:pt x="4060191" y="17320"/>
                </a:moveTo>
                <a:cubicBezTo>
                  <a:pt x="4065912" y="16698"/>
                  <a:pt x="4071699" y="17508"/>
                  <a:pt x="4077031" y="19673"/>
                </a:cubicBezTo>
                <a:cubicBezTo>
                  <a:pt x="4077031" y="20941"/>
                  <a:pt x="4069607" y="22209"/>
                  <a:pt x="4061277" y="22390"/>
                </a:cubicBezTo>
                <a:cubicBezTo>
                  <a:pt x="4055541" y="22895"/>
                  <a:pt x="4049770" y="22025"/>
                  <a:pt x="4044437" y="19854"/>
                </a:cubicBezTo>
                <a:cubicBezTo>
                  <a:pt x="4044437" y="18588"/>
                  <a:pt x="4052041" y="17320"/>
                  <a:pt x="4060191" y="17320"/>
                </a:cubicBezTo>
                <a:close/>
                <a:moveTo>
                  <a:pt x="3965485" y="15691"/>
                </a:moveTo>
                <a:cubicBezTo>
                  <a:pt x="3973091" y="15691"/>
                  <a:pt x="3979791" y="17140"/>
                  <a:pt x="3979610" y="18227"/>
                </a:cubicBezTo>
                <a:cubicBezTo>
                  <a:pt x="3974124" y="20524"/>
                  <a:pt x="3968128" y="21335"/>
                  <a:pt x="3962227" y="20581"/>
                </a:cubicBezTo>
                <a:cubicBezTo>
                  <a:pt x="3954079" y="20581"/>
                  <a:pt x="3946472" y="19313"/>
                  <a:pt x="3947377" y="18045"/>
                </a:cubicBezTo>
                <a:cubicBezTo>
                  <a:pt x="3953181" y="15997"/>
                  <a:pt x="3959350" y="15195"/>
                  <a:pt x="3965485" y="15691"/>
                </a:cubicBezTo>
                <a:close/>
                <a:moveTo>
                  <a:pt x="3870239" y="14966"/>
                </a:moveTo>
                <a:cubicBezTo>
                  <a:pt x="3879294" y="14966"/>
                  <a:pt x="3883457" y="14966"/>
                  <a:pt x="3883457" y="16959"/>
                </a:cubicBezTo>
                <a:cubicBezTo>
                  <a:pt x="3883457" y="18949"/>
                  <a:pt x="3877845" y="19312"/>
                  <a:pt x="3868971" y="19312"/>
                </a:cubicBezTo>
                <a:cubicBezTo>
                  <a:pt x="3859918" y="19312"/>
                  <a:pt x="3854304" y="19312"/>
                  <a:pt x="3854848" y="17139"/>
                </a:cubicBezTo>
                <a:cubicBezTo>
                  <a:pt x="3855392" y="14966"/>
                  <a:pt x="3861186" y="14966"/>
                  <a:pt x="3870239" y="14966"/>
                </a:cubicBezTo>
                <a:close/>
                <a:moveTo>
                  <a:pt x="3776984" y="13518"/>
                </a:moveTo>
                <a:cubicBezTo>
                  <a:pt x="3784771" y="13518"/>
                  <a:pt x="3790022" y="14423"/>
                  <a:pt x="3789480" y="15691"/>
                </a:cubicBezTo>
                <a:cubicBezTo>
                  <a:pt x="3784712" y="17590"/>
                  <a:pt x="3779547" y="18274"/>
                  <a:pt x="3774450" y="17683"/>
                </a:cubicBezTo>
                <a:cubicBezTo>
                  <a:pt x="3766482" y="17683"/>
                  <a:pt x="3761412" y="16778"/>
                  <a:pt x="3762137" y="15510"/>
                </a:cubicBezTo>
                <a:cubicBezTo>
                  <a:pt x="3766870" y="13721"/>
                  <a:pt x="3771948" y="13041"/>
                  <a:pt x="3776984" y="13518"/>
                </a:cubicBezTo>
                <a:close/>
                <a:moveTo>
                  <a:pt x="3683547" y="12613"/>
                </a:moveTo>
                <a:cubicBezTo>
                  <a:pt x="3690790" y="12613"/>
                  <a:pt x="3696585" y="13518"/>
                  <a:pt x="3695680" y="14606"/>
                </a:cubicBezTo>
                <a:cubicBezTo>
                  <a:pt x="3691176" y="16303"/>
                  <a:pt x="3686353" y="16984"/>
                  <a:pt x="3681557" y="16596"/>
                </a:cubicBezTo>
                <a:cubicBezTo>
                  <a:pt x="3674131" y="16596"/>
                  <a:pt x="3668337" y="16596"/>
                  <a:pt x="3669424" y="14423"/>
                </a:cubicBezTo>
                <a:cubicBezTo>
                  <a:pt x="3673973" y="12919"/>
                  <a:pt x="3678768" y="12303"/>
                  <a:pt x="3683547" y="12613"/>
                </a:cubicBezTo>
                <a:close/>
                <a:moveTo>
                  <a:pt x="3593009" y="11164"/>
                </a:moveTo>
                <a:cubicBezTo>
                  <a:pt x="3598623" y="11164"/>
                  <a:pt x="3603149" y="12430"/>
                  <a:pt x="3601883" y="13155"/>
                </a:cubicBezTo>
                <a:cubicBezTo>
                  <a:pt x="3597300" y="14497"/>
                  <a:pt x="3592532" y="15109"/>
                  <a:pt x="3587758" y="14966"/>
                </a:cubicBezTo>
                <a:cubicBezTo>
                  <a:pt x="3582144" y="14966"/>
                  <a:pt x="3577257" y="13879"/>
                  <a:pt x="3578161" y="12974"/>
                </a:cubicBezTo>
                <a:cubicBezTo>
                  <a:pt x="3582981" y="11575"/>
                  <a:pt x="3587996" y="10963"/>
                  <a:pt x="3593009" y="11164"/>
                </a:cubicBezTo>
                <a:close/>
                <a:moveTo>
                  <a:pt x="4628592" y="10982"/>
                </a:moveTo>
                <a:cubicBezTo>
                  <a:pt x="4632693" y="10660"/>
                  <a:pt x="4636816" y="11153"/>
                  <a:pt x="4640725" y="12430"/>
                </a:cubicBezTo>
                <a:cubicBezTo>
                  <a:pt x="4641630" y="13518"/>
                  <a:pt x="4638008" y="14061"/>
                  <a:pt x="4631853" y="14061"/>
                </a:cubicBezTo>
                <a:cubicBezTo>
                  <a:pt x="4627972" y="14480"/>
                  <a:pt x="4624050" y="13917"/>
                  <a:pt x="4620444" y="12430"/>
                </a:cubicBezTo>
                <a:cubicBezTo>
                  <a:pt x="4620444" y="11525"/>
                  <a:pt x="4622798" y="10982"/>
                  <a:pt x="4628592" y="10982"/>
                </a:cubicBezTo>
                <a:close/>
                <a:moveTo>
                  <a:pt x="3498850" y="10440"/>
                </a:moveTo>
                <a:cubicBezTo>
                  <a:pt x="3504825" y="10440"/>
                  <a:pt x="3508627" y="11164"/>
                  <a:pt x="3507542" y="12069"/>
                </a:cubicBezTo>
                <a:cubicBezTo>
                  <a:pt x="3503658" y="13460"/>
                  <a:pt x="3499510" y="13955"/>
                  <a:pt x="3495409" y="13517"/>
                </a:cubicBezTo>
                <a:cubicBezTo>
                  <a:pt x="3489795" y="13517"/>
                  <a:pt x="3486898" y="13517"/>
                  <a:pt x="3487442" y="12069"/>
                </a:cubicBezTo>
                <a:cubicBezTo>
                  <a:pt x="3491054" y="10603"/>
                  <a:pt x="3494970" y="10045"/>
                  <a:pt x="3498850" y="10440"/>
                </a:cubicBezTo>
                <a:close/>
                <a:moveTo>
                  <a:pt x="4535155" y="9897"/>
                </a:moveTo>
                <a:cubicBezTo>
                  <a:pt x="4539197" y="9547"/>
                  <a:pt x="4543265" y="10041"/>
                  <a:pt x="4547105" y="11345"/>
                </a:cubicBezTo>
                <a:cubicBezTo>
                  <a:pt x="4548373" y="12433"/>
                  <a:pt x="4544391" y="13157"/>
                  <a:pt x="4537689" y="13157"/>
                </a:cubicBezTo>
                <a:cubicBezTo>
                  <a:pt x="4533633" y="13606"/>
                  <a:pt x="4529528" y="13045"/>
                  <a:pt x="4525739" y="11528"/>
                </a:cubicBezTo>
                <a:cubicBezTo>
                  <a:pt x="4524471" y="11528"/>
                  <a:pt x="4528274" y="9897"/>
                  <a:pt x="4535155" y="9897"/>
                </a:cubicBezTo>
                <a:close/>
                <a:moveTo>
                  <a:pt x="4441541" y="8268"/>
                </a:moveTo>
                <a:cubicBezTo>
                  <a:pt x="4445786" y="7967"/>
                  <a:pt x="4450048" y="8585"/>
                  <a:pt x="4454035" y="10077"/>
                </a:cubicBezTo>
                <a:cubicBezTo>
                  <a:pt x="4454035" y="10982"/>
                  <a:pt x="4448421" y="11889"/>
                  <a:pt x="4441902" y="11889"/>
                </a:cubicBezTo>
                <a:cubicBezTo>
                  <a:pt x="4437882" y="12077"/>
                  <a:pt x="4433867" y="11397"/>
                  <a:pt x="4430133" y="9897"/>
                </a:cubicBezTo>
                <a:cubicBezTo>
                  <a:pt x="4430133" y="8992"/>
                  <a:pt x="4435927" y="8085"/>
                  <a:pt x="4441541" y="8268"/>
                </a:cubicBezTo>
                <a:close/>
                <a:moveTo>
                  <a:pt x="4349190" y="7182"/>
                </a:moveTo>
                <a:cubicBezTo>
                  <a:pt x="4353200" y="6923"/>
                  <a:pt x="4357213" y="7541"/>
                  <a:pt x="4360960" y="8992"/>
                </a:cubicBezTo>
                <a:cubicBezTo>
                  <a:pt x="4361321" y="9897"/>
                  <a:pt x="4355890" y="10984"/>
                  <a:pt x="4349008" y="10803"/>
                </a:cubicBezTo>
                <a:cubicBezTo>
                  <a:pt x="4342672" y="10803"/>
                  <a:pt x="4335970" y="9716"/>
                  <a:pt x="4336153" y="8811"/>
                </a:cubicBezTo>
                <a:cubicBezTo>
                  <a:pt x="4340314" y="7265"/>
                  <a:pt x="4344776" y="6705"/>
                  <a:pt x="4349190" y="7182"/>
                </a:cubicBezTo>
                <a:close/>
                <a:moveTo>
                  <a:pt x="4251950" y="5550"/>
                </a:moveTo>
                <a:cubicBezTo>
                  <a:pt x="4256494" y="5231"/>
                  <a:pt x="4261055" y="5847"/>
                  <a:pt x="4265349" y="7360"/>
                </a:cubicBezTo>
                <a:cubicBezTo>
                  <a:pt x="4265349" y="8447"/>
                  <a:pt x="4260461" y="9352"/>
                  <a:pt x="4253943" y="9352"/>
                </a:cubicBezTo>
                <a:cubicBezTo>
                  <a:pt x="4249082" y="9939"/>
                  <a:pt x="4244152" y="9253"/>
                  <a:pt x="4239637" y="7360"/>
                </a:cubicBezTo>
                <a:cubicBezTo>
                  <a:pt x="4239637" y="7360"/>
                  <a:pt x="4245612" y="5550"/>
                  <a:pt x="4251950" y="5550"/>
                </a:cubicBezTo>
                <a:close/>
                <a:moveTo>
                  <a:pt x="4159421" y="4645"/>
                </a:moveTo>
                <a:cubicBezTo>
                  <a:pt x="4163670" y="4210"/>
                  <a:pt x="4167963" y="4832"/>
                  <a:pt x="4171915" y="6457"/>
                </a:cubicBezTo>
                <a:cubicBezTo>
                  <a:pt x="4171915" y="7542"/>
                  <a:pt x="4166301" y="8447"/>
                  <a:pt x="4159963" y="8447"/>
                </a:cubicBezTo>
                <a:cubicBezTo>
                  <a:pt x="4155419" y="8789"/>
                  <a:pt x="4150855" y="8171"/>
                  <a:pt x="4146564" y="6637"/>
                </a:cubicBezTo>
                <a:cubicBezTo>
                  <a:pt x="4146564" y="5550"/>
                  <a:pt x="4152359" y="4465"/>
                  <a:pt x="4159421" y="4645"/>
                </a:cubicBezTo>
                <a:close/>
                <a:moveTo>
                  <a:pt x="4067071" y="3560"/>
                </a:moveTo>
                <a:cubicBezTo>
                  <a:pt x="4073228" y="3741"/>
                  <a:pt x="4079384" y="4646"/>
                  <a:pt x="4079203" y="5550"/>
                </a:cubicBezTo>
                <a:cubicBezTo>
                  <a:pt x="4074903" y="7045"/>
                  <a:pt x="4070346" y="7661"/>
                  <a:pt x="4065805" y="7362"/>
                </a:cubicBezTo>
                <a:cubicBezTo>
                  <a:pt x="4059466" y="7362"/>
                  <a:pt x="4053852" y="6094"/>
                  <a:pt x="4054577" y="5189"/>
                </a:cubicBezTo>
                <a:cubicBezTo>
                  <a:pt x="4058622" y="3954"/>
                  <a:pt x="4062845" y="3404"/>
                  <a:pt x="4067071" y="3560"/>
                </a:cubicBezTo>
                <a:close/>
                <a:moveTo>
                  <a:pt x="3974722" y="2292"/>
                </a:moveTo>
                <a:cubicBezTo>
                  <a:pt x="3980517" y="2292"/>
                  <a:pt x="3987399" y="2292"/>
                  <a:pt x="3987216" y="4102"/>
                </a:cubicBezTo>
                <a:cubicBezTo>
                  <a:pt x="3983513" y="5466"/>
                  <a:pt x="3979562" y="6021"/>
                  <a:pt x="3975627" y="5734"/>
                </a:cubicBezTo>
                <a:cubicBezTo>
                  <a:pt x="3971574" y="6082"/>
                  <a:pt x="3967491" y="5523"/>
                  <a:pt x="3963677" y="4102"/>
                </a:cubicBezTo>
                <a:cubicBezTo>
                  <a:pt x="3963677" y="3197"/>
                  <a:pt x="3968928" y="2292"/>
                  <a:pt x="3974722" y="2292"/>
                </a:cubicBezTo>
                <a:close/>
                <a:moveTo>
                  <a:pt x="3882915" y="1385"/>
                </a:moveTo>
                <a:cubicBezTo>
                  <a:pt x="3888890" y="1385"/>
                  <a:pt x="3894143" y="1385"/>
                  <a:pt x="3893780" y="3014"/>
                </a:cubicBezTo>
                <a:cubicBezTo>
                  <a:pt x="3893419" y="4645"/>
                  <a:pt x="3889254" y="4645"/>
                  <a:pt x="3883279" y="4645"/>
                </a:cubicBezTo>
                <a:cubicBezTo>
                  <a:pt x="3876577" y="4645"/>
                  <a:pt x="3872051" y="4645"/>
                  <a:pt x="3872595" y="3014"/>
                </a:cubicBezTo>
                <a:cubicBezTo>
                  <a:pt x="3873138" y="1385"/>
                  <a:pt x="3876941" y="1385"/>
                  <a:pt x="3882915" y="1385"/>
                </a:cubicBezTo>
                <a:close/>
                <a:moveTo>
                  <a:pt x="3792013" y="119"/>
                </a:moveTo>
                <a:cubicBezTo>
                  <a:pt x="3797988" y="300"/>
                  <a:pt x="3802153" y="300"/>
                  <a:pt x="3801792" y="1568"/>
                </a:cubicBezTo>
                <a:cubicBezTo>
                  <a:pt x="3801792" y="1568"/>
                  <a:pt x="3797083" y="3016"/>
                  <a:pt x="3791108" y="3016"/>
                </a:cubicBezTo>
                <a:cubicBezTo>
                  <a:pt x="3785133" y="3016"/>
                  <a:pt x="3781329" y="3016"/>
                  <a:pt x="3782236" y="1385"/>
                </a:cubicBezTo>
                <a:cubicBezTo>
                  <a:pt x="3785350" y="201"/>
                  <a:pt x="3788700" y="-234"/>
                  <a:pt x="3792013" y="119"/>
                </a:cubicBezTo>
                <a:close/>
              </a:path>
            </a:pathLst>
          </a:custGeom>
          <a:gradFill flip="none" rotWithShape="1">
            <a:gsLst>
              <a:gs pos="0">
                <a:srgbClr val="014C6C">
                  <a:alpha val="23015"/>
                </a:srgbClr>
              </a:gs>
              <a:gs pos="89000">
                <a:srgbClr val="014C6C">
                  <a:alpha val="0"/>
                </a:srgbClr>
              </a:gs>
            </a:gsLst>
            <a:lin ang="16200000" scaled="1"/>
            <a:tileRect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9E62DC6F-138E-466A-85D1-9B1BF3AE43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8080" y="513656"/>
            <a:ext cx="1432115" cy="359668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B23DD00F-0EF8-26E3-EC87-3310EEE30CCA}"/>
              </a:ext>
            </a:extLst>
          </p:cNvPr>
          <p:cNvSpPr/>
          <p:nvPr userDrawn="1"/>
        </p:nvSpPr>
        <p:spPr>
          <a:xfrm>
            <a:off x="2850065" y="6535273"/>
            <a:ext cx="6495045" cy="2462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583">
              <a:defRPr/>
            </a:pPr>
            <a:r>
              <a:rPr lang="en-US" altLang="zh-CN" sz="1000" dirty="0">
                <a:solidFill>
                  <a:prstClr val="white">
                    <a:lumMod val="50000"/>
                  </a:prst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libaba PuHuiTi L" pitchFamily="18" charset="-122"/>
              </a:rPr>
              <a:t>Copyright © 2026 AAC Technologies. Confidential. All Rights Reserved.</a:t>
            </a:r>
          </a:p>
        </p:txBody>
      </p:sp>
      <p:sp>
        <p:nvSpPr>
          <p:cNvPr id="4" name="标题 9">
            <a:extLst>
              <a:ext uri="{FF2B5EF4-FFF2-40B4-BE49-F238E27FC236}">
                <a16:creationId xmlns:a16="http://schemas.microsoft.com/office/drawing/2014/main" id="{26CBDF4C-C671-A02F-A49A-5C4650717C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474" y="513284"/>
            <a:ext cx="9006299" cy="504740"/>
          </a:xfrm>
          <a:prstGeom prst="rect">
            <a:avLst/>
          </a:prstGeom>
        </p:spPr>
        <p:txBody>
          <a:bodyPr anchor="t"/>
          <a:lstStyle>
            <a:lvl1pPr>
              <a:defRPr sz="2400">
                <a:solidFill>
                  <a:srgbClr val="004D6D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5419A0B3-7B8E-CC23-9214-DF9360569B08}"/>
              </a:ext>
            </a:extLst>
          </p:cNvPr>
          <p:cNvGrpSpPr/>
          <p:nvPr userDrawn="1"/>
        </p:nvGrpSpPr>
        <p:grpSpPr>
          <a:xfrm>
            <a:off x="-934169" y="26732"/>
            <a:ext cx="648072" cy="647188"/>
            <a:chOff x="-1679277" y="42838"/>
            <a:chExt cx="1096724" cy="1091941"/>
          </a:xfrm>
        </p:grpSpPr>
        <p:sp>
          <p:nvSpPr>
            <p:cNvPr id="7" name="椭圆 6">
              <a:extLst>
                <a:ext uri="{FF2B5EF4-FFF2-40B4-BE49-F238E27FC236}">
                  <a16:creationId xmlns:a16="http://schemas.microsoft.com/office/drawing/2014/main" id="{BD71A3BD-FA36-5582-D119-96466BCB0698}"/>
                </a:ext>
              </a:extLst>
            </p:cNvPr>
            <p:cNvSpPr/>
            <p:nvPr/>
          </p:nvSpPr>
          <p:spPr bwMode="auto">
            <a:xfrm>
              <a:off x="-1679277" y="445101"/>
              <a:ext cx="689678" cy="68967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marL="0" marR="0" lvl="0" indent="0" algn="ctr" defTabSz="1088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1655B1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163407AD-3DA7-8912-5C56-0C4CBE67742A}"/>
                </a:ext>
              </a:extLst>
            </p:cNvPr>
            <p:cNvSpPr/>
            <p:nvPr/>
          </p:nvSpPr>
          <p:spPr bwMode="auto">
            <a:xfrm>
              <a:off x="-1272231" y="445101"/>
              <a:ext cx="689678" cy="689678"/>
            </a:xfrm>
            <a:prstGeom prst="ellipse">
              <a:avLst/>
            </a:prstGeom>
            <a:solidFill>
              <a:srgbClr val="404040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marL="0" marR="0" lvl="0" indent="0" algn="ctr" defTabSz="1088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1655B1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2D517730-A056-41A1-900E-6553F7618DAA}"/>
                </a:ext>
              </a:extLst>
            </p:cNvPr>
            <p:cNvSpPr/>
            <p:nvPr/>
          </p:nvSpPr>
          <p:spPr bwMode="auto">
            <a:xfrm>
              <a:off x="-1272231" y="42838"/>
              <a:ext cx="689678" cy="689679"/>
            </a:xfrm>
            <a:prstGeom prst="ellipse">
              <a:avLst/>
            </a:prstGeom>
            <a:solidFill>
              <a:srgbClr val="FF9847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marL="0" marR="0" lvl="0" indent="0" algn="ctr" defTabSz="1088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0" name="椭圆 9">
              <a:extLst>
                <a:ext uri="{FF2B5EF4-FFF2-40B4-BE49-F238E27FC236}">
                  <a16:creationId xmlns:a16="http://schemas.microsoft.com/office/drawing/2014/main" id="{70AAE11B-AFE4-B026-A3C9-CBABED167FFF}"/>
                </a:ext>
              </a:extLst>
            </p:cNvPr>
            <p:cNvSpPr/>
            <p:nvPr/>
          </p:nvSpPr>
          <p:spPr bwMode="auto">
            <a:xfrm>
              <a:off x="-1679277" y="42838"/>
              <a:ext cx="689678" cy="689679"/>
            </a:xfrm>
            <a:prstGeom prst="ellipse">
              <a:avLst/>
            </a:prstGeom>
            <a:solidFill>
              <a:srgbClr val="004E70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algn="ctr"/>
              <a:endParaRPr kumimoji="1" lang="zh-CN" altLang="en-US">
                <a:solidFill>
                  <a:srgbClr val="1556B4"/>
                </a:solidFill>
                <a:latin typeface="Arial"/>
                <a:ea typeface="微软雅黑"/>
              </a:endParaRPr>
            </a:p>
          </p:txBody>
        </p:sp>
      </p:grpSp>
      <p:sp>
        <p:nvSpPr>
          <p:cNvPr id="11" name="文本框 10">
            <a:extLst>
              <a:ext uri="{FF2B5EF4-FFF2-40B4-BE49-F238E27FC236}">
                <a16:creationId xmlns:a16="http://schemas.microsoft.com/office/drawing/2014/main" id="{15B6C1D1-C8A9-625A-AB3C-5252003FEC42}"/>
              </a:ext>
            </a:extLst>
          </p:cNvPr>
          <p:cNvSpPr txBox="1"/>
          <p:nvPr userDrawn="1"/>
        </p:nvSpPr>
        <p:spPr bwMode="auto">
          <a:xfrm>
            <a:off x="-1031205" y="791349"/>
            <a:ext cx="842145" cy="257369"/>
          </a:xfrm>
          <a:prstGeom prst="rect">
            <a:avLst/>
          </a:prstGeom>
          <a:noFill/>
          <a:ln>
            <a:noFill/>
          </a:ln>
        </p:spPr>
        <p:txBody>
          <a:bodyPr wrap="none" lIns="36000" tIns="36000" rIns="36000" bIns="36000" rtlCol="0">
            <a:spAutoFit/>
          </a:bodyPr>
          <a:lstStyle/>
          <a:p>
            <a:pPr algn="ctr" defTabSz="914400" eaLnBrk="1" hangingPunct="1"/>
            <a:r>
              <a:rPr kumimoji="1" lang="zh-CN" altLang="en-US" sz="1200" b="0" i="0" dirty="0">
                <a:solidFill>
                  <a:schemeClr val="tx1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</a:rPr>
              <a:t>吸取标准色</a:t>
            </a:r>
          </a:p>
        </p:txBody>
      </p:sp>
    </p:spTree>
    <p:extLst>
      <p:ext uri="{BB962C8B-B14F-4D97-AF65-F5344CB8AC3E}">
        <p14:creationId xmlns:p14="http://schemas.microsoft.com/office/powerpoint/2010/main" val="10487775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正文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任意多边形: 形状 3">
            <a:extLst>
              <a:ext uri="{FF2B5EF4-FFF2-40B4-BE49-F238E27FC236}">
                <a16:creationId xmlns:a16="http://schemas.microsoft.com/office/drawing/2014/main" id="{3773BF5B-8893-762F-757A-C8939D9C5818}"/>
              </a:ext>
            </a:extLst>
          </p:cNvPr>
          <p:cNvSpPr/>
          <p:nvPr userDrawn="1"/>
        </p:nvSpPr>
        <p:spPr>
          <a:xfrm rot="10800000">
            <a:off x="0" y="-1"/>
            <a:ext cx="12194821" cy="6859588"/>
          </a:xfrm>
          <a:custGeom>
            <a:avLst/>
            <a:gdLst>
              <a:gd name="connsiteX0" fmla="*/ 0 w 12192000"/>
              <a:gd name="connsiteY0" fmla="*/ 0 h 5022013"/>
              <a:gd name="connsiteX1" fmla="*/ 12192000 w 12192000"/>
              <a:gd name="connsiteY1" fmla="*/ 0 h 5022013"/>
              <a:gd name="connsiteX2" fmla="*/ 12192000 w 12192000"/>
              <a:gd name="connsiteY2" fmla="*/ 5022013 h 5022013"/>
              <a:gd name="connsiteX3" fmla="*/ 0 w 12192000"/>
              <a:gd name="connsiteY3" fmla="*/ 5022013 h 5022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022013">
                <a:moveTo>
                  <a:pt x="0" y="0"/>
                </a:moveTo>
                <a:lnTo>
                  <a:pt x="12192000" y="0"/>
                </a:lnTo>
                <a:lnTo>
                  <a:pt x="12192000" y="5022013"/>
                </a:lnTo>
                <a:lnTo>
                  <a:pt x="0" y="502201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10000"/>
                </a:schemeClr>
              </a:gs>
              <a:gs pos="58000">
                <a:schemeClr val="accent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BB5E839-852C-4597-9A86-B8C9CE8069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5837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6" imgH="416" progId="TCLayout.ActiveDocument.1">
                  <p:embed/>
                </p:oleObj>
              </mc:Choice>
              <mc:Fallback>
                <p:oleObj name="think-cell 幻灯片" r:id="rId3" imgW="416" imgH="41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B5E839-852C-4597-9A86-B8C9CE8069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图片 4">
            <a:extLst>
              <a:ext uri="{FF2B5EF4-FFF2-40B4-BE49-F238E27FC236}">
                <a16:creationId xmlns:a16="http://schemas.microsoft.com/office/drawing/2014/main" id="{9E62DC6F-138E-466A-85D1-9B1BF3AE43B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8080" y="513657"/>
            <a:ext cx="1432115" cy="359668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4433B785-D99C-7B93-10E2-DE4B8E8E3AFF}"/>
              </a:ext>
            </a:extLst>
          </p:cNvPr>
          <p:cNvSpPr/>
          <p:nvPr userDrawn="1"/>
        </p:nvSpPr>
        <p:spPr>
          <a:xfrm>
            <a:off x="2850065" y="6535273"/>
            <a:ext cx="6495045" cy="2462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92">
              <a:defRPr/>
            </a:pPr>
            <a:r>
              <a:rPr lang="en-US" altLang="zh-CN" sz="1000" dirty="0">
                <a:solidFill>
                  <a:prstClr val="white">
                    <a:lumMod val="50000"/>
                  </a:prst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libaba PuHuiTi L" pitchFamily="18" charset="-122"/>
              </a:rPr>
              <a:t>Copyright © 2026 AAC Technologies. Confidential. All Rights Reserved.</a:t>
            </a:r>
          </a:p>
        </p:txBody>
      </p:sp>
      <p:sp>
        <p:nvSpPr>
          <p:cNvPr id="6" name="标题 9">
            <a:extLst>
              <a:ext uri="{FF2B5EF4-FFF2-40B4-BE49-F238E27FC236}">
                <a16:creationId xmlns:a16="http://schemas.microsoft.com/office/drawing/2014/main" id="{07A599ED-7C07-8D8E-A8DA-CE1DABCA33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474" y="513284"/>
            <a:ext cx="9006299" cy="504740"/>
          </a:xfrm>
          <a:prstGeom prst="rect">
            <a:avLst/>
          </a:prstGeom>
        </p:spPr>
        <p:txBody>
          <a:bodyPr anchor="t"/>
          <a:lstStyle>
            <a:lvl1pPr>
              <a:defRPr sz="2400">
                <a:solidFill>
                  <a:srgbClr val="004D6D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4" name="圆角矩形 25">
            <a:extLst>
              <a:ext uri="{FF2B5EF4-FFF2-40B4-BE49-F238E27FC236}">
                <a16:creationId xmlns:a16="http://schemas.microsoft.com/office/drawing/2014/main" id="{AC1B0C0D-26EE-8C1A-320B-97FF120F19FC}"/>
              </a:ext>
            </a:extLst>
          </p:cNvPr>
          <p:cNvSpPr/>
          <p:nvPr userDrawn="1"/>
        </p:nvSpPr>
        <p:spPr bwMode="auto">
          <a:xfrm>
            <a:off x="625475" y="1112304"/>
            <a:ext cx="10944226" cy="5328689"/>
          </a:xfrm>
          <a:prstGeom prst="roundRect">
            <a:avLst>
              <a:gd name="adj" fmla="val 3057"/>
            </a:avLst>
          </a:prstGeom>
          <a:gradFill>
            <a:gsLst>
              <a:gs pos="0">
                <a:schemeClr val="bg1">
                  <a:alpha val="0"/>
                </a:schemeClr>
              </a:gs>
              <a:gs pos="32000">
                <a:schemeClr val="bg1"/>
              </a:gs>
            </a:gsLst>
            <a:lin ang="5400000" scaled="0"/>
          </a:gradFill>
          <a:ln w="12700">
            <a:noFill/>
          </a:ln>
          <a:effectLst>
            <a:outerShdw blurRad="254000" dist="38100" dir="2160000" algn="tl" rotWithShape="0">
              <a:schemeClr val="accent6">
                <a:lumMod val="50000"/>
                <a:alpha val="1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1088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4CD94972-8395-BF02-9C97-4E515DFADD05}"/>
              </a:ext>
            </a:extLst>
          </p:cNvPr>
          <p:cNvGrpSpPr/>
          <p:nvPr userDrawn="1"/>
        </p:nvGrpSpPr>
        <p:grpSpPr>
          <a:xfrm>
            <a:off x="-934169" y="26732"/>
            <a:ext cx="648072" cy="647188"/>
            <a:chOff x="-1679277" y="42838"/>
            <a:chExt cx="1096724" cy="1091941"/>
          </a:xfrm>
        </p:grpSpPr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715900C3-FFDC-6158-3F95-A1B6CB67248A}"/>
                </a:ext>
              </a:extLst>
            </p:cNvPr>
            <p:cNvSpPr/>
            <p:nvPr/>
          </p:nvSpPr>
          <p:spPr bwMode="auto">
            <a:xfrm>
              <a:off x="-1679277" y="445101"/>
              <a:ext cx="689678" cy="68967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marL="0" marR="0" lvl="0" indent="0" algn="ctr" defTabSz="1088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1655B1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0" name="椭圆 9">
              <a:extLst>
                <a:ext uri="{FF2B5EF4-FFF2-40B4-BE49-F238E27FC236}">
                  <a16:creationId xmlns:a16="http://schemas.microsoft.com/office/drawing/2014/main" id="{69854424-190D-4238-0D1B-A34C93993EFE}"/>
                </a:ext>
              </a:extLst>
            </p:cNvPr>
            <p:cNvSpPr/>
            <p:nvPr/>
          </p:nvSpPr>
          <p:spPr bwMode="auto">
            <a:xfrm>
              <a:off x="-1272231" y="445101"/>
              <a:ext cx="689678" cy="689678"/>
            </a:xfrm>
            <a:prstGeom prst="ellipse">
              <a:avLst/>
            </a:prstGeom>
            <a:solidFill>
              <a:srgbClr val="404040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marL="0" marR="0" lvl="0" indent="0" algn="ctr" defTabSz="1088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1655B1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4D74F7D8-E5FA-B851-57FB-6AE9EDD3C974}"/>
                </a:ext>
              </a:extLst>
            </p:cNvPr>
            <p:cNvSpPr/>
            <p:nvPr/>
          </p:nvSpPr>
          <p:spPr bwMode="auto">
            <a:xfrm>
              <a:off x="-1272231" y="42838"/>
              <a:ext cx="689678" cy="689679"/>
            </a:xfrm>
            <a:prstGeom prst="ellipse">
              <a:avLst/>
            </a:prstGeom>
            <a:solidFill>
              <a:srgbClr val="FF9847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marL="0" marR="0" lvl="0" indent="0" algn="ctr" defTabSz="1088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2" name="椭圆 11">
              <a:extLst>
                <a:ext uri="{FF2B5EF4-FFF2-40B4-BE49-F238E27FC236}">
                  <a16:creationId xmlns:a16="http://schemas.microsoft.com/office/drawing/2014/main" id="{6F6C0D5A-D992-14FE-1CC2-9BD4992CA766}"/>
                </a:ext>
              </a:extLst>
            </p:cNvPr>
            <p:cNvSpPr/>
            <p:nvPr/>
          </p:nvSpPr>
          <p:spPr bwMode="auto">
            <a:xfrm>
              <a:off x="-1679277" y="42838"/>
              <a:ext cx="689678" cy="689679"/>
            </a:xfrm>
            <a:prstGeom prst="ellipse">
              <a:avLst/>
            </a:prstGeom>
            <a:solidFill>
              <a:srgbClr val="004E70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algn="ctr"/>
              <a:endParaRPr kumimoji="1" lang="zh-CN" altLang="en-US">
                <a:solidFill>
                  <a:srgbClr val="1556B4"/>
                </a:solidFill>
                <a:latin typeface="Arial"/>
                <a:ea typeface="微软雅黑"/>
              </a:endParaRPr>
            </a:p>
          </p:txBody>
        </p:sp>
      </p:grpSp>
      <p:sp>
        <p:nvSpPr>
          <p:cNvPr id="13" name="文本框 12">
            <a:extLst>
              <a:ext uri="{FF2B5EF4-FFF2-40B4-BE49-F238E27FC236}">
                <a16:creationId xmlns:a16="http://schemas.microsoft.com/office/drawing/2014/main" id="{5BC8EF1A-BDAC-955A-19D8-3146FDE3CF73}"/>
              </a:ext>
            </a:extLst>
          </p:cNvPr>
          <p:cNvSpPr txBox="1"/>
          <p:nvPr userDrawn="1"/>
        </p:nvSpPr>
        <p:spPr bwMode="auto">
          <a:xfrm>
            <a:off x="-1031205" y="791349"/>
            <a:ext cx="842145" cy="257369"/>
          </a:xfrm>
          <a:prstGeom prst="rect">
            <a:avLst/>
          </a:prstGeom>
          <a:noFill/>
          <a:ln>
            <a:noFill/>
          </a:ln>
        </p:spPr>
        <p:txBody>
          <a:bodyPr wrap="none" lIns="36000" tIns="36000" rIns="36000" bIns="36000" rtlCol="0">
            <a:spAutoFit/>
          </a:bodyPr>
          <a:lstStyle/>
          <a:p>
            <a:pPr algn="ctr" defTabSz="914400" eaLnBrk="1" hangingPunct="1"/>
            <a:r>
              <a:rPr kumimoji="1" lang="zh-CN" altLang="en-US" sz="1200" b="0" i="0" dirty="0">
                <a:solidFill>
                  <a:schemeClr val="tx1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</a:rPr>
              <a:t>吸取标准色</a:t>
            </a:r>
          </a:p>
        </p:txBody>
      </p:sp>
    </p:spTree>
    <p:extLst>
      <p:ext uri="{BB962C8B-B14F-4D97-AF65-F5344CB8AC3E}">
        <p14:creationId xmlns:p14="http://schemas.microsoft.com/office/powerpoint/2010/main" val="3920484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正文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任意多边形: 形状 3">
            <a:extLst>
              <a:ext uri="{FF2B5EF4-FFF2-40B4-BE49-F238E27FC236}">
                <a16:creationId xmlns:a16="http://schemas.microsoft.com/office/drawing/2014/main" id="{3773BF5B-8893-762F-757A-C8939D9C5818}"/>
              </a:ext>
            </a:extLst>
          </p:cNvPr>
          <p:cNvSpPr/>
          <p:nvPr userDrawn="1"/>
        </p:nvSpPr>
        <p:spPr>
          <a:xfrm rot="10800000">
            <a:off x="0" y="-1"/>
            <a:ext cx="12194821" cy="6859588"/>
          </a:xfrm>
          <a:custGeom>
            <a:avLst/>
            <a:gdLst>
              <a:gd name="connsiteX0" fmla="*/ 0 w 12192000"/>
              <a:gd name="connsiteY0" fmla="*/ 0 h 5022013"/>
              <a:gd name="connsiteX1" fmla="*/ 12192000 w 12192000"/>
              <a:gd name="connsiteY1" fmla="*/ 0 h 5022013"/>
              <a:gd name="connsiteX2" fmla="*/ 12192000 w 12192000"/>
              <a:gd name="connsiteY2" fmla="*/ 5022013 h 5022013"/>
              <a:gd name="connsiteX3" fmla="*/ 0 w 12192000"/>
              <a:gd name="connsiteY3" fmla="*/ 5022013 h 5022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022013">
                <a:moveTo>
                  <a:pt x="0" y="0"/>
                </a:moveTo>
                <a:lnTo>
                  <a:pt x="12192000" y="0"/>
                </a:lnTo>
                <a:lnTo>
                  <a:pt x="12192000" y="5022013"/>
                </a:lnTo>
                <a:lnTo>
                  <a:pt x="0" y="502201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10000"/>
                </a:schemeClr>
              </a:gs>
              <a:gs pos="58000">
                <a:schemeClr val="accent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BB5E839-852C-4597-9A86-B8C9CE8069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5837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6" imgH="416" progId="TCLayout.ActiveDocument.1">
                  <p:embed/>
                </p:oleObj>
              </mc:Choice>
              <mc:Fallback>
                <p:oleObj name="think-cell 幻灯片" r:id="rId3" imgW="416" imgH="41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B5E839-852C-4597-9A86-B8C9CE8069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图片 4">
            <a:extLst>
              <a:ext uri="{FF2B5EF4-FFF2-40B4-BE49-F238E27FC236}">
                <a16:creationId xmlns:a16="http://schemas.microsoft.com/office/drawing/2014/main" id="{9E62DC6F-138E-466A-85D1-9B1BF3AE43B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8080" y="513657"/>
            <a:ext cx="1432115" cy="359668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4433B785-D99C-7B93-10E2-DE4B8E8E3AFF}"/>
              </a:ext>
            </a:extLst>
          </p:cNvPr>
          <p:cNvSpPr/>
          <p:nvPr userDrawn="1"/>
        </p:nvSpPr>
        <p:spPr>
          <a:xfrm>
            <a:off x="2850065" y="6535273"/>
            <a:ext cx="6495045" cy="2462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92">
              <a:defRPr/>
            </a:pPr>
            <a:r>
              <a:rPr lang="en-US" altLang="zh-CN" sz="1000" dirty="0">
                <a:solidFill>
                  <a:prstClr val="white">
                    <a:lumMod val="50000"/>
                  </a:prst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libaba PuHuiTi L" pitchFamily="18" charset="-122"/>
              </a:rPr>
              <a:t>Copyright © 2026 AAC Technologies. Confidential. All Rights Reserved.</a:t>
            </a:r>
          </a:p>
        </p:txBody>
      </p:sp>
      <p:sp>
        <p:nvSpPr>
          <p:cNvPr id="8" name="标题 9">
            <a:extLst>
              <a:ext uri="{FF2B5EF4-FFF2-40B4-BE49-F238E27FC236}">
                <a16:creationId xmlns:a16="http://schemas.microsoft.com/office/drawing/2014/main" id="{69E78B4A-4DEE-254A-45C7-7B5AB8666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474" y="513284"/>
            <a:ext cx="9006299" cy="504740"/>
          </a:xfrm>
          <a:prstGeom prst="rect">
            <a:avLst/>
          </a:prstGeom>
        </p:spPr>
        <p:txBody>
          <a:bodyPr anchor="t"/>
          <a:lstStyle>
            <a:lvl1pPr>
              <a:defRPr sz="2400">
                <a:solidFill>
                  <a:srgbClr val="004D6D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92C7F3BF-9A73-5840-C1FA-62F6016F5CDE}"/>
              </a:ext>
            </a:extLst>
          </p:cNvPr>
          <p:cNvGrpSpPr/>
          <p:nvPr userDrawn="1"/>
        </p:nvGrpSpPr>
        <p:grpSpPr>
          <a:xfrm>
            <a:off x="-934169" y="26732"/>
            <a:ext cx="648072" cy="647188"/>
            <a:chOff x="-1679277" y="42838"/>
            <a:chExt cx="1096724" cy="1091941"/>
          </a:xfrm>
        </p:grpSpPr>
        <p:sp>
          <p:nvSpPr>
            <p:cNvPr id="6" name="椭圆 5">
              <a:extLst>
                <a:ext uri="{FF2B5EF4-FFF2-40B4-BE49-F238E27FC236}">
                  <a16:creationId xmlns:a16="http://schemas.microsoft.com/office/drawing/2014/main" id="{94D53A6C-6AE7-8168-5E0D-0815FC6B7D5E}"/>
                </a:ext>
              </a:extLst>
            </p:cNvPr>
            <p:cNvSpPr/>
            <p:nvPr/>
          </p:nvSpPr>
          <p:spPr bwMode="auto">
            <a:xfrm>
              <a:off x="-1679277" y="445101"/>
              <a:ext cx="689678" cy="68967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marL="0" marR="0" lvl="0" indent="0" algn="ctr" defTabSz="1088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1655B1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76FF168B-7D2D-AD92-06C4-ADF2149B24F6}"/>
                </a:ext>
              </a:extLst>
            </p:cNvPr>
            <p:cNvSpPr/>
            <p:nvPr/>
          </p:nvSpPr>
          <p:spPr bwMode="auto">
            <a:xfrm>
              <a:off x="-1272231" y="445101"/>
              <a:ext cx="689678" cy="689678"/>
            </a:xfrm>
            <a:prstGeom prst="ellipse">
              <a:avLst/>
            </a:prstGeom>
            <a:solidFill>
              <a:srgbClr val="404040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marL="0" marR="0" lvl="0" indent="0" algn="ctr" defTabSz="1088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1655B1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0" name="椭圆 9">
              <a:extLst>
                <a:ext uri="{FF2B5EF4-FFF2-40B4-BE49-F238E27FC236}">
                  <a16:creationId xmlns:a16="http://schemas.microsoft.com/office/drawing/2014/main" id="{7888FA9B-D320-7CB4-1E18-10FDB25432D7}"/>
                </a:ext>
              </a:extLst>
            </p:cNvPr>
            <p:cNvSpPr/>
            <p:nvPr/>
          </p:nvSpPr>
          <p:spPr bwMode="auto">
            <a:xfrm>
              <a:off x="-1272231" y="42838"/>
              <a:ext cx="689678" cy="689679"/>
            </a:xfrm>
            <a:prstGeom prst="ellipse">
              <a:avLst/>
            </a:prstGeom>
            <a:solidFill>
              <a:srgbClr val="FF9847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marL="0" marR="0" lvl="0" indent="0" algn="ctr" defTabSz="1088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11F499CC-32CC-9C8E-3715-9AD88421B533}"/>
                </a:ext>
              </a:extLst>
            </p:cNvPr>
            <p:cNvSpPr/>
            <p:nvPr/>
          </p:nvSpPr>
          <p:spPr bwMode="auto">
            <a:xfrm>
              <a:off x="-1679277" y="42838"/>
              <a:ext cx="689678" cy="689679"/>
            </a:xfrm>
            <a:prstGeom prst="ellipse">
              <a:avLst/>
            </a:prstGeom>
            <a:solidFill>
              <a:srgbClr val="004E70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algn="ctr"/>
              <a:endParaRPr kumimoji="1" lang="zh-CN" altLang="en-US">
                <a:solidFill>
                  <a:srgbClr val="1556B4"/>
                </a:solidFill>
                <a:latin typeface="Arial"/>
                <a:ea typeface="微软雅黑"/>
              </a:endParaRPr>
            </a:p>
          </p:txBody>
        </p:sp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6A68DD98-807B-090F-4770-263B9F2ACFA0}"/>
              </a:ext>
            </a:extLst>
          </p:cNvPr>
          <p:cNvSpPr txBox="1"/>
          <p:nvPr userDrawn="1"/>
        </p:nvSpPr>
        <p:spPr bwMode="auto">
          <a:xfrm>
            <a:off x="-1031205" y="791349"/>
            <a:ext cx="842145" cy="257369"/>
          </a:xfrm>
          <a:prstGeom prst="rect">
            <a:avLst/>
          </a:prstGeom>
          <a:noFill/>
          <a:ln>
            <a:noFill/>
          </a:ln>
        </p:spPr>
        <p:txBody>
          <a:bodyPr wrap="none" lIns="36000" tIns="36000" rIns="36000" bIns="36000" rtlCol="0">
            <a:spAutoFit/>
          </a:bodyPr>
          <a:lstStyle/>
          <a:p>
            <a:pPr algn="ctr" defTabSz="914400" eaLnBrk="1" hangingPunct="1"/>
            <a:r>
              <a:rPr kumimoji="1" lang="zh-CN" altLang="en-US" sz="1200" b="0" i="0" dirty="0">
                <a:solidFill>
                  <a:schemeClr val="tx1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</a:rPr>
              <a:t>吸取标准色</a:t>
            </a:r>
          </a:p>
        </p:txBody>
      </p:sp>
    </p:spTree>
    <p:extLst>
      <p:ext uri="{BB962C8B-B14F-4D97-AF65-F5344CB8AC3E}">
        <p14:creationId xmlns:p14="http://schemas.microsoft.com/office/powerpoint/2010/main" val="2402356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正文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10">
            <a:extLst>
              <a:ext uri="{FF2B5EF4-FFF2-40B4-BE49-F238E27FC236}">
                <a16:creationId xmlns:a16="http://schemas.microsoft.com/office/drawing/2014/main" id="{B43E8D69-8200-D95F-C026-3FCF8379C089}"/>
              </a:ext>
            </a:extLst>
          </p:cNvPr>
          <p:cNvSpPr/>
          <p:nvPr userDrawn="1"/>
        </p:nvSpPr>
        <p:spPr>
          <a:xfrm>
            <a:off x="176" y="2"/>
            <a:ext cx="12194822" cy="6859588"/>
          </a:xfrm>
          <a:prstGeom prst="rect">
            <a:avLst/>
          </a:prstGeom>
          <a:gradFill flip="none" rotWithShape="1">
            <a:gsLst>
              <a:gs pos="80000">
                <a:schemeClr val="accent5">
                  <a:lumMod val="40000"/>
                  <a:lumOff val="60000"/>
                  <a:alpha val="0"/>
                </a:schemeClr>
              </a:gs>
              <a:gs pos="0">
                <a:schemeClr val="accent1">
                  <a:alpha val="20000"/>
                </a:schemeClr>
              </a:gs>
            </a:gsLst>
            <a:lin ang="16200000" scaled="1"/>
            <a:tileRect/>
          </a:gradFill>
          <a:ln>
            <a:noFill/>
          </a:ln>
          <a:effectLst>
            <a:glow rad="1384300">
              <a:schemeClr val="accent1">
                <a:alpha val="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91D108F0-6A1C-9CBC-E0D7-72A37A6CC30A}"/>
              </a:ext>
            </a:extLst>
          </p:cNvPr>
          <p:cNvSpPr/>
          <p:nvPr userDrawn="1"/>
        </p:nvSpPr>
        <p:spPr>
          <a:xfrm>
            <a:off x="176" y="1"/>
            <a:ext cx="12194822" cy="2910368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txBody>
          <a:bodyPr spcFirstLastPara="1" wrap="square" lIns="68591" tIns="34283" rIns="68591" bIns="34283" anchor="ctr" anchorCtr="0">
            <a:noAutofit/>
          </a:bodyPr>
          <a:lstStyle/>
          <a:p>
            <a:pPr algn="ctr"/>
            <a:endParaRPr lang="en-US" sz="1400">
              <a:latin typeface="Microsoft YaHei" panose="020B0503020204020204" pitchFamily="34" charset="-122"/>
              <a:ea typeface="Microsoft YaHei" panose="020B0503020204020204" pitchFamily="34" charset="-122"/>
              <a:cs typeface="Poppins"/>
              <a:sym typeface="+mn-lt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9E62DC6F-138E-466A-85D1-9B1BF3AE43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8080" y="513656"/>
            <a:ext cx="1432115" cy="359668"/>
          </a:xfrm>
          <a:prstGeom prst="rect">
            <a:avLst/>
          </a:prstGeom>
        </p:spPr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3B4FECC2-5EF0-5107-8705-CAB4EC47498B}"/>
              </a:ext>
            </a:extLst>
          </p:cNvPr>
          <p:cNvSpPr/>
          <p:nvPr userDrawn="1"/>
        </p:nvSpPr>
        <p:spPr>
          <a:xfrm>
            <a:off x="2850065" y="6535273"/>
            <a:ext cx="6495045" cy="2462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583">
              <a:defRPr/>
            </a:pPr>
            <a:r>
              <a:rPr lang="en-US" altLang="zh-CN" sz="1000" dirty="0">
                <a:solidFill>
                  <a:prstClr val="white">
                    <a:lumMod val="50000"/>
                  </a:prst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libaba PuHuiTi L" pitchFamily="18" charset="-122"/>
              </a:rPr>
              <a:t>Copyright © 2026 AAC Technologies. Confidential. All Rights Reserved.</a:t>
            </a: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F5BF2C9A-5F31-A447-C336-DB6CC4FD4D7C}"/>
              </a:ext>
            </a:extLst>
          </p:cNvPr>
          <p:cNvGrpSpPr/>
          <p:nvPr userDrawn="1"/>
        </p:nvGrpSpPr>
        <p:grpSpPr>
          <a:xfrm>
            <a:off x="-934169" y="26732"/>
            <a:ext cx="648072" cy="647188"/>
            <a:chOff x="-1679277" y="42838"/>
            <a:chExt cx="1096724" cy="1091941"/>
          </a:xfrm>
        </p:grpSpPr>
        <p:sp>
          <p:nvSpPr>
            <p:cNvPr id="7" name="椭圆 6">
              <a:extLst>
                <a:ext uri="{FF2B5EF4-FFF2-40B4-BE49-F238E27FC236}">
                  <a16:creationId xmlns:a16="http://schemas.microsoft.com/office/drawing/2014/main" id="{0586CAE7-97AD-BD53-736F-AD7C8EB9A8D1}"/>
                </a:ext>
              </a:extLst>
            </p:cNvPr>
            <p:cNvSpPr/>
            <p:nvPr/>
          </p:nvSpPr>
          <p:spPr bwMode="auto">
            <a:xfrm>
              <a:off x="-1679277" y="445101"/>
              <a:ext cx="689678" cy="68967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marL="0" marR="0" lvl="0" indent="0" algn="ctr" defTabSz="1088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1655B1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1AF44727-03B4-05C5-2A37-CE3BAD3B043C}"/>
                </a:ext>
              </a:extLst>
            </p:cNvPr>
            <p:cNvSpPr/>
            <p:nvPr/>
          </p:nvSpPr>
          <p:spPr bwMode="auto">
            <a:xfrm>
              <a:off x="-1272231" y="445101"/>
              <a:ext cx="689678" cy="689678"/>
            </a:xfrm>
            <a:prstGeom prst="ellipse">
              <a:avLst/>
            </a:prstGeom>
            <a:solidFill>
              <a:srgbClr val="404040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marL="0" marR="0" lvl="0" indent="0" algn="ctr" defTabSz="1088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1655B1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843F5A7E-7995-1F7D-CBF0-A2059E0E37E2}"/>
                </a:ext>
              </a:extLst>
            </p:cNvPr>
            <p:cNvSpPr/>
            <p:nvPr/>
          </p:nvSpPr>
          <p:spPr bwMode="auto">
            <a:xfrm>
              <a:off x="-1272231" y="42838"/>
              <a:ext cx="689678" cy="689679"/>
            </a:xfrm>
            <a:prstGeom prst="ellipse">
              <a:avLst/>
            </a:prstGeom>
            <a:solidFill>
              <a:srgbClr val="FF9847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marL="0" marR="0" lvl="0" indent="0" algn="ctr" defTabSz="1088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0" name="椭圆 9">
              <a:extLst>
                <a:ext uri="{FF2B5EF4-FFF2-40B4-BE49-F238E27FC236}">
                  <a16:creationId xmlns:a16="http://schemas.microsoft.com/office/drawing/2014/main" id="{C30D0CC7-5F44-751D-3672-9136D5885902}"/>
                </a:ext>
              </a:extLst>
            </p:cNvPr>
            <p:cNvSpPr/>
            <p:nvPr/>
          </p:nvSpPr>
          <p:spPr bwMode="auto">
            <a:xfrm>
              <a:off x="-1679277" y="42838"/>
              <a:ext cx="689678" cy="689679"/>
            </a:xfrm>
            <a:prstGeom prst="ellipse">
              <a:avLst/>
            </a:prstGeom>
            <a:solidFill>
              <a:srgbClr val="004E70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algn="ctr"/>
              <a:endParaRPr kumimoji="1" lang="zh-CN" altLang="en-US">
                <a:solidFill>
                  <a:srgbClr val="1556B4"/>
                </a:solidFill>
                <a:latin typeface="Arial"/>
                <a:ea typeface="微软雅黑"/>
              </a:endParaRPr>
            </a:p>
          </p:txBody>
        </p:sp>
      </p:grpSp>
      <p:sp>
        <p:nvSpPr>
          <p:cNvPr id="11" name="文本框 10">
            <a:extLst>
              <a:ext uri="{FF2B5EF4-FFF2-40B4-BE49-F238E27FC236}">
                <a16:creationId xmlns:a16="http://schemas.microsoft.com/office/drawing/2014/main" id="{14F65AD9-F7EB-9202-2174-E73BDB9A30F1}"/>
              </a:ext>
            </a:extLst>
          </p:cNvPr>
          <p:cNvSpPr txBox="1"/>
          <p:nvPr userDrawn="1"/>
        </p:nvSpPr>
        <p:spPr bwMode="auto">
          <a:xfrm>
            <a:off x="-1031205" y="791349"/>
            <a:ext cx="842145" cy="257369"/>
          </a:xfrm>
          <a:prstGeom prst="rect">
            <a:avLst/>
          </a:prstGeom>
          <a:noFill/>
          <a:ln>
            <a:noFill/>
          </a:ln>
        </p:spPr>
        <p:txBody>
          <a:bodyPr wrap="none" lIns="36000" tIns="36000" rIns="36000" bIns="36000" rtlCol="0">
            <a:spAutoFit/>
          </a:bodyPr>
          <a:lstStyle/>
          <a:p>
            <a:pPr algn="ctr" defTabSz="914400" eaLnBrk="1" hangingPunct="1"/>
            <a:r>
              <a:rPr kumimoji="1" lang="zh-CN" altLang="en-US" sz="1200" b="0" i="0" dirty="0">
                <a:solidFill>
                  <a:schemeClr val="tx1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</a:rPr>
              <a:t>吸取标准色</a:t>
            </a:r>
          </a:p>
        </p:txBody>
      </p:sp>
      <p:sp>
        <p:nvSpPr>
          <p:cNvPr id="12" name="矩形: 圆角 43">
            <a:extLst>
              <a:ext uri="{FF2B5EF4-FFF2-40B4-BE49-F238E27FC236}">
                <a16:creationId xmlns:a16="http://schemas.microsoft.com/office/drawing/2014/main" id="{06B1CE03-F3EA-E0C6-FC73-7CDA85EB051F}"/>
              </a:ext>
            </a:extLst>
          </p:cNvPr>
          <p:cNvSpPr/>
          <p:nvPr userDrawn="1"/>
        </p:nvSpPr>
        <p:spPr>
          <a:xfrm>
            <a:off x="660729" y="2134094"/>
            <a:ext cx="3397311" cy="3780876"/>
          </a:xfrm>
          <a:prstGeom prst="roundRect">
            <a:avLst>
              <a:gd name="adj" fmla="val 4700"/>
            </a:avLst>
          </a:prstGeom>
          <a:solidFill>
            <a:schemeClr val="bg1"/>
          </a:solidFill>
          <a:ln w="6350" cap="rnd">
            <a:noFill/>
            <a:prstDash val="solid"/>
            <a:round/>
          </a:ln>
          <a:effectLst>
            <a:outerShdw blurRad="254000" dist="127000" dir="2700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normAutofit/>
          </a:bodyPr>
          <a:lstStyle/>
          <a:p>
            <a:pPr algn="ctr"/>
            <a:endParaRPr lang="zh-CN" altLang="en-US" b="1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3" name="矩形: 圆角 34">
            <a:extLst>
              <a:ext uri="{FF2B5EF4-FFF2-40B4-BE49-F238E27FC236}">
                <a16:creationId xmlns:a16="http://schemas.microsoft.com/office/drawing/2014/main" id="{BA26C6CF-5A96-6801-54E5-C4442201F02F}"/>
              </a:ext>
            </a:extLst>
          </p:cNvPr>
          <p:cNvSpPr/>
          <p:nvPr userDrawn="1"/>
        </p:nvSpPr>
        <p:spPr>
          <a:xfrm>
            <a:off x="8124432" y="2134094"/>
            <a:ext cx="3397311" cy="3780876"/>
          </a:xfrm>
          <a:prstGeom prst="roundRect">
            <a:avLst>
              <a:gd name="adj" fmla="val 4700"/>
            </a:avLst>
          </a:prstGeom>
          <a:solidFill>
            <a:schemeClr val="bg1"/>
          </a:solidFill>
          <a:ln w="6350" cap="rnd">
            <a:noFill/>
            <a:prstDash val="solid"/>
            <a:round/>
          </a:ln>
          <a:effectLst>
            <a:outerShdw blurRad="254000" dist="127000" dir="2700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normAutofit/>
          </a:bodyPr>
          <a:lstStyle/>
          <a:p>
            <a:pPr algn="ctr"/>
            <a:endParaRPr lang="zh-CN" altLang="en-US" b="1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4" name="矩形: 圆角 53">
            <a:extLst>
              <a:ext uri="{FF2B5EF4-FFF2-40B4-BE49-F238E27FC236}">
                <a16:creationId xmlns:a16="http://schemas.microsoft.com/office/drawing/2014/main" id="{28D5A4ED-7390-9ADB-E030-731FFD62C9C3}"/>
              </a:ext>
            </a:extLst>
          </p:cNvPr>
          <p:cNvSpPr/>
          <p:nvPr userDrawn="1"/>
        </p:nvSpPr>
        <p:spPr>
          <a:xfrm>
            <a:off x="4392580" y="2134094"/>
            <a:ext cx="3397311" cy="3780876"/>
          </a:xfrm>
          <a:prstGeom prst="roundRect">
            <a:avLst>
              <a:gd name="adj" fmla="val 4700"/>
            </a:avLst>
          </a:prstGeom>
          <a:solidFill>
            <a:schemeClr val="bg1"/>
          </a:solidFill>
          <a:ln w="6350" cap="rnd">
            <a:noFill/>
            <a:prstDash val="solid"/>
            <a:round/>
          </a:ln>
          <a:effectLst>
            <a:outerShdw blurRad="254000" dist="127000" dir="2700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normAutofit/>
          </a:bodyPr>
          <a:lstStyle/>
          <a:p>
            <a:pPr algn="ctr"/>
            <a:endParaRPr lang="zh-CN" altLang="en-US" b="1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5" name="标题 9">
            <a:extLst>
              <a:ext uri="{FF2B5EF4-FFF2-40B4-BE49-F238E27FC236}">
                <a16:creationId xmlns:a16="http://schemas.microsoft.com/office/drawing/2014/main" id="{3C97F813-F2A4-5F6F-50AE-3CD107E6C5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94438" y="660906"/>
            <a:ext cx="9006299" cy="611837"/>
          </a:xfrm>
          <a:prstGeom prst="rect">
            <a:avLst/>
          </a:prstGeom>
        </p:spPr>
        <p:txBody>
          <a:bodyPr anchor="ctr"/>
          <a:lstStyle>
            <a:lvl1pPr algn="ctr">
              <a:defRPr lang="zh-CN" altLang="en-US" sz="3200" b="1" i="0" kern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</a:lstStyle>
          <a:p>
            <a:pPr lvl="0" algn="ctr" defTabSz="1088608">
              <a:spcBef>
                <a:spcPts val="300"/>
              </a:spcBef>
              <a:spcAft>
                <a:spcPts val="300"/>
              </a:spcAft>
              <a:defRPr/>
            </a:pPr>
            <a:r>
              <a:rPr lang="zh-CN" altLang="en-US" sz="32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单击此处添加大标题</a:t>
            </a:r>
            <a:endParaRPr lang="en-US" altLang="zh-CN" sz="32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0" name="文本占位符 11">
            <a:extLst>
              <a:ext uri="{FF2B5EF4-FFF2-40B4-BE49-F238E27FC236}">
                <a16:creationId xmlns:a16="http://schemas.microsoft.com/office/drawing/2014/main" id="{7CDACF78-4838-838F-5F00-EE03BEAF4C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56770" y="1272744"/>
            <a:ext cx="4481635" cy="284998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lang="zh-CN" altLang="en-US" sz="1200" b="0" i="0" kern="1200" dirty="0">
                <a:solidFill>
                  <a:srgbClr val="FFFFFF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  <a:cs typeface="+mn-ea"/>
              </a:defRPr>
            </a:lvl1pPr>
          </a:lstStyle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50729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空白页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9E62DC6F-138E-466A-85D1-9B1BF3AE43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8080" y="513656"/>
            <a:ext cx="1432115" cy="359668"/>
          </a:xfrm>
          <a:prstGeom prst="rect">
            <a:avLst/>
          </a:prstGeom>
        </p:spPr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3B4FECC2-5EF0-5107-8705-CAB4EC47498B}"/>
              </a:ext>
            </a:extLst>
          </p:cNvPr>
          <p:cNvSpPr/>
          <p:nvPr userDrawn="1"/>
        </p:nvSpPr>
        <p:spPr>
          <a:xfrm>
            <a:off x="2850065" y="6535273"/>
            <a:ext cx="6495045" cy="2462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583">
              <a:defRPr/>
            </a:pPr>
            <a:r>
              <a:rPr lang="en-US" altLang="zh-CN" sz="1000" dirty="0">
                <a:solidFill>
                  <a:prstClr val="white">
                    <a:lumMod val="50000"/>
                  </a:prst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libaba PuHuiTi L" pitchFamily="18" charset="-122"/>
              </a:rPr>
              <a:t>Copyright © 2026 AAC Technologies. Confidential. All Rights Reserved.</a:t>
            </a: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15F5F505-247A-0BF8-53A0-967F8459D77F}"/>
              </a:ext>
            </a:extLst>
          </p:cNvPr>
          <p:cNvGrpSpPr/>
          <p:nvPr userDrawn="1"/>
        </p:nvGrpSpPr>
        <p:grpSpPr>
          <a:xfrm>
            <a:off x="-934169" y="26732"/>
            <a:ext cx="648072" cy="647188"/>
            <a:chOff x="-1679277" y="42838"/>
            <a:chExt cx="1096724" cy="1091941"/>
          </a:xfrm>
        </p:grpSpPr>
        <p:sp>
          <p:nvSpPr>
            <p:cNvPr id="4" name="椭圆 3">
              <a:extLst>
                <a:ext uri="{FF2B5EF4-FFF2-40B4-BE49-F238E27FC236}">
                  <a16:creationId xmlns:a16="http://schemas.microsoft.com/office/drawing/2014/main" id="{27255D26-35F0-2D84-08F8-AA7CEAFE636A}"/>
                </a:ext>
              </a:extLst>
            </p:cNvPr>
            <p:cNvSpPr/>
            <p:nvPr/>
          </p:nvSpPr>
          <p:spPr bwMode="auto">
            <a:xfrm>
              <a:off x="-1679277" y="445101"/>
              <a:ext cx="689678" cy="68967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marL="0" marR="0" lvl="0" indent="0" algn="ctr" defTabSz="1088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1655B1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6" name="椭圆 5">
              <a:extLst>
                <a:ext uri="{FF2B5EF4-FFF2-40B4-BE49-F238E27FC236}">
                  <a16:creationId xmlns:a16="http://schemas.microsoft.com/office/drawing/2014/main" id="{F7A5879F-EB3D-70F5-EBDE-FA7B62779358}"/>
                </a:ext>
              </a:extLst>
            </p:cNvPr>
            <p:cNvSpPr/>
            <p:nvPr/>
          </p:nvSpPr>
          <p:spPr bwMode="auto">
            <a:xfrm>
              <a:off x="-1272231" y="445101"/>
              <a:ext cx="689678" cy="689678"/>
            </a:xfrm>
            <a:prstGeom prst="ellipse">
              <a:avLst/>
            </a:prstGeom>
            <a:solidFill>
              <a:srgbClr val="404040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marL="0" marR="0" lvl="0" indent="0" algn="ctr" defTabSz="1088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1655B1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7" name="椭圆 6">
              <a:extLst>
                <a:ext uri="{FF2B5EF4-FFF2-40B4-BE49-F238E27FC236}">
                  <a16:creationId xmlns:a16="http://schemas.microsoft.com/office/drawing/2014/main" id="{8123CD3D-62DE-0C7D-1A6E-2BA3DE02EDF7}"/>
                </a:ext>
              </a:extLst>
            </p:cNvPr>
            <p:cNvSpPr/>
            <p:nvPr/>
          </p:nvSpPr>
          <p:spPr bwMode="auto">
            <a:xfrm>
              <a:off x="-1272231" y="42838"/>
              <a:ext cx="689678" cy="689679"/>
            </a:xfrm>
            <a:prstGeom prst="ellipse">
              <a:avLst/>
            </a:prstGeom>
            <a:solidFill>
              <a:srgbClr val="FF9847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marL="0" marR="0" lvl="0" indent="0" algn="ctr" defTabSz="1088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6010E4FA-23AE-D26A-F47B-FA95987FA5EA}"/>
                </a:ext>
              </a:extLst>
            </p:cNvPr>
            <p:cNvSpPr/>
            <p:nvPr/>
          </p:nvSpPr>
          <p:spPr bwMode="auto">
            <a:xfrm>
              <a:off x="-1679277" y="42838"/>
              <a:ext cx="689678" cy="689679"/>
            </a:xfrm>
            <a:prstGeom prst="ellipse">
              <a:avLst/>
            </a:prstGeom>
            <a:solidFill>
              <a:srgbClr val="004E70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algn="ctr"/>
              <a:endParaRPr kumimoji="1" lang="zh-CN" altLang="en-US">
                <a:solidFill>
                  <a:srgbClr val="1556B4"/>
                </a:solidFill>
                <a:latin typeface="Arial"/>
                <a:ea typeface="微软雅黑"/>
              </a:endParaRPr>
            </a:p>
          </p:txBody>
        </p:sp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D9A9FEA7-675B-5456-C177-C303F1F543A4}"/>
              </a:ext>
            </a:extLst>
          </p:cNvPr>
          <p:cNvSpPr txBox="1"/>
          <p:nvPr userDrawn="1"/>
        </p:nvSpPr>
        <p:spPr bwMode="auto">
          <a:xfrm>
            <a:off x="-1031205" y="791349"/>
            <a:ext cx="842145" cy="257369"/>
          </a:xfrm>
          <a:prstGeom prst="rect">
            <a:avLst/>
          </a:prstGeom>
          <a:noFill/>
          <a:ln>
            <a:noFill/>
          </a:ln>
        </p:spPr>
        <p:txBody>
          <a:bodyPr wrap="none" lIns="36000" tIns="36000" rIns="36000" bIns="36000" rtlCol="0">
            <a:spAutoFit/>
          </a:bodyPr>
          <a:lstStyle/>
          <a:p>
            <a:pPr algn="ctr" defTabSz="914400" eaLnBrk="1" hangingPunct="1"/>
            <a:r>
              <a:rPr kumimoji="1" lang="zh-CN" altLang="en-US" sz="1200" b="0" i="0" dirty="0">
                <a:solidFill>
                  <a:schemeClr val="tx1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</a:rPr>
              <a:t>吸取标准色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2" pos="3841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页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049E8128-815C-DB46-9913-C3D175C2B1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accent2">
                <a:shade val="45000"/>
                <a:satMod val="135000"/>
              </a:schemeClr>
              <a:prstClr val="white"/>
            </a:duotone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5175" cy="6958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1544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1CF43B25-0786-C018-675F-9F6C2FB00FAA}"/>
              </a:ext>
            </a:extLst>
          </p:cNvPr>
          <p:cNvSpPr/>
          <p:nvPr userDrawn="1"/>
        </p:nvSpPr>
        <p:spPr>
          <a:xfrm>
            <a:off x="2850065" y="6535273"/>
            <a:ext cx="6495045" cy="2462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583">
              <a:defRPr/>
            </a:pPr>
            <a:r>
              <a:rPr lang="en-US" altLang="zh-CN" sz="1000" dirty="0">
                <a:solidFill>
                  <a:prstClr val="white">
                    <a:lumMod val="50000"/>
                  </a:prst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libaba PuHuiTi L" pitchFamily="18" charset="-122"/>
              </a:rPr>
              <a:t>Copyright © 2026 AAC Technologies. Confidential. All Rights Reserved.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F87E9F75-477E-0857-600D-EC3832053517}"/>
              </a:ext>
            </a:extLst>
          </p:cNvPr>
          <p:cNvGrpSpPr/>
          <p:nvPr userDrawn="1"/>
        </p:nvGrpSpPr>
        <p:grpSpPr>
          <a:xfrm>
            <a:off x="-934169" y="26732"/>
            <a:ext cx="648072" cy="647188"/>
            <a:chOff x="-1679277" y="42838"/>
            <a:chExt cx="1096724" cy="1091941"/>
          </a:xfrm>
        </p:grpSpPr>
        <p:sp>
          <p:nvSpPr>
            <p:cNvPr id="4" name="椭圆 3">
              <a:extLst>
                <a:ext uri="{FF2B5EF4-FFF2-40B4-BE49-F238E27FC236}">
                  <a16:creationId xmlns:a16="http://schemas.microsoft.com/office/drawing/2014/main" id="{5050701C-008F-B53C-885D-885249C03139}"/>
                </a:ext>
              </a:extLst>
            </p:cNvPr>
            <p:cNvSpPr/>
            <p:nvPr/>
          </p:nvSpPr>
          <p:spPr bwMode="auto">
            <a:xfrm>
              <a:off x="-1679277" y="445101"/>
              <a:ext cx="689678" cy="68967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marL="0" marR="0" lvl="0" indent="0" algn="ctr" defTabSz="1088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1655B1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5" name="椭圆 4">
              <a:extLst>
                <a:ext uri="{FF2B5EF4-FFF2-40B4-BE49-F238E27FC236}">
                  <a16:creationId xmlns:a16="http://schemas.microsoft.com/office/drawing/2014/main" id="{64243500-DA8D-F0D4-7568-5E00633FBB8C}"/>
                </a:ext>
              </a:extLst>
            </p:cNvPr>
            <p:cNvSpPr/>
            <p:nvPr/>
          </p:nvSpPr>
          <p:spPr bwMode="auto">
            <a:xfrm>
              <a:off x="-1272231" y="445101"/>
              <a:ext cx="689678" cy="689678"/>
            </a:xfrm>
            <a:prstGeom prst="ellipse">
              <a:avLst/>
            </a:prstGeom>
            <a:solidFill>
              <a:srgbClr val="404040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marL="0" marR="0" lvl="0" indent="0" algn="ctr" defTabSz="1088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1655B1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6" name="椭圆 5">
              <a:extLst>
                <a:ext uri="{FF2B5EF4-FFF2-40B4-BE49-F238E27FC236}">
                  <a16:creationId xmlns:a16="http://schemas.microsoft.com/office/drawing/2014/main" id="{BF34078C-9384-696F-AD99-C0C924D01043}"/>
                </a:ext>
              </a:extLst>
            </p:cNvPr>
            <p:cNvSpPr/>
            <p:nvPr/>
          </p:nvSpPr>
          <p:spPr bwMode="auto">
            <a:xfrm>
              <a:off x="-1272231" y="42838"/>
              <a:ext cx="689678" cy="689679"/>
            </a:xfrm>
            <a:prstGeom prst="ellipse">
              <a:avLst/>
            </a:prstGeom>
            <a:solidFill>
              <a:srgbClr val="FF9847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marL="0" marR="0" lvl="0" indent="0" algn="ctr" defTabSz="1088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7" name="椭圆 6">
              <a:extLst>
                <a:ext uri="{FF2B5EF4-FFF2-40B4-BE49-F238E27FC236}">
                  <a16:creationId xmlns:a16="http://schemas.microsoft.com/office/drawing/2014/main" id="{7BEC968A-AC5E-2E6A-C7F0-F4A1A4657C0C}"/>
                </a:ext>
              </a:extLst>
            </p:cNvPr>
            <p:cNvSpPr/>
            <p:nvPr/>
          </p:nvSpPr>
          <p:spPr bwMode="auto">
            <a:xfrm>
              <a:off x="-1679277" y="42838"/>
              <a:ext cx="689678" cy="689679"/>
            </a:xfrm>
            <a:prstGeom prst="ellipse">
              <a:avLst/>
            </a:prstGeom>
            <a:solidFill>
              <a:srgbClr val="004E70"/>
            </a:solidFill>
            <a:ln>
              <a:noFill/>
            </a:ln>
          </p:spPr>
          <p:txBody>
            <a:bodyPr lIns="108000" tIns="108000" rIns="108000" bIns="108000" rtlCol="0" anchor="ctr"/>
            <a:lstStyle/>
            <a:p>
              <a:pPr algn="ctr"/>
              <a:endParaRPr kumimoji="1" lang="zh-CN" altLang="en-US">
                <a:solidFill>
                  <a:srgbClr val="1556B4"/>
                </a:solidFill>
                <a:latin typeface="Arial"/>
                <a:ea typeface="微软雅黑"/>
              </a:endParaRPr>
            </a:p>
          </p:txBody>
        </p:sp>
      </p:grpSp>
      <p:sp>
        <p:nvSpPr>
          <p:cNvPr id="8" name="文本框 7">
            <a:extLst>
              <a:ext uri="{FF2B5EF4-FFF2-40B4-BE49-F238E27FC236}">
                <a16:creationId xmlns:a16="http://schemas.microsoft.com/office/drawing/2014/main" id="{8FD4CF08-0032-E3B6-0204-0331FC35F882}"/>
              </a:ext>
            </a:extLst>
          </p:cNvPr>
          <p:cNvSpPr txBox="1"/>
          <p:nvPr userDrawn="1"/>
        </p:nvSpPr>
        <p:spPr bwMode="auto">
          <a:xfrm>
            <a:off x="-1031205" y="791349"/>
            <a:ext cx="842145" cy="257369"/>
          </a:xfrm>
          <a:prstGeom prst="rect">
            <a:avLst/>
          </a:prstGeom>
          <a:noFill/>
          <a:ln>
            <a:noFill/>
          </a:ln>
        </p:spPr>
        <p:txBody>
          <a:bodyPr wrap="none" lIns="36000" tIns="36000" rIns="36000" bIns="36000" rtlCol="0">
            <a:spAutoFit/>
          </a:bodyPr>
          <a:lstStyle/>
          <a:p>
            <a:pPr algn="ctr" defTabSz="914400" eaLnBrk="1" hangingPunct="1"/>
            <a:r>
              <a:rPr kumimoji="1" lang="zh-CN" altLang="en-US" sz="1200" b="0" i="0" dirty="0">
                <a:solidFill>
                  <a:schemeClr val="tx1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</a:rPr>
              <a:t>吸取标准色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4" r:id="rId2"/>
    <p:sldLayoutId id="2147483750" r:id="rId3"/>
    <p:sldLayoutId id="2147483758" r:id="rId4"/>
    <p:sldLayoutId id="2147483776" r:id="rId5"/>
    <p:sldLayoutId id="2147483775" r:id="rId6"/>
    <p:sldLayoutId id="2147483779" r:id="rId7"/>
    <p:sldLayoutId id="2147483650" r:id="rId8"/>
    <p:sldLayoutId id="2147483746" r:id="rId9"/>
    <p:sldLayoutId id="2147483773" r:id="rId10"/>
  </p:sldLayoutIdLst>
  <p:hf sldNum="0" hdr="0" ftr="0"/>
  <p:txStyles>
    <p:titleStyle>
      <a:lvl1pPr algn="l" defTabSz="1088390" rtl="0" eaLnBrk="1" latinLnBrk="0" hangingPunct="1">
        <a:spcBef>
          <a:spcPct val="0"/>
        </a:spcBef>
        <a:buNone/>
        <a:defRPr sz="3200" b="1" kern="1200">
          <a:solidFill>
            <a:srgbClr val="17479E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60680" indent="-360680" algn="l" defTabSz="1088390" rtl="0" eaLnBrk="1" latinLnBrk="0" hangingPunct="1">
        <a:spcBef>
          <a:spcPts val="600"/>
        </a:spcBef>
        <a:buClr>
          <a:srgbClr val="17479E"/>
        </a:buClr>
        <a:buSzPct val="75000"/>
        <a:buFont typeface="Wingdings 2" panose="05020102010507070707" pitchFamily="18" charset="2"/>
        <a:buChar char="Ã"/>
        <a:defRPr sz="2800" b="0" kern="1200">
          <a:solidFill>
            <a:srgbClr val="40404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25475" indent="-268605" algn="l" defTabSz="1088390" rtl="0" eaLnBrk="1" latinLnBrk="0" hangingPunct="1">
        <a:spcBef>
          <a:spcPts val="200"/>
        </a:spcBef>
        <a:buSzPct val="90000"/>
        <a:buFont typeface="Wingdings" panose="05000000000000000000" pitchFamily="2" charset="2"/>
        <a:buChar char="§"/>
        <a:defRPr sz="2400" b="0" kern="1200">
          <a:solidFill>
            <a:srgbClr val="40404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98525" indent="-273050" algn="l" defTabSz="1088390" rtl="0" eaLnBrk="1" latinLnBrk="0" hangingPunct="1">
        <a:spcBef>
          <a:spcPts val="300"/>
        </a:spcBef>
        <a:buSzPct val="110000"/>
        <a:buFont typeface="Arial" panose="020B0604020202020204" pitchFamily="34" charset="0"/>
        <a:buChar char="•"/>
        <a:defRPr sz="2000" b="0" kern="1200">
          <a:solidFill>
            <a:srgbClr val="40404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57300" indent="-298450" algn="l" defTabSz="1088390" rtl="0" eaLnBrk="1" latinLnBrk="0" hangingPunct="1">
        <a:spcBef>
          <a:spcPts val="300"/>
        </a:spcBef>
        <a:buSzPct val="80000"/>
        <a:buFont typeface="Courier New" panose="02070309020205020404" pitchFamily="49" charset="0"/>
        <a:buChar char="o"/>
        <a:defRPr sz="1800" kern="1200">
          <a:solidFill>
            <a:srgbClr val="40404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616075" indent="-298450" algn="l" defTabSz="1088390" rtl="0" eaLnBrk="1" latinLnBrk="0" hangingPunct="1">
        <a:spcBef>
          <a:spcPts val="0"/>
        </a:spcBef>
        <a:buFont typeface="宋体" pitchFamily="2" charset="-122"/>
        <a:buChar char="-"/>
        <a:defRPr sz="600" kern="1200" baseline="0">
          <a:solidFill>
            <a:srgbClr val="40404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993390" indent="-272415" algn="l" defTabSz="108839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585" indent="-272415" algn="l" defTabSz="108839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780" indent="-272415" algn="l" defTabSz="108839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975" indent="-272415" algn="l" defTabSz="108839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8839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195" algn="l" defTabSz="108839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390" algn="l" defTabSz="108839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585" algn="l" defTabSz="108839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6780" algn="l" defTabSz="108839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0975" algn="l" defTabSz="108839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805" algn="l" defTabSz="108839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0000" algn="l" defTabSz="108839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195" algn="l" defTabSz="108839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1" userDrawn="1">
          <p15:clr>
            <a:srgbClr val="F26B43"/>
          </p15:clr>
        </p15:guide>
        <p15:guide id="2" pos="394" userDrawn="1">
          <p15:clr>
            <a:srgbClr val="F26B43"/>
          </p15:clr>
        </p15:guide>
        <p15:guide id="3" orient="horz" pos="3975" userDrawn="1">
          <p15:clr>
            <a:srgbClr val="F26B43"/>
          </p15:clr>
        </p15:guide>
        <p15:guide id="4" pos="7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圆角矩形 25">
            <a:extLst>
              <a:ext uri="{FF2B5EF4-FFF2-40B4-BE49-F238E27FC236}">
                <a16:creationId xmlns:a16="http://schemas.microsoft.com/office/drawing/2014/main" id="{B971E0B5-11AD-86F9-F668-516604808F2E}"/>
              </a:ext>
            </a:extLst>
          </p:cNvPr>
          <p:cNvSpPr/>
          <p:nvPr/>
        </p:nvSpPr>
        <p:spPr bwMode="auto">
          <a:xfrm>
            <a:off x="6692702" y="2091059"/>
            <a:ext cx="1506634" cy="259379"/>
          </a:xfrm>
          <a:prstGeom prst="roundRect">
            <a:avLst>
              <a:gd name="adj" fmla="val 50000"/>
            </a:avLst>
          </a:prstGeom>
          <a:solidFill>
            <a:srgbClr val="014C6C"/>
          </a:solidFill>
          <a:ln>
            <a:noFill/>
          </a:ln>
        </p:spPr>
        <p:txBody>
          <a:bodyPr lIns="108000" tIns="108000" rIns="108000" bIns="108000" rtlCol="0" anchor="ctr"/>
          <a:lstStyle/>
          <a:p>
            <a:pPr algn="ctr"/>
            <a:endParaRPr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9" name="圆角矩形 28">
            <a:extLst>
              <a:ext uri="{FF2B5EF4-FFF2-40B4-BE49-F238E27FC236}">
                <a16:creationId xmlns:a16="http://schemas.microsoft.com/office/drawing/2014/main" id="{82239FA7-D4C4-6E33-487B-FB810F864475}"/>
              </a:ext>
            </a:extLst>
          </p:cNvPr>
          <p:cNvSpPr/>
          <p:nvPr/>
        </p:nvSpPr>
        <p:spPr bwMode="auto">
          <a:xfrm>
            <a:off x="9349391" y="2091059"/>
            <a:ext cx="1506634" cy="259379"/>
          </a:xfrm>
          <a:prstGeom prst="roundRect">
            <a:avLst>
              <a:gd name="adj" fmla="val 50000"/>
            </a:avLst>
          </a:prstGeom>
          <a:solidFill>
            <a:srgbClr val="014C6C"/>
          </a:solidFill>
          <a:ln>
            <a:noFill/>
          </a:ln>
        </p:spPr>
        <p:txBody>
          <a:bodyPr lIns="108000" tIns="108000" rIns="108000" bIns="108000" rtlCol="0" anchor="ctr"/>
          <a:lstStyle/>
          <a:p>
            <a:pPr algn="ctr"/>
            <a:endParaRPr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1" name="圆角矩形 20">
            <a:extLst>
              <a:ext uri="{FF2B5EF4-FFF2-40B4-BE49-F238E27FC236}">
                <a16:creationId xmlns:a16="http://schemas.microsoft.com/office/drawing/2014/main" id="{54332E35-ACC8-09AC-353A-F9C2C328C7C9}"/>
              </a:ext>
            </a:extLst>
          </p:cNvPr>
          <p:cNvSpPr/>
          <p:nvPr/>
        </p:nvSpPr>
        <p:spPr bwMode="auto">
          <a:xfrm>
            <a:off x="3695041" y="2091059"/>
            <a:ext cx="1506634" cy="259379"/>
          </a:xfrm>
          <a:prstGeom prst="roundRect">
            <a:avLst>
              <a:gd name="adj" fmla="val 50000"/>
            </a:avLst>
          </a:prstGeom>
          <a:solidFill>
            <a:srgbClr val="014C6C"/>
          </a:solidFill>
          <a:ln>
            <a:noFill/>
          </a:ln>
        </p:spPr>
        <p:txBody>
          <a:bodyPr lIns="108000" tIns="108000" rIns="108000" bIns="108000" rtlCol="0" anchor="ctr"/>
          <a:lstStyle/>
          <a:p>
            <a:pPr algn="ctr"/>
            <a:endParaRPr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2" name="圆角矩形 41">
            <a:extLst>
              <a:ext uri="{FF2B5EF4-FFF2-40B4-BE49-F238E27FC236}">
                <a16:creationId xmlns:a16="http://schemas.microsoft.com/office/drawing/2014/main" id="{9CDC84C9-3E71-C44F-84DF-807C5C98E315}"/>
              </a:ext>
            </a:extLst>
          </p:cNvPr>
          <p:cNvSpPr/>
          <p:nvPr/>
        </p:nvSpPr>
        <p:spPr bwMode="auto">
          <a:xfrm>
            <a:off x="10172430" y="2994106"/>
            <a:ext cx="1471007" cy="990328"/>
          </a:xfrm>
          <a:prstGeom prst="roundRect">
            <a:avLst/>
          </a:prstGeom>
          <a:solidFill>
            <a:srgbClr val="404040"/>
          </a:solidFill>
          <a:ln>
            <a:noFill/>
          </a:ln>
        </p:spPr>
        <p:txBody>
          <a:bodyPr lIns="108000" tIns="108000" rIns="108000" bIns="108000" rtlCol="0" anchor="ctr"/>
          <a:lstStyle/>
          <a:p>
            <a:pPr marL="0" marR="0" lvl="0" indent="0" algn="ctr" defTabSz="10883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1655B1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A8B4BAF7-D6F2-B340-A755-464AD27A61F8}"/>
              </a:ext>
            </a:extLst>
          </p:cNvPr>
          <p:cNvSpPr/>
          <p:nvPr/>
        </p:nvSpPr>
        <p:spPr>
          <a:xfrm>
            <a:off x="552971" y="311503"/>
            <a:ext cx="2459328" cy="584775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marL="0" marR="0" lvl="0" indent="0" algn="l" defTabSz="10883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altLang="zh-CN" sz="3200" b="1" i="0" u="none" strike="noStrike" kern="1200" cap="none" spc="0" normalizeH="0" baseline="0" noProof="0" dirty="0">
                <a:ln>
                  <a:gradFill>
                    <a:gsLst>
                      <a:gs pos="51000">
                        <a:srgbClr val="004D6D">
                          <a:alpha val="25000"/>
                        </a:srgbClr>
                      </a:gs>
                      <a:gs pos="18000">
                        <a:srgbClr val="004D6D"/>
                      </a:gs>
                    </a:gsLst>
                    <a:lin ang="5400000" scaled="1"/>
                  </a:gradFill>
                </a:ln>
                <a:noFill/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GUIDELINE</a:t>
            </a:r>
            <a:endParaRPr kumimoji="0" lang="zh-CN" altLang="en-US" sz="3200" b="1" i="0" u="none" strike="noStrike" kern="1200" cap="none" spc="0" normalizeH="0" baseline="0" noProof="0" dirty="0">
              <a:ln>
                <a:gradFill>
                  <a:gsLst>
                    <a:gs pos="51000">
                      <a:srgbClr val="004D6D">
                        <a:alpha val="25000"/>
                      </a:srgbClr>
                    </a:gs>
                    <a:gs pos="18000">
                      <a:srgbClr val="004D6D"/>
                    </a:gs>
                  </a:gsLst>
                  <a:lin ang="5400000" scaled="1"/>
                </a:gradFill>
              </a:ln>
              <a:noFill/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71EDE77C-429D-CE4A-B3A6-904E91FFB243}"/>
              </a:ext>
            </a:extLst>
          </p:cNvPr>
          <p:cNvSpPr/>
          <p:nvPr/>
        </p:nvSpPr>
        <p:spPr>
          <a:xfrm>
            <a:off x="552971" y="571540"/>
            <a:ext cx="2492990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0883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4D6D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模版使用规范</a:t>
            </a:r>
            <a:endParaRPr kumimoji="0" lang="zh-CN" altLang="en-US" sz="3000" b="0" i="0" u="none" strike="noStrike" kern="1200" cap="none" spc="0" normalizeH="0" baseline="0" noProof="0" dirty="0">
              <a:ln>
                <a:noFill/>
              </a:ln>
              <a:solidFill>
                <a:srgbClr val="004D6D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00E4D4D2-8656-3245-B23B-9950FF90714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6088" y="4786817"/>
            <a:ext cx="3867812" cy="977667"/>
          </a:xfrm>
          <a:prstGeom prst="roundRect">
            <a:avLst>
              <a:gd name="adj" fmla="val 6275"/>
            </a:avLst>
          </a:prstGeom>
        </p:spPr>
      </p:pic>
      <p:sp>
        <p:nvSpPr>
          <p:cNvPr id="15" name="圆角矩形 14">
            <a:extLst>
              <a:ext uri="{FF2B5EF4-FFF2-40B4-BE49-F238E27FC236}">
                <a16:creationId xmlns:a16="http://schemas.microsoft.com/office/drawing/2014/main" id="{957E947A-ECF8-FC45-AB25-FA31FB7F5B2A}"/>
              </a:ext>
            </a:extLst>
          </p:cNvPr>
          <p:cNvSpPr/>
          <p:nvPr/>
        </p:nvSpPr>
        <p:spPr bwMode="auto">
          <a:xfrm>
            <a:off x="6973650" y="4942716"/>
            <a:ext cx="487293" cy="279961"/>
          </a:xfrm>
          <a:prstGeom prst="roundRect">
            <a:avLst/>
          </a:prstGeom>
          <a:solidFill>
            <a:srgbClr val="014C6C">
              <a:alpha val="29000"/>
            </a:srgbClr>
          </a:solidFill>
          <a:ln w="6350">
            <a:solidFill>
              <a:srgbClr val="004D6D"/>
            </a:solidFill>
            <a:prstDash val="lgDash"/>
          </a:ln>
        </p:spPr>
        <p:txBody>
          <a:bodyPr lIns="108000" tIns="108000" rIns="108000" bIns="108000" rtlCol="0" anchor="ctr"/>
          <a:lstStyle/>
          <a:p>
            <a:pPr marL="0" marR="0" lvl="0" indent="0" algn="ctr" defTabSz="10883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18" name="圆角矩形 17">
            <a:extLst>
              <a:ext uri="{FF2B5EF4-FFF2-40B4-BE49-F238E27FC236}">
                <a16:creationId xmlns:a16="http://schemas.microsoft.com/office/drawing/2014/main" id="{E7E4E1CA-6741-D04E-86F8-6F7B0A3BBCB5}"/>
              </a:ext>
            </a:extLst>
          </p:cNvPr>
          <p:cNvSpPr/>
          <p:nvPr/>
        </p:nvSpPr>
        <p:spPr bwMode="auto">
          <a:xfrm>
            <a:off x="6260317" y="5455312"/>
            <a:ext cx="504056" cy="213474"/>
          </a:xfrm>
          <a:prstGeom prst="roundRect">
            <a:avLst/>
          </a:prstGeom>
          <a:solidFill>
            <a:srgbClr val="014C6C">
              <a:alpha val="29000"/>
            </a:srgbClr>
          </a:solidFill>
          <a:ln w="6350">
            <a:solidFill>
              <a:srgbClr val="004D6D"/>
            </a:solidFill>
            <a:prstDash val="lgDash"/>
          </a:ln>
        </p:spPr>
        <p:txBody>
          <a:bodyPr lIns="108000" tIns="108000" rIns="108000" bIns="108000" rtlCol="0" anchor="ctr"/>
          <a:lstStyle/>
          <a:p>
            <a:pPr algn="ctr"/>
            <a:endParaRPr kumimoji="1" lang="zh-CN" altLang="en-US">
              <a:solidFill>
                <a:srgbClr val="404040"/>
              </a:solidFill>
              <a:latin typeface="Arial"/>
              <a:ea typeface="微软雅黑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E98C75BA-89C4-DE4F-BF26-1E9CC1BD8613}"/>
              </a:ext>
            </a:extLst>
          </p:cNvPr>
          <p:cNvSpPr txBox="1"/>
          <p:nvPr/>
        </p:nvSpPr>
        <p:spPr bwMode="auto">
          <a:xfrm>
            <a:off x="7770692" y="5008491"/>
            <a:ext cx="1154076" cy="309639"/>
          </a:xfrm>
          <a:prstGeom prst="roundRect">
            <a:avLst>
              <a:gd name="adj" fmla="val 8711"/>
            </a:avLst>
          </a:prstGeom>
          <a:solidFill>
            <a:srgbClr val="004E70"/>
          </a:solidFill>
          <a:ln>
            <a:noFill/>
          </a:ln>
        </p:spPr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1.</a:t>
            </a:r>
            <a:r>
              <a:rPr kumimoji="1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 找到视图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BC31DC5D-C00F-A64A-9EE9-EB86FDDBC7F9}"/>
              </a:ext>
            </a:extLst>
          </p:cNvPr>
          <p:cNvSpPr txBox="1"/>
          <p:nvPr/>
        </p:nvSpPr>
        <p:spPr bwMode="auto">
          <a:xfrm>
            <a:off x="7770692" y="5359147"/>
            <a:ext cx="1154076" cy="309639"/>
          </a:xfrm>
          <a:prstGeom prst="roundRect">
            <a:avLst>
              <a:gd name="adj" fmla="val 8711"/>
            </a:avLst>
          </a:prstGeom>
          <a:solidFill>
            <a:srgbClr val="004E70"/>
          </a:solidFill>
          <a:ln>
            <a:noFill/>
          </a:ln>
        </p:spPr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2.</a:t>
            </a:r>
            <a:r>
              <a:rPr kumimoji="1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 勾选参考线</a:t>
            </a:r>
          </a:p>
        </p:txBody>
      </p:sp>
      <p:sp>
        <p:nvSpPr>
          <p:cNvPr id="24" name="右箭头 23">
            <a:extLst>
              <a:ext uri="{FF2B5EF4-FFF2-40B4-BE49-F238E27FC236}">
                <a16:creationId xmlns:a16="http://schemas.microsoft.com/office/drawing/2014/main" id="{CC52B29F-4E21-5449-B09F-2240610F8CE5}"/>
              </a:ext>
            </a:extLst>
          </p:cNvPr>
          <p:cNvSpPr/>
          <p:nvPr/>
        </p:nvSpPr>
        <p:spPr bwMode="auto">
          <a:xfrm>
            <a:off x="9181728" y="5198204"/>
            <a:ext cx="271592" cy="315762"/>
          </a:xfrm>
          <a:prstGeom prst="rightArrow">
            <a:avLst/>
          </a:prstGeom>
          <a:solidFill>
            <a:srgbClr val="004E70"/>
          </a:solidFill>
          <a:ln>
            <a:noFill/>
          </a:ln>
        </p:spPr>
        <p:txBody>
          <a:bodyPr lIns="108000" tIns="108000" rIns="108000" bIns="108000" rtlCol="0" anchor="ctr"/>
          <a:lstStyle/>
          <a:p>
            <a:pPr marL="0" marR="0" lvl="0" indent="0" algn="ctr" defTabSz="10883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F110C22C-9249-DF46-ADBE-E645864A8F3F}"/>
              </a:ext>
            </a:extLst>
          </p:cNvPr>
          <p:cNvSpPr txBox="1"/>
          <p:nvPr/>
        </p:nvSpPr>
        <p:spPr bwMode="auto">
          <a:xfrm>
            <a:off x="10033313" y="6001073"/>
            <a:ext cx="1345574" cy="309639"/>
          </a:xfrm>
          <a:prstGeom prst="roundRect">
            <a:avLst>
              <a:gd name="adj" fmla="val 8545"/>
            </a:avLst>
          </a:prstGeom>
          <a:solidFill>
            <a:srgbClr val="004E70"/>
          </a:solidFill>
          <a:ln>
            <a:noFill/>
          </a:ln>
        </p:spPr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出现可编辑范围</a:t>
            </a: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952D7704-C2D3-9046-A46C-8A307069DE0B}"/>
              </a:ext>
            </a:extLst>
          </p:cNvPr>
          <p:cNvSpPr/>
          <p:nvPr/>
        </p:nvSpPr>
        <p:spPr>
          <a:xfrm>
            <a:off x="-5036049" y="1676568"/>
            <a:ext cx="110799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0883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200" u="none" strike="noStrike" kern="1200" cap="none" spc="0" normalizeH="0" baseline="0" noProof="0" dirty="0">
                <a:ln>
                  <a:noFill/>
                </a:ln>
                <a:solidFill>
                  <a:srgbClr val="004E70"/>
                </a:solidFill>
                <a:effectLst/>
                <a:uLnTx/>
                <a:uFillTx/>
                <a:latin typeface="Microsoft YaHei Light" panose="020B0503020204020204" pitchFamily="34" charset="-122"/>
                <a:ea typeface="Microsoft YaHei Light" panose="020B0503020204020204" pitchFamily="34" charset="-122"/>
              </a:rPr>
              <a:t>1</a:t>
            </a:r>
            <a:r>
              <a:rPr kumimoji="0" lang="zh-CN" altLang="en-US" sz="2000" u="none" strike="noStrike" kern="1200" cap="none" spc="0" normalizeH="0" baseline="0" noProof="0" dirty="0">
                <a:ln>
                  <a:noFill/>
                </a:ln>
                <a:solidFill>
                  <a:srgbClr val="004E7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kumimoji="0" lang="en-US" altLang="zh-CN" sz="2000" u="none" strike="noStrike" kern="1200" cap="none" spc="0" normalizeH="0" baseline="0" noProof="0" dirty="0">
                <a:ln>
                  <a:noFill/>
                </a:ln>
                <a:solidFill>
                  <a:srgbClr val="004E70"/>
                </a:solidFill>
                <a:effectLst/>
                <a:uLnTx/>
                <a:uFillTx/>
                <a:latin typeface="Microsoft YaHei Light" panose="020B0503020204020204" pitchFamily="34" charset="-122"/>
                <a:ea typeface="Microsoft YaHei Light" panose="020B0503020204020204" pitchFamily="34" charset="-122"/>
              </a:rPr>
              <a:t>/</a:t>
            </a:r>
            <a:r>
              <a:rPr kumimoji="0" lang="zh-CN" altLang="en-US" sz="2000" u="none" strike="noStrike" kern="1200" cap="none" spc="0" normalizeH="0" baseline="0" noProof="0" dirty="0">
                <a:ln>
                  <a:noFill/>
                </a:ln>
                <a:solidFill>
                  <a:srgbClr val="004E70"/>
                </a:solidFill>
                <a:effectLst/>
                <a:uLnTx/>
                <a:uFillTx/>
                <a:latin typeface="Microsoft YaHei Light" panose="020B0503020204020204" pitchFamily="34" charset="-122"/>
                <a:ea typeface="Microsoft YaHei Light" panose="020B0503020204020204" pitchFamily="34" charset="-122"/>
              </a:rPr>
              <a:t> </a:t>
            </a:r>
            <a:r>
              <a:rPr kumimoji="0" lang="zh-CN" altLang="en-US" sz="2000" b="1" u="none" strike="noStrike" kern="1200" cap="none" spc="0" normalizeH="0" baseline="0" noProof="0" dirty="0">
                <a:ln>
                  <a:noFill/>
                </a:ln>
                <a:solidFill>
                  <a:srgbClr val="004E7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字体</a:t>
            </a: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4606FA5A-D7E3-CB4D-AC1C-0D3D917B225A}"/>
              </a:ext>
            </a:extLst>
          </p:cNvPr>
          <p:cNvSpPr/>
          <p:nvPr/>
        </p:nvSpPr>
        <p:spPr>
          <a:xfrm>
            <a:off x="-5036049" y="3311489"/>
            <a:ext cx="122341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altLang="zh-CN" sz="3200" dirty="0">
                <a:solidFill>
                  <a:srgbClr val="004E70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</a:rPr>
              <a:t>2</a:t>
            </a:r>
            <a:r>
              <a:rPr lang="zh-CN" altLang="en-US" sz="2000" dirty="0">
                <a:solidFill>
                  <a:srgbClr val="004E70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</a:rPr>
              <a:t> </a:t>
            </a:r>
            <a:r>
              <a:rPr lang="en-US" altLang="zh-CN" sz="2000" dirty="0">
                <a:solidFill>
                  <a:srgbClr val="004E70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</a:rPr>
              <a:t>/</a:t>
            </a:r>
            <a:r>
              <a:rPr lang="zh-CN" altLang="en-US" sz="2000" dirty="0">
                <a:solidFill>
                  <a:srgbClr val="004E70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</a:rPr>
              <a:t> </a:t>
            </a:r>
            <a:r>
              <a:rPr kumimoji="0" lang="zh-CN" altLang="en-US" sz="2000" b="1" u="none" strike="noStrike" kern="1200" cap="none" spc="0" normalizeH="0" baseline="0" noProof="0" dirty="0">
                <a:ln>
                  <a:noFill/>
                </a:ln>
                <a:solidFill>
                  <a:srgbClr val="004E7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色值</a:t>
            </a:r>
          </a:p>
        </p:txBody>
      </p:sp>
      <p:sp>
        <p:nvSpPr>
          <p:cNvPr id="35" name="圆角矩形 34">
            <a:extLst>
              <a:ext uri="{FF2B5EF4-FFF2-40B4-BE49-F238E27FC236}">
                <a16:creationId xmlns:a16="http://schemas.microsoft.com/office/drawing/2014/main" id="{8A29C1CE-4FD6-CD4E-AEFF-385C23CDEA50}"/>
              </a:ext>
            </a:extLst>
          </p:cNvPr>
          <p:cNvSpPr/>
          <p:nvPr/>
        </p:nvSpPr>
        <p:spPr bwMode="auto">
          <a:xfrm>
            <a:off x="3338835" y="3015530"/>
            <a:ext cx="2610115" cy="990328"/>
          </a:xfrm>
          <a:prstGeom prst="roundRect">
            <a:avLst/>
          </a:prstGeom>
          <a:solidFill>
            <a:srgbClr val="004E70"/>
          </a:solidFill>
          <a:ln>
            <a:noFill/>
          </a:ln>
        </p:spPr>
        <p:txBody>
          <a:bodyPr lIns="108000" tIns="108000" rIns="108000" bIns="108000" rtlCol="0" anchor="ctr"/>
          <a:lstStyle/>
          <a:p>
            <a:pPr marL="0" marR="0" lvl="0" indent="0" algn="ctr" defTabSz="10883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1556B4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7B561DA2-384F-F24C-85E6-9A33F166BF35}"/>
              </a:ext>
            </a:extLst>
          </p:cNvPr>
          <p:cNvGrpSpPr/>
          <p:nvPr/>
        </p:nvGrpSpPr>
        <p:grpSpPr>
          <a:xfrm>
            <a:off x="3500025" y="3194225"/>
            <a:ext cx="3128060" cy="526077"/>
            <a:chOff x="3648438" y="3628699"/>
            <a:chExt cx="3128060" cy="526077"/>
          </a:xfrm>
        </p:grpSpPr>
        <p:sp>
          <p:nvSpPr>
            <p:cNvPr id="32" name="品牌标识作为产品形象的一部分，在传播品牌过程中发挥重要的作用。标准标识是腾讯医疗云的主要品牌符号，多数情况下请使用此标识，可以传达出品牌稳定性。标识图形和标识标准字的组合不可更改和重新绘制，以保持一致性，这是品牌最有价值的资产之一。">
              <a:extLst>
                <a:ext uri="{FF2B5EF4-FFF2-40B4-BE49-F238E27FC236}">
                  <a16:creationId xmlns:a16="http://schemas.microsoft.com/office/drawing/2014/main" id="{87371B44-757A-D248-B0B4-08040B157542}"/>
                </a:ext>
              </a:extLst>
            </p:cNvPr>
            <p:cNvSpPr txBox="1"/>
            <p:nvPr/>
          </p:nvSpPr>
          <p:spPr>
            <a:xfrm>
              <a:off x="3648438" y="3628699"/>
              <a:ext cx="895909" cy="29597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rIns="45719">
              <a:spAutoFit/>
            </a:bodyPr>
            <a:lstStyle/>
            <a:p>
              <a:pPr marL="0" marR="0" lvl="0" indent="0" algn="l" defTabSz="108839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Blue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33" name="品牌标识作为产品形象的一部分，在传播品牌过程中发挥重要的作用。标准标识是腾讯医疗云的主要品牌符号，多数情况下请使用此标识，可以传达出品牌稳定性。标识图形和标识标准字的组合不可更改和重新绘制，以保持一致性，这是品牌最有价值的资产之一。">
              <a:extLst>
                <a:ext uri="{FF2B5EF4-FFF2-40B4-BE49-F238E27FC236}">
                  <a16:creationId xmlns:a16="http://schemas.microsoft.com/office/drawing/2014/main" id="{F143973C-FBF4-1D41-BDCB-4AFC68693E12}"/>
                </a:ext>
              </a:extLst>
            </p:cNvPr>
            <p:cNvSpPr txBox="1"/>
            <p:nvPr/>
          </p:nvSpPr>
          <p:spPr>
            <a:xfrm>
              <a:off x="3648438" y="3777365"/>
              <a:ext cx="895909" cy="37741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rIns="45719">
              <a:spAutoFit/>
            </a:bodyPr>
            <a:lstStyle/>
            <a:p>
              <a:pPr marL="0" marR="0" lvl="0" indent="0" algn="l" defTabSz="108839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标准色</a:t>
              </a:r>
              <a:endPara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34" name="品牌标识作为产品形象的一部分，在传播品牌过程中发挥重要的作用。标准标识是腾讯医疗云的主要品牌符号，多数情况下请使用此标识，可以传达出品牌稳定性。标识图形和标识标准字的组合不可更改和重新绘制，以保持一致性，这是品牌最有价值的资产之一。">
              <a:extLst>
                <a:ext uri="{FF2B5EF4-FFF2-40B4-BE49-F238E27FC236}">
                  <a16:creationId xmlns:a16="http://schemas.microsoft.com/office/drawing/2014/main" id="{872D6292-13CD-4942-B8AA-6A0AAC0CCD6B}"/>
                </a:ext>
              </a:extLst>
            </p:cNvPr>
            <p:cNvSpPr txBox="1"/>
            <p:nvPr/>
          </p:nvSpPr>
          <p:spPr>
            <a:xfrm>
              <a:off x="5196279" y="3855215"/>
              <a:ext cx="1580219" cy="26135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rIns="45719">
              <a:spAutoFit/>
            </a:bodyPr>
            <a:lstStyle/>
            <a:p>
              <a:pPr marL="0" marR="0" lvl="0" indent="0" algn="l" defTabSz="108839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f-ZA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# 004d6d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38" name="矩形 37">
            <a:extLst>
              <a:ext uri="{FF2B5EF4-FFF2-40B4-BE49-F238E27FC236}">
                <a16:creationId xmlns:a16="http://schemas.microsoft.com/office/drawing/2014/main" id="{3ED980FB-AE0F-344E-8536-0C2208C41CFD}"/>
              </a:ext>
            </a:extLst>
          </p:cNvPr>
          <p:cNvSpPr/>
          <p:nvPr/>
        </p:nvSpPr>
        <p:spPr>
          <a:xfrm>
            <a:off x="3340523" y="1547127"/>
            <a:ext cx="221567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10883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4E7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微软雅黑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4E7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Bold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4E7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5A0EE2D-CC35-AE4E-84ED-179648D66C79}"/>
              </a:ext>
            </a:extLst>
          </p:cNvPr>
          <p:cNvSpPr/>
          <p:nvPr/>
        </p:nvSpPr>
        <p:spPr>
          <a:xfrm>
            <a:off x="6436256" y="1624071"/>
            <a:ext cx="20195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10883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4E7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微软雅黑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004E7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 Regular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4E7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4563AA85-595B-7A47-B591-6A62ABA5E7F7}"/>
              </a:ext>
            </a:extLst>
          </p:cNvPr>
          <p:cNvSpPr/>
          <p:nvPr/>
        </p:nvSpPr>
        <p:spPr>
          <a:xfrm>
            <a:off x="9509437" y="1670238"/>
            <a:ext cx="118654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10883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rgbClr val="004E70"/>
                </a:solidFill>
                <a:effectLst/>
                <a:uLnTx/>
                <a:uFillTx/>
                <a:latin typeface="Microsoft YaHei Light" panose="020B0503020204020204" pitchFamily="34" charset="-122"/>
                <a:ea typeface="Microsoft YaHei Light" panose="020B0503020204020204" pitchFamily="34" charset="-122"/>
              </a:rPr>
              <a:t>微软雅黑</a:t>
            </a:r>
            <a:r>
              <a:rPr kumimoji="0" lang="en-US" altLang="zh-CN" sz="1200" u="none" strike="noStrike" kern="1200" cap="none" spc="0" normalizeH="0" baseline="0" noProof="0" dirty="0">
                <a:ln>
                  <a:noFill/>
                </a:ln>
                <a:solidFill>
                  <a:srgbClr val="004E70"/>
                </a:solidFill>
                <a:effectLst/>
                <a:uLnTx/>
                <a:uFillTx/>
                <a:latin typeface="Microsoft YaHei Light" panose="020B0503020204020204" pitchFamily="34" charset="-122"/>
                <a:ea typeface="Microsoft YaHei Light" panose="020B0503020204020204" pitchFamily="34" charset="-122"/>
              </a:rPr>
              <a:t> Light</a:t>
            </a:r>
            <a:endParaRPr kumimoji="0" lang="zh-CN" altLang="en-US" sz="1200" u="none" strike="noStrike" kern="1200" cap="none" spc="0" normalizeH="0" baseline="0" noProof="0" dirty="0">
              <a:ln>
                <a:noFill/>
              </a:ln>
              <a:solidFill>
                <a:srgbClr val="004E70"/>
              </a:solidFill>
              <a:effectLst/>
              <a:uLnTx/>
              <a:uFillTx/>
              <a:latin typeface="Microsoft YaHei Light" panose="020B0503020204020204" pitchFamily="34" charset="-122"/>
              <a:ea typeface="Microsoft YaHei Light" panose="020B0503020204020204" pitchFamily="34" charset="-122"/>
            </a:endParaRPr>
          </a:p>
        </p:txBody>
      </p:sp>
      <p:sp>
        <p:nvSpPr>
          <p:cNvPr id="31" name="圆角矩形 30">
            <a:extLst>
              <a:ext uri="{FF2B5EF4-FFF2-40B4-BE49-F238E27FC236}">
                <a16:creationId xmlns:a16="http://schemas.microsoft.com/office/drawing/2014/main" id="{43988418-E847-5C4C-972A-E1E92376D3AF}"/>
              </a:ext>
            </a:extLst>
          </p:cNvPr>
          <p:cNvSpPr/>
          <p:nvPr/>
        </p:nvSpPr>
        <p:spPr bwMode="auto">
          <a:xfrm>
            <a:off x="6260317" y="3014597"/>
            <a:ext cx="2380193" cy="990328"/>
          </a:xfrm>
          <a:prstGeom prst="roundRect">
            <a:avLst/>
          </a:prstGeom>
          <a:solidFill>
            <a:srgbClr val="FF9847"/>
          </a:solidFill>
          <a:ln>
            <a:noFill/>
          </a:ln>
        </p:spPr>
        <p:txBody>
          <a:bodyPr lIns="108000" tIns="108000" rIns="108000" bIns="108000" rtlCol="0" anchor="ctr"/>
          <a:lstStyle/>
          <a:p>
            <a:pPr marL="0" marR="0" lvl="0" indent="0" algn="ctr" defTabSz="10883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grpSp>
        <p:nvGrpSpPr>
          <p:cNvPr id="37" name="组合 36">
            <a:extLst>
              <a:ext uri="{FF2B5EF4-FFF2-40B4-BE49-F238E27FC236}">
                <a16:creationId xmlns:a16="http://schemas.microsoft.com/office/drawing/2014/main" id="{082652C5-783F-6942-AE09-85CFE8CD709E}"/>
              </a:ext>
            </a:extLst>
          </p:cNvPr>
          <p:cNvGrpSpPr/>
          <p:nvPr/>
        </p:nvGrpSpPr>
        <p:grpSpPr>
          <a:xfrm>
            <a:off x="6421506" y="3193292"/>
            <a:ext cx="2916442" cy="526077"/>
            <a:chOff x="3648438" y="3628699"/>
            <a:chExt cx="2916442" cy="526077"/>
          </a:xfrm>
        </p:grpSpPr>
        <p:sp>
          <p:nvSpPr>
            <p:cNvPr id="46" name="品牌标识作为产品形象的一部分，在传播品牌过程中发挥重要的作用。标准标识是腾讯医疗云的主要品牌符号，多数情况下请使用此标识，可以传达出品牌稳定性。标识图形和标识标准字的组合不可更改和重新绘制，以保持一致性，这是品牌最有价值的资产之一。">
              <a:extLst>
                <a:ext uri="{FF2B5EF4-FFF2-40B4-BE49-F238E27FC236}">
                  <a16:creationId xmlns:a16="http://schemas.microsoft.com/office/drawing/2014/main" id="{C8DB0A3C-EED7-B64E-96F3-DFA6C6C408AB}"/>
                </a:ext>
              </a:extLst>
            </p:cNvPr>
            <p:cNvSpPr txBox="1"/>
            <p:nvPr/>
          </p:nvSpPr>
          <p:spPr>
            <a:xfrm>
              <a:off x="3648438" y="3628699"/>
              <a:ext cx="895909" cy="29597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rIns="45719">
              <a:spAutoFit/>
            </a:bodyPr>
            <a:lstStyle/>
            <a:p>
              <a:pPr marL="0" marR="0" lvl="0" indent="0" algn="l" defTabSz="108839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Orange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7" name="品牌标识作为产品形象的一部分，在传播品牌过程中发挥重要的作用。标准标识是腾讯医疗云的主要品牌符号，多数情况下请使用此标识，可以传达出品牌稳定性。标识图形和标识标准字的组合不可更改和重新绘制，以保持一致性，这是品牌最有价值的资产之一。">
              <a:extLst>
                <a:ext uri="{FF2B5EF4-FFF2-40B4-BE49-F238E27FC236}">
                  <a16:creationId xmlns:a16="http://schemas.microsoft.com/office/drawing/2014/main" id="{181A4ABB-A8DD-AA40-A418-39A93213CEEA}"/>
                </a:ext>
              </a:extLst>
            </p:cNvPr>
            <p:cNvSpPr txBox="1"/>
            <p:nvPr/>
          </p:nvSpPr>
          <p:spPr>
            <a:xfrm>
              <a:off x="3648438" y="3777365"/>
              <a:ext cx="895909" cy="37741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rIns="45719">
              <a:spAutoFit/>
            </a:bodyPr>
            <a:lstStyle/>
            <a:p>
              <a:pPr marL="0" marR="0" lvl="0" indent="0" algn="l" defTabSz="108839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对比色</a:t>
              </a:r>
              <a:endPara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8" name="品牌标识作为产品形象的一部分，在传播品牌过程中发挥重要的作用。标准标识是腾讯医疗云的主要品牌符号，多数情况下请使用此标识，可以传达出品牌稳定性。标识图形和标识标准字的组合不可更改和重新绘制，以保持一致性，这是品牌最有价值的资产之一。">
              <a:extLst>
                <a:ext uri="{FF2B5EF4-FFF2-40B4-BE49-F238E27FC236}">
                  <a16:creationId xmlns:a16="http://schemas.microsoft.com/office/drawing/2014/main" id="{68D6F147-5363-4849-ABB2-33F524AC5D81}"/>
                </a:ext>
              </a:extLst>
            </p:cNvPr>
            <p:cNvSpPr txBox="1"/>
            <p:nvPr/>
          </p:nvSpPr>
          <p:spPr>
            <a:xfrm>
              <a:off x="4984661" y="3855215"/>
              <a:ext cx="1580219" cy="26135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rIns="45719">
              <a:spAutoFit/>
            </a:bodyPr>
            <a:lstStyle/>
            <a:p>
              <a:pPr marL="0" marR="0" lvl="0" indent="0" algn="l" defTabSz="108839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f-ZA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# ff9f5a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49" name="圆角矩形 48">
            <a:extLst>
              <a:ext uri="{FF2B5EF4-FFF2-40B4-BE49-F238E27FC236}">
                <a16:creationId xmlns:a16="http://schemas.microsoft.com/office/drawing/2014/main" id="{FAE2402E-C90F-C146-8BB8-70F579320F8A}"/>
              </a:ext>
            </a:extLst>
          </p:cNvPr>
          <p:cNvSpPr/>
          <p:nvPr/>
        </p:nvSpPr>
        <p:spPr bwMode="auto">
          <a:xfrm>
            <a:off x="8951877" y="2994106"/>
            <a:ext cx="1754223" cy="990328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lIns="108000" tIns="108000" rIns="108000" bIns="108000" rtlCol="0" anchor="ctr"/>
          <a:lstStyle/>
          <a:p>
            <a:pPr marL="0" marR="0" lvl="0" indent="0" algn="ctr" defTabSz="10883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1655B1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grpSp>
        <p:nvGrpSpPr>
          <p:cNvPr id="50" name="组合 49">
            <a:extLst>
              <a:ext uri="{FF2B5EF4-FFF2-40B4-BE49-F238E27FC236}">
                <a16:creationId xmlns:a16="http://schemas.microsoft.com/office/drawing/2014/main" id="{EC8D2883-89D4-F04A-A67A-E96B433D0EEA}"/>
              </a:ext>
            </a:extLst>
          </p:cNvPr>
          <p:cNvGrpSpPr/>
          <p:nvPr/>
        </p:nvGrpSpPr>
        <p:grpSpPr>
          <a:xfrm>
            <a:off x="9276522" y="3172801"/>
            <a:ext cx="1429579" cy="526077"/>
            <a:chOff x="3648438" y="3628699"/>
            <a:chExt cx="1429579" cy="526077"/>
          </a:xfrm>
        </p:grpSpPr>
        <p:sp>
          <p:nvSpPr>
            <p:cNvPr id="51" name="品牌标识作为产品形象的一部分，在传播品牌过程中发挥重要的作用。标准标识是腾讯医疗云的主要品牌符号，多数情况下请使用此标识，可以传达出品牌稳定性。标识图形和标识标准字的组合不可更改和重新绘制，以保持一致性，这是品牌最有价值的资产之一。">
              <a:extLst>
                <a:ext uri="{FF2B5EF4-FFF2-40B4-BE49-F238E27FC236}">
                  <a16:creationId xmlns:a16="http://schemas.microsoft.com/office/drawing/2014/main" id="{99B43322-1426-3446-BD20-E732C8C0E313}"/>
                </a:ext>
              </a:extLst>
            </p:cNvPr>
            <p:cNvSpPr txBox="1"/>
            <p:nvPr/>
          </p:nvSpPr>
          <p:spPr>
            <a:xfrm>
              <a:off x="3648438" y="3628699"/>
              <a:ext cx="1281979" cy="29597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rIns="45719">
              <a:spAutoFit/>
            </a:bodyPr>
            <a:lstStyle/>
            <a:p>
              <a:pPr marL="0" marR="0" lvl="0" indent="0" algn="l" defTabSz="108839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White&amp;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Black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52" name="品牌标识作为产品形象的一部分，在传播品牌过程中发挥重要的作用。标准标识是腾讯医疗云的主要品牌符号，多数情况下请使用此标识，可以传达出品牌稳定性。标识图形和标识标准字的组合不可更改和重新绘制，以保持一致性，这是品牌最有价值的资产之一。">
              <a:extLst>
                <a:ext uri="{FF2B5EF4-FFF2-40B4-BE49-F238E27FC236}">
                  <a16:creationId xmlns:a16="http://schemas.microsoft.com/office/drawing/2014/main" id="{3AA7B8C3-73AA-D04C-830E-E746D3CA3C90}"/>
                </a:ext>
              </a:extLst>
            </p:cNvPr>
            <p:cNvSpPr txBox="1"/>
            <p:nvPr/>
          </p:nvSpPr>
          <p:spPr>
            <a:xfrm>
              <a:off x="3648438" y="3777365"/>
              <a:ext cx="895909" cy="37741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rIns="45719">
              <a:spAutoFit/>
            </a:bodyPr>
            <a:lstStyle/>
            <a:p>
              <a:pPr marL="0" marR="0" lvl="0" indent="0" algn="l" defTabSz="108839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辅助色</a:t>
              </a:r>
              <a:endPara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53" name="品牌标识作为产品形象的一部分，在传播品牌过程中发挥重要的作用。标准标识是腾讯医疗云的主要品牌符号，多数情况下请使用此标识，可以传达出品牌稳定性。标识图形和标识标准字的组合不可更改和重新绘制，以保持一致性，这是品牌最有价值的资产之一。">
              <a:extLst>
                <a:ext uri="{FF2B5EF4-FFF2-40B4-BE49-F238E27FC236}">
                  <a16:creationId xmlns:a16="http://schemas.microsoft.com/office/drawing/2014/main" id="{2923D977-4332-D14F-98A3-44AC42F769BA}"/>
                </a:ext>
              </a:extLst>
            </p:cNvPr>
            <p:cNvSpPr txBox="1"/>
            <p:nvPr/>
          </p:nvSpPr>
          <p:spPr>
            <a:xfrm>
              <a:off x="4435135" y="3855215"/>
              <a:ext cx="642882" cy="26135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rIns="45719">
              <a:spAutoFit/>
            </a:bodyPr>
            <a:lstStyle/>
            <a:p>
              <a:pPr marL="0" marR="0" lvl="0" indent="0" algn="l" defTabSz="108839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f-ZA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# f6f6f6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43" name="品牌标识作为产品形象的一部分，在传播品牌过程中发挥重要的作用。标准标识是腾讯医疗云的主要品牌符号，多数情况下请使用此标识，可以传达出品牌稳定性。标识图形和标识标准字的组合不可更改和重新绘制，以保持一致性，这是品牌最有价值的资产之一。">
            <a:extLst>
              <a:ext uri="{FF2B5EF4-FFF2-40B4-BE49-F238E27FC236}">
                <a16:creationId xmlns:a16="http://schemas.microsoft.com/office/drawing/2014/main" id="{811E55C9-BB15-8647-82CC-98ADE5E5D8EB}"/>
              </a:ext>
            </a:extLst>
          </p:cNvPr>
          <p:cNvSpPr txBox="1"/>
          <p:nvPr/>
        </p:nvSpPr>
        <p:spPr>
          <a:xfrm>
            <a:off x="10947166" y="3399317"/>
            <a:ext cx="839053" cy="2613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rIns="45719">
            <a:spAutoFit/>
          </a:bodyPr>
          <a:lstStyle/>
          <a:p>
            <a:pPr marL="0" marR="0" lvl="0" indent="0" algn="l" defTabSz="108839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f-ZA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# 404040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D6333B8-0721-53DB-95AD-D80D0E3422A6}"/>
              </a:ext>
            </a:extLst>
          </p:cNvPr>
          <p:cNvSpPr txBox="1"/>
          <p:nvPr/>
        </p:nvSpPr>
        <p:spPr bwMode="auto">
          <a:xfrm>
            <a:off x="3992019" y="2092064"/>
            <a:ext cx="912678" cy="257369"/>
          </a:xfrm>
          <a:prstGeom prst="rect">
            <a:avLst/>
          </a:prstGeom>
          <a:noFill/>
          <a:ln>
            <a:noFill/>
          </a:ln>
        </p:spPr>
        <p:txBody>
          <a:bodyPr wrap="none" lIns="36000" tIns="36000" rIns="36000" bIns="36000" rtlCol="0" anchor="ctr">
            <a:spAutoFit/>
          </a:bodyPr>
          <a:lstStyle/>
          <a:p>
            <a:pPr algn="ctr" defTabSz="914400" eaLnBrk="1" hangingPunct="1"/>
            <a:r>
              <a:rPr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大标题 </a:t>
            </a:r>
            <a:r>
              <a:rPr lang="en-US" altLang="zh-CN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4</a:t>
            </a:r>
            <a:r>
              <a:rPr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号</a:t>
            </a:r>
            <a:endParaRPr sz="12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CE787A76-84D6-79BE-C656-69ADDFB051DF}"/>
              </a:ext>
            </a:extLst>
          </p:cNvPr>
          <p:cNvSpPr txBox="1"/>
          <p:nvPr/>
        </p:nvSpPr>
        <p:spPr bwMode="auto">
          <a:xfrm>
            <a:off x="6967239" y="2092064"/>
            <a:ext cx="957562" cy="257369"/>
          </a:xfrm>
          <a:prstGeom prst="rect">
            <a:avLst/>
          </a:prstGeom>
          <a:noFill/>
          <a:ln>
            <a:noFill/>
          </a:ln>
        </p:spPr>
        <p:txBody>
          <a:bodyPr wrap="none" lIns="36000" tIns="36000" rIns="36000" bIns="36000" rtlCol="0" anchor="ctr">
            <a:spAutoFit/>
          </a:bodyPr>
          <a:lstStyle/>
          <a:p>
            <a:pPr algn="ctr" defTabSz="914400" eaLnBrk="1" hangingPunct="1"/>
            <a:r>
              <a:rPr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小标题 </a:t>
            </a:r>
            <a:r>
              <a:rPr lang="en-US" altLang="zh-CN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8</a:t>
            </a:r>
            <a:r>
              <a:rPr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号 </a:t>
            </a:r>
            <a:endParaRPr sz="12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AB96AB86-BBD5-5ACE-11BF-3A1544629886}"/>
              </a:ext>
            </a:extLst>
          </p:cNvPr>
          <p:cNvSpPr txBox="1"/>
          <p:nvPr/>
        </p:nvSpPr>
        <p:spPr bwMode="auto">
          <a:xfrm>
            <a:off x="9723314" y="2092064"/>
            <a:ext cx="758789" cy="257369"/>
          </a:xfrm>
          <a:prstGeom prst="rect">
            <a:avLst/>
          </a:prstGeom>
          <a:noFill/>
          <a:ln>
            <a:noFill/>
          </a:ln>
        </p:spPr>
        <p:txBody>
          <a:bodyPr wrap="none" lIns="36000" tIns="36000" rIns="36000" bIns="36000" rtlCol="0" anchor="ctr">
            <a:spAutoFit/>
          </a:bodyPr>
          <a:lstStyle/>
          <a:p>
            <a:pPr algn="ctr" defTabSz="914400" eaLnBrk="1" hangingPunct="1"/>
            <a:r>
              <a:rPr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正文 </a:t>
            </a:r>
            <a:r>
              <a:rPr lang="en-US" altLang="zh-CN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2</a:t>
            </a:r>
            <a:r>
              <a:rPr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号</a:t>
            </a:r>
            <a:endParaRPr sz="12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17" name="图片 16" descr="表格&#10;&#10;低可信度描述已自动生成">
            <a:extLst>
              <a:ext uri="{FF2B5EF4-FFF2-40B4-BE49-F238E27FC236}">
                <a16:creationId xmlns:a16="http://schemas.microsoft.com/office/drawing/2014/main" id="{1CD04098-B249-8F7F-F786-FB330359945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28988" y="4786818"/>
            <a:ext cx="1657285" cy="990328"/>
          </a:xfrm>
          <a:prstGeom prst="roundRect">
            <a:avLst>
              <a:gd name="adj" fmla="val 2525"/>
            </a:avLst>
          </a:prstGeom>
        </p:spPr>
      </p:pic>
      <p:grpSp>
        <p:nvGrpSpPr>
          <p:cNvPr id="70" name="组合 69">
            <a:extLst>
              <a:ext uri="{FF2B5EF4-FFF2-40B4-BE49-F238E27FC236}">
                <a16:creationId xmlns:a16="http://schemas.microsoft.com/office/drawing/2014/main" id="{0A57AA23-02AB-D99D-7FFA-768A34255730}"/>
              </a:ext>
            </a:extLst>
          </p:cNvPr>
          <p:cNvGrpSpPr/>
          <p:nvPr/>
        </p:nvGrpSpPr>
        <p:grpSpPr>
          <a:xfrm>
            <a:off x="408955" y="1413175"/>
            <a:ext cx="2517947" cy="923544"/>
            <a:chOff x="855384" y="1975941"/>
            <a:chExt cx="2517364" cy="923330"/>
          </a:xfrm>
        </p:grpSpPr>
        <p:grpSp>
          <p:nvGrpSpPr>
            <p:cNvPr id="73" name="组合 72">
              <a:extLst>
                <a:ext uri="{FF2B5EF4-FFF2-40B4-BE49-F238E27FC236}">
                  <a16:creationId xmlns:a16="http://schemas.microsoft.com/office/drawing/2014/main" id="{59B1B35E-2949-8F7F-F67F-86AEA073E3D2}"/>
                </a:ext>
              </a:extLst>
            </p:cNvPr>
            <p:cNvGrpSpPr/>
            <p:nvPr/>
          </p:nvGrpSpPr>
          <p:grpSpPr>
            <a:xfrm>
              <a:off x="1584047" y="2368301"/>
              <a:ext cx="1788701" cy="527371"/>
              <a:chOff x="741781" y="4050616"/>
              <a:chExt cx="1788701" cy="527371"/>
            </a:xfrm>
          </p:grpSpPr>
          <p:sp>
            <p:nvSpPr>
              <p:cNvPr id="75" name="文本框 74">
                <a:extLst>
                  <a:ext uri="{FF2B5EF4-FFF2-40B4-BE49-F238E27FC236}">
                    <a16:creationId xmlns:a16="http://schemas.microsoft.com/office/drawing/2014/main" id="{E1C8BEB2-B8D2-8CCF-1D22-DA4B93B029B3}"/>
                  </a:ext>
                </a:extLst>
              </p:cNvPr>
              <p:cNvSpPr txBox="1"/>
              <p:nvPr/>
            </p:nvSpPr>
            <p:spPr>
              <a:xfrm>
                <a:off x="741781" y="4050616"/>
                <a:ext cx="1788701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 defTabSz="914400"/>
                <a:r>
                  <a:rPr lang="zh-CN" altLang="en-US" sz="1800" b="1" dirty="0">
                    <a:solidFill>
                      <a:srgbClr val="014C6C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字体字号</a:t>
                </a:r>
              </a:p>
            </p:txBody>
          </p:sp>
          <p:sp>
            <p:nvSpPr>
              <p:cNvPr id="76" name="文本框 75">
                <a:extLst>
                  <a:ext uri="{FF2B5EF4-FFF2-40B4-BE49-F238E27FC236}">
                    <a16:creationId xmlns:a16="http://schemas.microsoft.com/office/drawing/2014/main" id="{F361EAE5-BAC4-2DFE-9828-69175125C4DB}"/>
                  </a:ext>
                </a:extLst>
              </p:cNvPr>
              <p:cNvSpPr txBox="1"/>
              <p:nvPr/>
            </p:nvSpPr>
            <p:spPr>
              <a:xfrm>
                <a:off x="741781" y="4362543"/>
                <a:ext cx="1788701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 defTabSz="914400"/>
                <a:r>
                  <a:rPr lang="en-US" altLang="zh-CN" sz="1400" dirty="0">
                    <a:solidFill>
                      <a:schemeClr val="accent6">
                        <a:lumMod val="50000"/>
                        <a:alpha val="43000"/>
                      </a:schemeClr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Font Size</a:t>
                </a:r>
                <a:endParaRPr lang="zh-CN" altLang="en-US" sz="1400" dirty="0">
                  <a:solidFill>
                    <a:schemeClr val="accent6">
                      <a:lumMod val="50000"/>
                      <a:alpha val="43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  <p:sp>
          <p:nvSpPr>
            <p:cNvPr id="74" name="文本框 73">
              <a:extLst>
                <a:ext uri="{FF2B5EF4-FFF2-40B4-BE49-F238E27FC236}">
                  <a16:creationId xmlns:a16="http://schemas.microsoft.com/office/drawing/2014/main" id="{262F0E83-2144-3CBD-C77A-75C81F205859}"/>
                </a:ext>
              </a:extLst>
            </p:cNvPr>
            <p:cNvSpPr txBox="1"/>
            <p:nvPr/>
          </p:nvSpPr>
          <p:spPr>
            <a:xfrm>
              <a:off x="855384" y="1975941"/>
              <a:ext cx="147637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US" altLang="zh-CN" sz="5400" b="1" dirty="0">
                  <a:ln w="12700">
                    <a:gradFill flip="none" rotWithShape="1">
                      <a:gsLst>
                        <a:gs pos="26000">
                          <a:schemeClr val="accent1">
                            <a:alpha val="0"/>
                          </a:schemeClr>
                        </a:gs>
                        <a:gs pos="63000">
                          <a:schemeClr val="accent1"/>
                        </a:gs>
                      </a:gsLst>
                      <a:lin ang="16200000" scaled="1"/>
                      <a:tileRect/>
                    </a:gradFill>
                  </a:ln>
                  <a:noFill/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5400" b="1" dirty="0">
                <a:ln w="12700">
                  <a:gradFill flip="none" rotWithShape="1">
                    <a:gsLst>
                      <a:gs pos="26000">
                        <a:schemeClr val="accent1">
                          <a:alpha val="0"/>
                        </a:schemeClr>
                      </a:gs>
                      <a:gs pos="63000">
                        <a:schemeClr val="accent1"/>
                      </a:gs>
                    </a:gsLst>
                    <a:lin ang="16200000" scaled="1"/>
                    <a:tileRect/>
                  </a:gradFill>
                </a:ln>
                <a:noFill/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81" name="组合 80">
            <a:extLst>
              <a:ext uri="{FF2B5EF4-FFF2-40B4-BE49-F238E27FC236}">
                <a16:creationId xmlns:a16="http://schemas.microsoft.com/office/drawing/2014/main" id="{039AB3B6-AF48-3406-F211-B06819F0B0BC}"/>
              </a:ext>
            </a:extLst>
          </p:cNvPr>
          <p:cNvGrpSpPr/>
          <p:nvPr/>
        </p:nvGrpSpPr>
        <p:grpSpPr>
          <a:xfrm>
            <a:off x="408955" y="2993880"/>
            <a:ext cx="2517947" cy="941926"/>
            <a:chOff x="259164" y="3255071"/>
            <a:chExt cx="2517947" cy="941926"/>
          </a:xfrm>
        </p:grpSpPr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68D42808-188B-6659-2DF2-0EDD95A4F5D9}"/>
                </a:ext>
              </a:extLst>
            </p:cNvPr>
            <p:cNvGrpSpPr/>
            <p:nvPr/>
          </p:nvGrpSpPr>
          <p:grpSpPr>
            <a:xfrm>
              <a:off x="651013" y="3669554"/>
              <a:ext cx="2126098" cy="527443"/>
              <a:chOff x="404876" y="4050616"/>
              <a:chExt cx="2125606" cy="527321"/>
            </a:xfrm>
          </p:grpSpPr>
          <p:sp>
            <p:nvSpPr>
              <p:cNvPr id="79" name="文本框 78">
                <a:extLst>
                  <a:ext uri="{FF2B5EF4-FFF2-40B4-BE49-F238E27FC236}">
                    <a16:creationId xmlns:a16="http://schemas.microsoft.com/office/drawing/2014/main" id="{198DE9D1-D09F-A53C-562F-ADECB9FA21E4}"/>
                  </a:ext>
                </a:extLst>
              </p:cNvPr>
              <p:cNvSpPr txBox="1"/>
              <p:nvPr/>
            </p:nvSpPr>
            <p:spPr>
              <a:xfrm>
                <a:off x="741781" y="4050616"/>
                <a:ext cx="1788701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 defTabSz="914400"/>
                <a:r>
                  <a:rPr lang="zh-CN" altLang="en-US" sz="1800" b="1" dirty="0">
                    <a:solidFill>
                      <a:srgbClr val="014C6C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标准色值</a:t>
                </a:r>
              </a:p>
            </p:txBody>
          </p:sp>
          <p:sp>
            <p:nvSpPr>
              <p:cNvPr id="80" name="文本框 79">
                <a:extLst>
                  <a:ext uri="{FF2B5EF4-FFF2-40B4-BE49-F238E27FC236}">
                    <a16:creationId xmlns:a16="http://schemas.microsoft.com/office/drawing/2014/main" id="{FC2F55D7-1C20-A308-8E2A-D304A494DDAF}"/>
                  </a:ext>
                </a:extLst>
              </p:cNvPr>
              <p:cNvSpPr txBox="1"/>
              <p:nvPr/>
            </p:nvSpPr>
            <p:spPr>
              <a:xfrm>
                <a:off x="404876" y="4362543"/>
                <a:ext cx="2125606" cy="2153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 defTabSz="914400"/>
                <a:r>
                  <a:rPr lang="en-US" altLang="zh-CN" sz="1400" dirty="0">
                    <a:solidFill>
                      <a:schemeClr val="accent6">
                        <a:lumMod val="50000"/>
                        <a:alpha val="43000"/>
                      </a:schemeClr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Color value</a:t>
                </a:r>
                <a:endParaRPr lang="zh-CN" altLang="en-US" sz="1400" dirty="0">
                  <a:solidFill>
                    <a:schemeClr val="accent6">
                      <a:lumMod val="50000"/>
                      <a:alpha val="43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  <p:sp>
          <p:nvSpPr>
            <p:cNvPr id="71" name="文本框 70">
              <a:extLst>
                <a:ext uri="{FF2B5EF4-FFF2-40B4-BE49-F238E27FC236}">
                  <a16:creationId xmlns:a16="http://schemas.microsoft.com/office/drawing/2014/main" id="{C63C03F6-F8DB-D25F-079F-EA70C0FD54D2}"/>
                </a:ext>
              </a:extLst>
            </p:cNvPr>
            <p:cNvSpPr txBox="1"/>
            <p:nvPr/>
          </p:nvSpPr>
          <p:spPr>
            <a:xfrm>
              <a:off x="259164" y="3255071"/>
              <a:ext cx="1476717" cy="9235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US" altLang="zh-CN" sz="5400" b="1" dirty="0">
                  <a:ln w="12700">
                    <a:gradFill flip="none" rotWithShape="1">
                      <a:gsLst>
                        <a:gs pos="26000">
                          <a:schemeClr val="accent1">
                            <a:alpha val="0"/>
                          </a:schemeClr>
                        </a:gs>
                        <a:gs pos="63000">
                          <a:schemeClr val="accent1"/>
                        </a:gs>
                      </a:gsLst>
                      <a:lin ang="16200000" scaled="1"/>
                      <a:tileRect/>
                    </a:gradFill>
                  </a:ln>
                  <a:noFill/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5400" b="1" dirty="0">
                <a:ln w="12700">
                  <a:gradFill flip="none" rotWithShape="1">
                    <a:gsLst>
                      <a:gs pos="26000">
                        <a:schemeClr val="accent1">
                          <a:alpha val="0"/>
                        </a:schemeClr>
                      </a:gs>
                      <a:gs pos="63000">
                        <a:schemeClr val="accent1"/>
                      </a:gs>
                    </a:gsLst>
                    <a:lin ang="16200000" scaled="1"/>
                    <a:tileRect/>
                  </a:gradFill>
                </a:ln>
                <a:noFill/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82" name="组合 81">
            <a:extLst>
              <a:ext uri="{FF2B5EF4-FFF2-40B4-BE49-F238E27FC236}">
                <a16:creationId xmlns:a16="http://schemas.microsoft.com/office/drawing/2014/main" id="{D362F1B3-3213-7287-80E7-F22B9FF33378}"/>
              </a:ext>
            </a:extLst>
          </p:cNvPr>
          <p:cNvGrpSpPr/>
          <p:nvPr/>
        </p:nvGrpSpPr>
        <p:grpSpPr>
          <a:xfrm>
            <a:off x="408955" y="4662338"/>
            <a:ext cx="2517947" cy="927696"/>
            <a:chOff x="259164" y="4654180"/>
            <a:chExt cx="2517947" cy="927696"/>
          </a:xfrm>
        </p:grpSpPr>
        <p:grpSp>
          <p:nvGrpSpPr>
            <p:cNvPr id="69" name="组合 68">
              <a:extLst>
                <a:ext uri="{FF2B5EF4-FFF2-40B4-BE49-F238E27FC236}">
                  <a16:creationId xmlns:a16="http://schemas.microsoft.com/office/drawing/2014/main" id="{032A5CDF-9213-61C3-39B2-C7903A03EB0F}"/>
                </a:ext>
              </a:extLst>
            </p:cNvPr>
            <p:cNvGrpSpPr/>
            <p:nvPr/>
          </p:nvGrpSpPr>
          <p:grpSpPr>
            <a:xfrm>
              <a:off x="987996" y="5054383"/>
              <a:ext cx="1789115" cy="527493"/>
              <a:chOff x="741781" y="4050616"/>
              <a:chExt cx="1788701" cy="527371"/>
            </a:xfrm>
          </p:grpSpPr>
          <p:sp>
            <p:nvSpPr>
              <p:cNvPr id="77" name="文本框 76">
                <a:extLst>
                  <a:ext uri="{FF2B5EF4-FFF2-40B4-BE49-F238E27FC236}">
                    <a16:creationId xmlns:a16="http://schemas.microsoft.com/office/drawing/2014/main" id="{D1E6F296-2488-7070-B59C-A9ED1A9ABD0F}"/>
                  </a:ext>
                </a:extLst>
              </p:cNvPr>
              <p:cNvSpPr txBox="1"/>
              <p:nvPr/>
            </p:nvSpPr>
            <p:spPr>
              <a:xfrm>
                <a:off x="741781" y="4050616"/>
                <a:ext cx="1788701" cy="27693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 defTabSz="914400"/>
                <a:r>
                  <a:rPr lang="zh-CN" altLang="en-US" sz="1800" b="1" dirty="0">
                    <a:solidFill>
                      <a:srgbClr val="014C6C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画面安全区</a:t>
                </a:r>
              </a:p>
            </p:txBody>
          </p:sp>
          <p:sp>
            <p:nvSpPr>
              <p:cNvPr id="78" name="文本框 77">
                <a:extLst>
                  <a:ext uri="{FF2B5EF4-FFF2-40B4-BE49-F238E27FC236}">
                    <a16:creationId xmlns:a16="http://schemas.microsoft.com/office/drawing/2014/main" id="{1FBBD3AA-A9B6-6F5E-CC61-DA351CD5822E}"/>
                  </a:ext>
                </a:extLst>
              </p:cNvPr>
              <p:cNvSpPr txBox="1"/>
              <p:nvPr/>
            </p:nvSpPr>
            <p:spPr>
              <a:xfrm>
                <a:off x="741781" y="4362543"/>
                <a:ext cx="1788701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 defTabSz="914400"/>
                <a:r>
                  <a:rPr lang="en-US" altLang="zh-CN" sz="1400" dirty="0">
                    <a:solidFill>
                      <a:schemeClr val="accent6">
                        <a:lumMod val="50000"/>
                        <a:alpha val="43000"/>
                      </a:schemeClr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Screen safe zone</a:t>
                </a:r>
                <a:endParaRPr lang="zh-CN" altLang="en-US" sz="1400" dirty="0">
                  <a:solidFill>
                    <a:schemeClr val="accent6">
                      <a:lumMod val="50000"/>
                      <a:alpha val="43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  <p:sp>
          <p:nvSpPr>
            <p:cNvPr id="72" name="文本框 71">
              <a:extLst>
                <a:ext uri="{FF2B5EF4-FFF2-40B4-BE49-F238E27FC236}">
                  <a16:creationId xmlns:a16="http://schemas.microsoft.com/office/drawing/2014/main" id="{AA4AA80D-8C02-59C2-4658-EE54D1DE8DD5}"/>
                </a:ext>
              </a:extLst>
            </p:cNvPr>
            <p:cNvSpPr txBox="1"/>
            <p:nvPr/>
          </p:nvSpPr>
          <p:spPr>
            <a:xfrm>
              <a:off x="259164" y="4654180"/>
              <a:ext cx="1476717" cy="9235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US" altLang="zh-CN" sz="5400" b="1" dirty="0">
                  <a:ln w="12700">
                    <a:gradFill flip="none" rotWithShape="1">
                      <a:gsLst>
                        <a:gs pos="26000">
                          <a:schemeClr val="accent1">
                            <a:alpha val="0"/>
                          </a:schemeClr>
                        </a:gs>
                        <a:gs pos="63000">
                          <a:schemeClr val="accent1"/>
                        </a:gs>
                      </a:gsLst>
                      <a:lin ang="16200000" scaled="1"/>
                      <a:tileRect/>
                    </a:gradFill>
                  </a:ln>
                  <a:noFill/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5400" b="1" dirty="0">
                <a:ln w="12700">
                  <a:gradFill flip="none" rotWithShape="1">
                    <a:gsLst>
                      <a:gs pos="26000">
                        <a:schemeClr val="accent1">
                          <a:alpha val="0"/>
                        </a:schemeClr>
                      </a:gs>
                      <a:gs pos="63000">
                        <a:schemeClr val="accent1"/>
                      </a:gs>
                    </a:gsLst>
                    <a:lin ang="16200000" scaled="1"/>
                    <a:tileRect/>
                  </a:gradFill>
                </a:ln>
                <a:noFill/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5445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圆角矩形 3">
            <a:extLst>
              <a:ext uri="{FF2B5EF4-FFF2-40B4-BE49-F238E27FC236}">
                <a16:creationId xmlns:a16="http://schemas.microsoft.com/office/drawing/2014/main" id="{2BCC1793-C665-5F9B-47E3-DB8F14D6C715}"/>
              </a:ext>
            </a:extLst>
          </p:cNvPr>
          <p:cNvSpPr/>
          <p:nvPr/>
        </p:nvSpPr>
        <p:spPr bwMode="auto">
          <a:xfrm>
            <a:off x="468490" y="1485578"/>
            <a:ext cx="3687741" cy="4680520"/>
          </a:xfrm>
          <a:prstGeom prst="roundRect">
            <a:avLst>
              <a:gd name="adj" fmla="val 2552"/>
            </a:avLst>
          </a:prstGeom>
          <a:solidFill>
            <a:schemeClr val="bg1"/>
          </a:solidFill>
          <a:ln w="12700">
            <a:noFill/>
          </a:ln>
          <a:effectLst>
            <a:outerShdw blurRad="254000" dist="38100" dir="2160000" algn="tl" rotWithShape="0">
              <a:schemeClr val="accent6">
                <a:lumMod val="50000"/>
                <a:alpha val="1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88063"/>
            <a:endParaRPr lang="zh-CN" altLang="en-US" sz="14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8A829B7A-DAB1-DA26-4B03-1A88868C1ECD}"/>
              </a:ext>
            </a:extLst>
          </p:cNvPr>
          <p:cNvSpPr/>
          <p:nvPr/>
        </p:nvSpPr>
        <p:spPr bwMode="auto">
          <a:xfrm>
            <a:off x="4253717" y="1485578"/>
            <a:ext cx="3687741" cy="4680520"/>
          </a:xfrm>
          <a:prstGeom prst="roundRect">
            <a:avLst>
              <a:gd name="adj" fmla="val 2552"/>
            </a:avLst>
          </a:prstGeom>
          <a:solidFill>
            <a:schemeClr val="bg1"/>
          </a:solidFill>
          <a:ln w="12700">
            <a:noFill/>
          </a:ln>
          <a:effectLst>
            <a:outerShdw blurRad="254000" dist="38100" dir="2160000" algn="tl" rotWithShape="0">
              <a:schemeClr val="accent6">
                <a:lumMod val="50000"/>
                <a:alpha val="1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88063"/>
            <a:endParaRPr lang="zh-CN" altLang="en-US" sz="14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" name="圆角矩形 6">
            <a:extLst>
              <a:ext uri="{FF2B5EF4-FFF2-40B4-BE49-F238E27FC236}">
                <a16:creationId xmlns:a16="http://schemas.microsoft.com/office/drawing/2014/main" id="{1233C22F-9C29-F3DD-4261-AB0B4B94780A}"/>
              </a:ext>
            </a:extLst>
          </p:cNvPr>
          <p:cNvSpPr/>
          <p:nvPr/>
        </p:nvSpPr>
        <p:spPr bwMode="auto">
          <a:xfrm>
            <a:off x="8038943" y="1485578"/>
            <a:ext cx="3687741" cy="4680520"/>
          </a:xfrm>
          <a:prstGeom prst="roundRect">
            <a:avLst>
              <a:gd name="adj" fmla="val 2552"/>
            </a:avLst>
          </a:prstGeom>
          <a:solidFill>
            <a:schemeClr val="bg1"/>
          </a:solidFill>
          <a:ln w="12700">
            <a:noFill/>
          </a:ln>
          <a:effectLst>
            <a:outerShdw blurRad="254000" dist="38100" dir="2160000" algn="tl" rotWithShape="0">
              <a:schemeClr val="accent6">
                <a:lumMod val="50000"/>
                <a:alpha val="1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88063"/>
            <a:endParaRPr lang="zh-CN" altLang="en-US" sz="14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E2B284B5-3047-D3B1-7D55-8E610506AC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graphicFrame>
        <p:nvGraphicFramePr>
          <p:cNvPr id="162" name="图表 161">
            <a:extLst>
              <a:ext uri="{FF2B5EF4-FFF2-40B4-BE49-F238E27FC236}">
                <a16:creationId xmlns:a16="http://schemas.microsoft.com/office/drawing/2014/main" id="{4B7CEDC4-E0BA-D9AB-AA44-EA5D21AA06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58495593"/>
              </p:ext>
            </p:extLst>
          </p:nvPr>
        </p:nvGraphicFramePr>
        <p:xfrm>
          <a:off x="4459405" y="2817094"/>
          <a:ext cx="3276364" cy="28449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3" name="图表 162">
            <a:extLst>
              <a:ext uri="{FF2B5EF4-FFF2-40B4-BE49-F238E27FC236}">
                <a16:creationId xmlns:a16="http://schemas.microsoft.com/office/drawing/2014/main" id="{77508A68-3BA7-37FC-1F67-A54960D19B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51675586"/>
              </p:ext>
            </p:extLst>
          </p:nvPr>
        </p:nvGraphicFramePr>
        <p:xfrm>
          <a:off x="676160" y="2817094"/>
          <a:ext cx="3272400" cy="284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图表 5">
            <a:extLst>
              <a:ext uri="{FF2B5EF4-FFF2-40B4-BE49-F238E27FC236}">
                <a16:creationId xmlns:a16="http://schemas.microsoft.com/office/drawing/2014/main" id="{CF3C94C5-19E4-8483-68D0-B88D843A578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47867215"/>
              </p:ext>
            </p:extLst>
          </p:nvPr>
        </p:nvGraphicFramePr>
        <p:xfrm>
          <a:off x="8244631" y="2817094"/>
          <a:ext cx="3276364" cy="284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文本框 9">
            <a:extLst>
              <a:ext uri="{FF2B5EF4-FFF2-40B4-BE49-F238E27FC236}">
                <a16:creationId xmlns:a16="http://schemas.microsoft.com/office/drawing/2014/main" id="{E25C180C-78EB-8D09-2164-5CC2AD189DE5}"/>
              </a:ext>
            </a:extLst>
          </p:cNvPr>
          <p:cNvSpPr txBox="1"/>
          <p:nvPr/>
        </p:nvSpPr>
        <p:spPr bwMode="auto">
          <a:xfrm>
            <a:off x="1090630" y="1723088"/>
            <a:ext cx="2443460" cy="33855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defTabSz="914400"/>
            <a:r>
              <a:rPr kumimoji="1" lang="zh-CN" altLang="en-US" sz="1600" b="1" dirty="0">
                <a:gradFill>
                  <a:gsLst>
                    <a:gs pos="0">
                      <a:schemeClr val="accent6">
                        <a:lumMod val="50000"/>
                      </a:schemeClr>
                    </a:gs>
                    <a:gs pos="100000">
                      <a:schemeClr val="bg2"/>
                    </a:gs>
                  </a:gsLst>
                  <a:lin ang="2700000" scaled="0"/>
                </a:gradFill>
                <a:latin typeface="Microsoft YaHei" panose="020B0503020204020204" pitchFamily="34" charset="-122"/>
                <a:ea typeface="Microsoft YaHei" panose="020B0503020204020204" pitchFamily="34" charset="-122"/>
              </a:rPr>
              <a:t>单击此处添加标题</a:t>
            </a:r>
            <a:endParaRPr kumimoji="1" lang="en-US" altLang="zh-CN" sz="1600" b="1" dirty="0">
              <a:gradFill>
                <a:gsLst>
                  <a:gs pos="0">
                    <a:schemeClr val="accent6">
                      <a:lumMod val="50000"/>
                    </a:schemeClr>
                  </a:gs>
                  <a:gs pos="100000">
                    <a:schemeClr val="bg2"/>
                  </a:gs>
                </a:gsLst>
                <a:lin ang="2700000" scaled="0"/>
              </a:gra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98DA6D06-111A-73A6-9C06-9352A90E42CD}"/>
              </a:ext>
            </a:extLst>
          </p:cNvPr>
          <p:cNvSpPr txBox="1"/>
          <p:nvPr/>
        </p:nvSpPr>
        <p:spPr bwMode="auto">
          <a:xfrm>
            <a:off x="4875857" y="1723088"/>
            <a:ext cx="2443460" cy="33855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defTabSz="914400"/>
            <a:r>
              <a:rPr kumimoji="1" lang="zh-CN" altLang="en-US" sz="1600" b="1" dirty="0">
                <a:gradFill>
                  <a:gsLst>
                    <a:gs pos="0">
                      <a:schemeClr val="accent6">
                        <a:lumMod val="50000"/>
                      </a:schemeClr>
                    </a:gs>
                    <a:gs pos="100000">
                      <a:schemeClr val="bg2"/>
                    </a:gs>
                  </a:gsLst>
                  <a:lin ang="2700000" scaled="0"/>
                </a:gradFill>
                <a:latin typeface="Microsoft YaHei" panose="020B0503020204020204" pitchFamily="34" charset="-122"/>
                <a:ea typeface="Microsoft YaHei" panose="020B0503020204020204" pitchFamily="34" charset="-122"/>
              </a:rPr>
              <a:t>单击此处添加标题</a:t>
            </a:r>
            <a:endParaRPr kumimoji="1" lang="en-US" altLang="zh-CN" sz="1600" b="1" dirty="0">
              <a:gradFill>
                <a:gsLst>
                  <a:gs pos="0">
                    <a:schemeClr val="accent6">
                      <a:lumMod val="50000"/>
                    </a:schemeClr>
                  </a:gs>
                  <a:gs pos="100000">
                    <a:schemeClr val="bg2"/>
                  </a:gs>
                </a:gsLst>
                <a:lin ang="2700000" scaled="0"/>
              </a:gra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3817AEE0-3149-EE34-05CC-D43F8C2B8D65}"/>
              </a:ext>
            </a:extLst>
          </p:cNvPr>
          <p:cNvSpPr txBox="1"/>
          <p:nvPr/>
        </p:nvSpPr>
        <p:spPr bwMode="auto">
          <a:xfrm>
            <a:off x="8661083" y="1723088"/>
            <a:ext cx="2443460" cy="33855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defTabSz="914400"/>
            <a:r>
              <a:rPr kumimoji="1" lang="zh-CN" altLang="en-US" sz="1600" b="1" dirty="0">
                <a:gradFill>
                  <a:gsLst>
                    <a:gs pos="0">
                      <a:schemeClr val="accent6">
                        <a:lumMod val="50000"/>
                      </a:schemeClr>
                    </a:gs>
                    <a:gs pos="100000">
                      <a:schemeClr val="bg2"/>
                    </a:gs>
                  </a:gsLst>
                  <a:lin ang="2700000" scaled="0"/>
                </a:gradFill>
                <a:latin typeface="Microsoft YaHei" panose="020B0503020204020204" pitchFamily="34" charset="-122"/>
                <a:ea typeface="Microsoft YaHei" panose="020B0503020204020204" pitchFamily="34" charset="-122"/>
              </a:rPr>
              <a:t>单击此处添加标题</a:t>
            </a:r>
            <a:endParaRPr kumimoji="1" lang="en-US" altLang="zh-CN" sz="1600" b="1" dirty="0">
              <a:gradFill>
                <a:gsLst>
                  <a:gs pos="0">
                    <a:schemeClr val="accent6">
                      <a:lumMod val="50000"/>
                    </a:schemeClr>
                  </a:gs>
                  <a:gs pos="100000">
                    <a:schemeClr val="bg2"/>
                  </a:gs>
                </a:gsLst>
                <a:lin ang="2700000" scaled="0"/>
              </a:gra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324633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86988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占位符 9">
            <a:extLst>
              <a:ext uri="{FF2B5EF4-FFF2-40B4-BE49-F238E27FC236}">
                <a16:creationId xmlns:a16="http://schemas.microsoft.com/office/drawing/2014/main" id="{E0628EAC-BA19-5A95-F993-9495480A56D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2" name="标题 11">
            <a:extLst>
              <a:ext uri="{FF2B5EF4-FFF2-40B4-BE49-F238E27FC236}">
                <a16:creationId xmlns:a16="http://schemas.microsoft.com/office/drawing/2014/main" id="{C0818B23-234D-F3D0-3134-0F7A045EC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01613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组合 39">
            <a:extLst>
              <a:ext uri="{FF2B5EF4-FFF2-40B4-BE49-F238E27FC236}">
                <a16:creationId xmlns:a16="http://schemas.microsoft.com/office/drawing/2014/main" id="{A1D13EB0-6BA2-28AE-266F-5FC1D768C571}"/>
              </a:ext>
            </a:extLst>
          </p:cNvPr>
          <p:cNvGrpSpPr/>
          <p:nvPr/>
        </p:nvGrpSpPr>
        <p:grpSpPr>
          <a:xfrm>
            <a:off x="559316" y="2204866"/>
            <a:ext cx="2141916" cy="2849593"/>
            <a:chOff x="559316" y="2204866"/>
            <a:chExt cx="2141916" cy="2849593"/>
          </a:xfrm>
        </p:grpSpPr>
        <p:sp>
          <p:nvSpPr>
            <p:cNvPr id="34" name="矩形: 圆角 4">
              <a:extLst>
                <a:ext uri="{FF2B5EF4-FFF2-40B4-BE49-F238E27FC236}">
                  <a16:creationId xmlns:a16="http://schemas.microsoft.com/office/drawing/2014/main" id="{6AD4A20E-AB4C-3764-F2D2-299E5523631B}"/>
                </a:ext>
              </a:extLst>
            </p:cNvPr>
            <p:cNvSpPr>
              <a:spLocks/>
            </p:cNvSpPr>
            <p:nvPr/>
          </p:nvSpPr>
          <p:spPr>
            <a:xfrm>
              <a:off x="559316" y="2492866"/>
              <a:ext cx="2141916" cy="2561593"/>
            </a:xfrm>
            <a:prstGeom prst="roundRect">
              <a:avLst>
                <a:gd name="adj" fmla="val 5843"/>
              </a:avLst>
            </a:prstGeom>
            <a:gradFill>
              <a:gsLst>
                <a:gs pos="0">
                  <a:schemeClr val="accent6">
                    <a:lumMod val="90000"/>
                    <a:alpha val="4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9525" cap="rnd">
              <a:gradFill>
                <a:gsLst>
                  <a:gs pos="0">
                    <a:schemeClr val="accent5">
                      <a:lumMod val="75000"/>
                    </a:schemeClr>
                  </a:gs>
                  <a:gs pos="100000">
                    <a:schemeClr val="accent6">
                      <a:alpha val="0"/>
                    </a:schemeClr>
                  </a:gs>
                </a:gsLst>
                <a:lin ang="5400000" scaled="0"/>
              </a:gra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normAutofit/>
            </a:bodyPr>
            <a:lstStyle/>
            <a:p>
              <a:pPr algn="r"/>
              <a:endParaRPr lang="zh-CN" altLang="en-US" b="1" dirty="0">
                <a:solidFill>
                  <a:schemeClr val="accent1"/>
                </a:solidFill>
              </a:endParaRPr>
            </a:p>
          </p:txBody>
        </p:sp>
        <p:sp>
          <p:nvSpPr>
            <p:cNvPr id="35" name="Bullet1">
              <a:extLst>
                <a:ext uri="{FF2B5EF4-FFF2-40B4-BE49-F238E27FC236}">
                  <a16:creationId xmlns:a16="http://schemas.microsoft.com/office/drawing/2014/main" id="{D1BEEA42-F4B9-4431-9D5F-E2856FF1D2FB}"/>
                </a:ext>
              </a:extLst>
            </p:cNvPr>
            <p:cNvSpPr txBox="1">
              <a:spLocks/>
            </p:cNvSpPr>
            <p:nvPr/>
          </p:nvSpPr>
          <p:spPr>
            <a:xfrm>
              <a:off x="612445" y="3164951"/>
              <a:ext cx="2034531" cy="134107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 marL="0" marR="0" lvl="0" indent="0" algn="ctr" defTabSz="108860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单击此处添加标题</a:t>
              </a:r>
              <a:endParaRPr kumimoji="0" lang="en-US" altLang="zh-CN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algn="ctr" defTabSz="1088608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zh-CN" altLang="en-US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单击此处添加正文</a:t>
              </a:r>
              <a:endPara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0" marR="0" lvl="0" indent="0" algn="ctr" defTabSz="108860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36" name="Number1">
              <a:extLst>
                <a:ext uri="{FF2B5EF4-FFF2-40B4-BE49-F238E27FC236}">
                  <a16:creationId xmlns:a16="http://schemas.microsoft.com/office/drawing/2014/main" id="{6E6008DD-4790-7445-A2D7-3F73507C049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344656" y="2204866"/>
              <a:ext cx="576000" cy="5760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6">
                    <a:lumMod val="50000"/>
                  </a:schemeClr>
                </a:gs>
                <a:gs pos="74000">
                  <a:srgbClr val="014C6C"/>
                </a:gs>
              </a:gsLst>
              <a:lin ang="2700000" scaled="1"/>
              <a:tileRect/>
            </a:gradFill>
            <a:ln w="38100">
              <a:noFill/>
            </a:ln>
            <a:effectLst>
              <a:outerShdw blurRad="127000" dist="63500" dir="2700000" algn="tl" rotWithShape="0">
                <a:schemeClr val="accent1">
                  <a:alpha val="15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rtlCol="0" anchor="ctr">
              <a:normAutofit lnSpcReduction="1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2000" b="1" dirty="0">
                  <a:solidFill>
                    <a:srgbClr val="FFFFFF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ea"/>
                </a:rPr>
                <a:t>1</a:t>
              </a:r>
              <a:endParaRPr lang="zh-CN" altLang="en-US" sz="20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</a:endParaRPr>
            </a:p>
          </p:txBody>
        </p:sp>
      </p:grpSp>
      <p:grpSp>
        <p:nvGrpSpPr>
          <p:cNvPr id="2" name="组合 1">
            <a:extLst>
              <a:ext uri="{FF2B5EF4-FFF2-40B4-BE49-F238E27FC236}">
                <a16:creationId xmlns:a16="http://schemas.microsoft.com/office/drawing/2014/main" id="{FD22D85D-7797-4BC7-57C7-8D003C771D5C}"/>
              </a:ext>
            </a:extLst>
          </p:cNvPr>
          <p:cNvGrpSpPr/>
          <p:nvPr/>
        </p:nvGrpSpPr>
        <p:grpSpPr>
          <a:xfrm>
            <a:off x="2792972" y="2507730"/>
            <a:ext cx="2141916" cy="2849593"/>
            <a:chOff x="2792972" y="2507730"/>
            <a:chExt cx="2141916" cy="2849593"/>
          </a:xfrm>
        </p:grpSpPr>
        <p:sp>
          <p:nvSpPr>
            <p:cNvPr id="31" name="矩形: 圆角 19">
              <a:extLst>
                <a:ext uri="{FF2B5EF4-FFF2-40B4-BE49-F238E27FC236}">
                  <a16:creationId xmlns:a16="http://schemas.microsoft.com/office/drawing/2014/main" id="{7C7195A5-52B2-C9FA-D7DA-71F0AC1BB78B}"/>
                </a:ext>
              </a:extLst>
            </p:cNvPr>
            <p:cNvSpPr>
              <a:spLocks/>
            </p:cNvSpPr>
            <p:nvPr/>
          </p:nvSpPr>
          <p:spPr>
            <a:xfrm>
              <a:off x="2792972" y="2795730"/>
              <a:ext cx="2141916" cy="2561593"/>
            </a:xfrm>
            <a:prstGeom prst="roundRect">
              <a:avLst>
                <a:gd name="adj" fmla="val 5843"/>
              </a:avLst>
            </a:prstGeom>
            <a:gradFill>
              <a:gsLst>
                <a:gs pos="0">
                  <a:schemeClr val="accent6">
                    <a:lumMod val="90000"/>
                    <a:alpha val="4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9525" cap="rnd">
              <a:gradFill>
                <a:gsLst>
                  <a:gs pos="0">
                    <a:schemeClr val="accent5">
                      <a:lumMod val="75000"/>
                    </a:schemeClr>
                  </a:gs>
                  <a:gs pos="100000">
                    <a:schemeClr val="accent6">
                      <a:alpha val="0"/>
                    </a:schemeClr>
                  </a:gs>
                </a:gsLst>
                <a:lin ang="5400000" scaled="0"/>
              </a:gra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normAutofit/>
            </a:bodyPr>
            <a:lstStyle/>
            <a:p>
              <a:pPr algn="r"/>
              <a:endParaRPr lang="zh-CN" altLang="en-US" b="1" dirty="0">
                <a:solidFill>
                  <a:schemeClr val="accent1"/>
                </a:solidFill>
              </a:endParaRPr>
            </a:p>
          </p:txBody>
        </p:sp>
        <p:sp>
          <p:nvSpPr>
            <p:cNvPr id="32" name="Bullet2">
              <a:extLst>
                <a:ext uri="{FF2B5EF4-FFF2-40B4-BE49-F238E27FC236}">
                  <a16:creationId xmlns:a16="http://schemas.microsoft.com/office/drawing/2014/main" id="{670BBC90-69FB-7B70-3FB0-3C985B4E4F40}"/>
                </a:ext>
              </a:extLst>
            </p:cNvPr>
            <p:cNvSpPr txBox="1">
              <a:spLocks/>
            </p:cNvSpPr>
            <p:nvPr/>
          </p:nvSpPr>
          <p:spPr>
            <a:xfrm>
              <a:off x="2846101" y="3467815"/>
              <a:ext cx="2034531" cy="134107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 marL="0" marR="0" lvl="0" indent="0" algn="ctr" defTabSz="108860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单击此处添加标题</a:t>
              </a:r>
              <a:endParaRPr kumimoji="0" lang="en-US" altLang="zh-CN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algn="ctr" defTabSz="1088608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zh-CN" altLang="en-US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单击此处添加正文</a:t>
              </a:r>
              <a:endPara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33" name="Number2">
              <a:extLst>
                <a:ext uri="{FF2B5EF4-FFF2-40B4-BE49-F238E27FC236}">
                  <a16:creationId xmlns:a16="http://schemas.microsoft.com/office/drawing/2014/main" id="{073C53FF-7455-9CD8-7FAE-C229B790321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75930" y="2507730"/>
              <a:ext cx="576000" cy="5760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6">
                    <a:lumMod val="50000"/>
                  </a:schemeClr>
                </a:gs>
                <a:gs pos="74000">
                  <a:srgbClr val="014C6C"/>
                </a:gs>
              </a:gsLst>
              <a:lin ang="2700000" scaled="1"/>
              <a:tileRect/>
            </a:gradFill>
            <a:ln w="38100">
              <a:noFill/>
            </a:ln>
            <a:effectLst>
              <a:outerShdw blurRad="127000" dist="63500" dir="2700000" algn="tl" rotWithShape="0">
                <a:schemeClr val="accent1">
                  <a:alpha val="15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rtlCol="0" anchor="ctr">
              <a:normAutofit lnSpcReduction="1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2000" b="1" dirty="0">
                  <a:solidFill>
                    <a:srgbClr val="FFFFFF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ea"/>
                </a:rPr>
                <a:t>2</a:t>
              </a:r>
              <a:endParaRPr lang="zh-CN" altLang="en-US" sz="20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</a:endParaRPr>
            </a:p>
          </p:txBody>
        </p:sp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8E0DB37D-7EC0-636A-1327-0C21559A867F}"/>
              </a:ext>
            </a:extLst>
          </p:cNvPr>
          <p:cNvGrpSpPr/>
          <p:nvPr/>
        </p:nvGrpSpPr>
        <p:grpSpPr>
          <a:xfrm>
            <a:off x="5026628" y="2810594"/>
            <a:ext cx="2141916" cy="2849593"/>
            <a:chOff x="5026628" y="2810594"/>
            <a:chExt cx="2141916" cy="2849593"/>
          </a:xfrm>
        </p:grpSpPr>
        <p:sp>
          <p:nvSpPr>
            <p:cNvPr id="28" name="矩形: 圆角 24">
              <a:extLst>
                <a:ext uri="{FF2B5EF4-FFF2-40B4-BE49-F238E27FC236}">
                  <a16:creationId xmlns:a16="http://schemas.microsoft.com/office/drawing/2014/main" id="{248C78DE-4C0D-3823-CC53-D3047B8BFD8B}"/>
                </a:ext>
              </a:extLst>
            </p:cNvPr>
            <p:cNvSpPr>
              <a:spLocks/>
            </p:cNvSpPr>
            <p:nvPr/>
          </p:nvSpPr>
          <p:spPr>
            <a:xfrm>
              <a:off x="5026628" y="3098594"/>
              <a:ext cx="2141916" cy="2561593"/>
            </a:xfrm>
            <a:prstGeom prst="roundRect">
              <a:avLst>
                <a:gd name="adj" fmla="val 5843"/>
              </a:avLst>
            </a:prstGeom>
            <a:gradFill>
              <a:gsLst>
                <a:gs pos="0">
                  <a:schemeClr val="accent6">
                    <a:lumMod val="90000"/>
                    <a:alpha val="4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9525" cap="rnd">
              <a:gradFill>
                <a:gsLst>
                  <a:gs pos="0">
                    <a:schemeClr val="accent5">
                      <a:lumMod val="75000"/>
                    </a:schemeClr>
                  </a:gs>
                  <a:gs pos="100000">
                    <a:schemeClr val="accent6">
                      <a:alpha val="0"/>
                    </a:schemeClr>
                  </a:gs>
                </a:gsLst>
                <a:lin ang="5400000" scaled="0"/>
              </a:gra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normAutofit/>
            </a:bodyPr>
            <a:lstStyle/>
            <a:p>
              <a:pPr algn="r"/>
              <a:endParaRPr lang="zh-CN" altLang="en-US" b="1" dirty="0">
                <a:solidFill>
                  <a:schemeClr val="accent1"/>
                </a:solidFill>
              </a:endParaRPr>
            </a:p>
          </p:txBody>
        </p:sp>
        <p:sp>
          <p:nvSpPr>
            <p:cNvPr id="29" name="Bullet3">
              <a:extLst>
                <a:ext uri="{FF2B5EF4-FFF2-40B4-BE49-F238E27FC236}">
                  <a16:creationId xmlns:a16="http://schemas.microsoft.com/office/drawing/2014/main" id="{66D7081B-FA9D-6136-6481-96951BD40833}"/>
                </a:ext>
              </a:extLst>
            </p:cNvPr>
            <p:cNvSpPr txBox="1">
              <a:spLocks/>
            </p:cNvSpPr>
            <p:nvPr/>
          </p:nvSpPr>
          <p:spPr>
            <a:xfrm>
              <a:off x="5079757" y="3770679"/>
              <a:ext cx="2034531" cy="134107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 marL="0" marR="0" lvl="0" indent="0" algn="ctr" defTabSz="108860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单击此处添加标题</a:t>
              </a:r>
              <a:endParaRPr kumimoji="0" lang="en-US" altLang="zh-CN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algn="ctr" defTabSz="1088608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zh-CN" altLang="en-US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单击此处添加正文</a:t>
              </a:r>
              <a:endPara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30" name="Number3">
              <a:extLst>
                <a:ext uri="{FF2B5EF4-FFF2-40B4-BE49-F238E27FC236}">
                  <a16:creationId xmlns:a16="http://schemas.microsoft.com/office/drawing/2014/main" id="{BD97D64A-B196-D369-0419-B04E0AE83AB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9586" y="2810594"/>
              <a:ext cx="576000" cy="5760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6">
                    <a:lumMod val="50000"/>
                  </a:schemeClr>
                </a:gs>
                <a:gs pos="74000">
                  <a:srgbClr val="014C6C"/>
                </a:gs>
              </a:gsLst>
              <a:lin ang="2700000" scaled="1"/>
              <a:tileRect/>
            </a:gradFill>
            <a:ln w="38100">
              <a:noFill/>
            </a:ln>
            <a:effectLst>
              <a:outerShdw blurRad="127000" dist="63500" dir="2700000" algn="tl" rotWithShape="0">
                <a:schemeClr val="accent1">
                  <a:alpha val="15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rtlCol="0" anchor="ctr">
              <a:normAutofit lnSpcReduction="1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2000" b="1" dirty="0">
                  <a:solidFill>
                    <a:srgbClr val="FFFFFF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ea"/>
                </a:rPr>
                <a:t>3</a:t>
              </a:r>
              <a:endParaRPr lang="zh-CN" altLang="en-US" sz="20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</a:endParaRPr>
            </a:p>
          </p:txBody>
        </p:sp>
      </p:grpSp>
      <p:grpSp>
        <p:nvGrpSpPr>
          <p:cNvPr id="4" name="组合 3">
            <a:extLst>
              <a:ext uri="{FF2B5EF4-FFF2-40B4-BE49-F238E27FC236}">
                <a16:creationId xmlns:a16="http://schemas.microsoft.com/office/drawing/2014/main" id="{295C8C70-76BC-95BC-5F7D-63CA19BC2D4D}"/>
              </a:ext>
            </a:extLst>
          </p:cNvPr>
          <p:cNvGrpSpPr/>
          <p:nvPr/>
        </p:nvGrpSpPr>
        <p:grpSpPr>
          <a:xfrm>
            <a:off x="7260284" y="2507730"/>
            <a:ext cx="2141916" cy="2849593"/>
            <a:chOff x="7260284" y="2507730"/>
            <a:chExt cx="2141916" cy="2849593"/>
          </a:xfrm>
        </p:grpSpPr>
        <p:sp>
          <p:nvSpPr>
            <p:cNvPr id="25" name="矩形: 圆角 29">
              <a:extLst>
                <a:ext uri="{FF2B5EF4-FFF2-40B4-BE49-F238E27FC236}">
                  <a16:creationId xmlns:a16="http://schemas.microsoft.com/office/drawing/2014/main" id="{73ED5668-9E24-BAF8-0CC2-4ECBA1D9BEAB}"/>
                </a:ext>
              </a:extLst>
            </p:cNvPr>
            <p:cNvSpPr>
              <a:spLocks/>
            </p:cNvSpPr>
            <p:nvPr/>
          </p:nvSpPr>
          <p:spPr>
            <a:xfrm>
              <a:off x="7260284" y="2795730"/>
              <a:ext cx="2141916" cy="2561593"/>
            </a:xfrm>
            <a:prstGeom prst="roundRect">
              <a:avLst>
                <a:gd name="adj" fmla="val 5843"/>
              </a:avLst>
            </a:prstGeom>
            <a:gradFill>
              <a:gsLst>
                <a:gs pos="0">
                  <a:schemeClr val="accent6">
                    <a:lumMod val="90000"/>
                    <a:alpha val="4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9525" cap="rnd">
              <a:gradFill>
                <a:gsLst>
                  <a:gs pos="0">
                    <a:schemeClr val="accent5">
                      <a:lumMod val="75000"/>
                    </a:schemeClr>
                  </a:gs>
                  <a:gs pos="100000">
                    <a:schemeClr val="accent6">
                      <a:alpha val="0"/>
                    </a:schemeClr>
                  </a:gs>
                </a:gsLst>
                <a:lin ang="5400000" scaled="0"/>
              </a:gra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normAutofit/>
            </a:bodyPr>
            <a:lstStyle/>
            <a:p>
              <a:pPr algn="r"/>
              <a:endParaRPr lang="zh-CN" altLang="en-US" b="1" dirty="0">
                <a:solidFill>
                  <a:schemeClr val="accent1"/>
                </a:solidFill>
              </a:endParaRPr>
            </a:p>
          </p:txBody>
        </p:sp>
        <p:sp>
          <p:nvSpPr>
            <p:cNvPr id="26" name="Bullet4">
              <a:extLst>
                <a:ext uri="{FF2B5EF4-FFF2-40B4-BE49-F238E27FC236}">
                  <a16:creationId xmlns:a16="http://schemas.microsoft.com/office/drawing/2014/main" id="{3F2B6B3B-6659-C09E-0594-5BD94B97D1ED}"/>
                </a:ext>
              </a:extLst>
            </p:cNvPr>
            <p:cNvSpPr txBox="1">
              <a:spLocks/>
            </p:cNvSpPr>
            <p:nvPr/>
          </p:nvSpPr>
          <p:spPr>
            <a:xfrm>
              <a:off x="7313413" y="3467815"/>
              <a:ext cx="2034531" cy="134107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 marL="0" marR="0" lvl="0" indent="0" algn="ctr" defTabSz="108860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单击此处添加标题</a:t>
              </a:r>
              <a:endParaRPr kumimoji="0" lang="en-US" altLang="zh-CN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algn="ctr" defTabSz="1088608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zh-CN" altLang="en-US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单击此处添加正文</a:t>
              </a:r>
              <a:endPara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27" name="Number4">
              <a:extLst>
                <a:ext uri="{FF2B5EF4-FFF2-40B4-BE49-F238E27FC236}">
                  <a16:creationId xmlns:a16="http://schemas.microsoft.com/office/drawing/2014/main" id="{2273C510-FD96-E8EA-5F20-840799E699B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43242" y="2507730"/>
              <a:ext cx="576000" cy="5760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6">
                    <a:lumMod val="50000"/>
                  </a:schemeClr>
                </a:gs>
                <a:gs pos="74000">
                  <a:srgbClr val="014C6C"/>
                </a:gs>
              </a:gsLst>
              <a:lin ang="2700000" scaled="1"/>
              <a:tileRect/>
            </a:gradFill>
            <a:ln w="38100">
              <a:noFill/>
            </a:ln>
            <a:effectLst>
              <a:outerShdw blurRad="127000" dist="63500" dir="2700000" algn="tl" rotWithShape="0">
                <a:schemeClr val="accent1">
                  <a:alpha val="15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rtlCol="0" anchor="ctr">
              <a:normAutofit lnSpcReduction="1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2000" b="1" dirty="0">
                  <a:solidFill>
                    <a:srgbClr val="FFFFFF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ea"/>
                </a:rPr>
                <a:t>4</a:t>
              </a:r>
              <a:endParaRPr lang="zh-CN" altLang="en-US" sz="20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</a:endParaRPr>
            </a:p>
          </p:txBody>
        </p:sp>
      </p:grpSp>
      <p:grpSp>
        <p:nvGrpSpPr>
          <p:cNvPr id="5" name="组合 4">
            <a:extLst>
              <a:ext uri="{FF2B5EF4-FFF2-40B4-BE49-F238E27FC236}">
                <a16:creationId xmlns:a16="http://schemas.microsoft.com/office/drawing/2014/main" id="{7BFAF4EA-1D63-84DA-FE10-2500A481CA31}"/>
              </a:ext>
            </a:extLst>
          </p:cNvPr>
          <p:cNvGrpSpPr/>
          <p:nvPr/>
        </p:nvGrpSpPr>
        <p:grpSpPr>
          <a:xfrm>
            <a:off x="9493942" y="2204866"/>
            <a:ext cx="2141916" cy="2849593"/>
            <a:chOff x="9493942" y="2204866"/>
            <a:chExt cx="2141916" cy="2849593"/>
          </a:xfrm>
        </p:grpSpPr>
        <p:sp>
          <p:nvSpPr>
            <p:cNvPr id="22" name="矩形: 圆角 34">
              <a:extLst>
                <a:ext uri="{FF2B5EF4-FFF2-40B4-BE49-F238E27FC236}">
                  <a16:creationId xmlns:a16="http://schemas.microsoft.com/office/drawing/2014/main" id="{4E014B70-67CC-28B3-4025-035346382B91}"/>
                </a:ext>
              </a:extLst>
            </p:cNvPr>
            <p:cNvSpPr>
              <a:spLocks/>
            </p:cNvSpPr>
            <p:nvPr/>
          </p:nvSpPr>
          <p:spPr>
            <a:xfrm>
              <a:off x="9493942" y="2492866"/>
              <a:ext cx="2141916" cy="2561593"/>
            </a:xfrm>
            <a:prstGeom prst="roundRect">
              <a:avLst>
                <a:gd name="adj" fmla="val 5843"/>
              </a:avLst>
            </a:prstGeom>
            <a:gradFill>
              <a:gsLst>
                <a:gs pos="0">
                  <a:schemeClr val="accent6">
                    <a:lumMod val="90000"/>
                    <a:alpha val="4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9525" cap="rnd">
              <a:gradFill>
                <a:gsLst>
                  <a:gs pos="0">
                    <a:schemeClr val="accent5">
                      <a:lumMod val="75000"/>
                    </a:schemeClr>
                  </a:gs>
                  <a:gs pos="100000">
                    <a:schemeClr val="accent6">
                      <a:alpha val="0"/>
                    </a:schemeClr>
                  </a:gs>
                </a:gsLst>
                <a:lin ang="5400000" scaled="0"/>
              </a:gra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normAutofit/>
            </a:bodyPr>
            <a:lstStyle/>
            <a:p>
              <a:pPr algn="r"/>
              <a:endParaRPr lang="zh-CN" altLang="en-US" b="1" dirty="0">
                <a:solidFill>
                  <a:schemeClr val="accent1"/>
                </a:solidFill>
              </a:endParaRPr>
            </a:p>
          </p:txBody>
        </p:sp>
        <p:sp>
          <p:nvSpPr>
            <p:cNvPr id="23" name="Bullet5">
              <a:extLst>
                <a:ext uri="{FF2B5EF4-FFF2-40B4-BE49-F238E27FC236}">
                  <a16:creationId xmlns:a16="http://schemas.microsoft.com/office/drawing/2014/main" id="{5AAA446A-DEDE-9FF1-0359-6917BC86698A}"/>
                </a:ext>
              </a:extLst>
            </p:cNvPr>
            <p:cNvSpPr txBox="1">
              <a:spLocks/>
            </p:cNvSpPr>
            <p:nvPr/>
          </p:nvSpPr>
          <p:spPr>
            <a:xfrm>
              <a:off x="9547071" y="3164951"/>
              <a:ext cx="2034531" cy="134107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 marL="0" marR="0" lvl="0" indent="0" algn="ctr" defTabSz="108860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单击此处添加标题</a:t>
              </a:r>
              <a:endParaRPr kumimoji="0" lang="en-US" altLang="zh-CN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algn="ctr" defTabSz="1088608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zh-CN" altLang="en-US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单击此处添加正文</a:t>
              </a:r>
              <a:endPara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24" name="Number5">
              <a:extLst>
                <a:ext uri="{FF2B5EF4-FFF2-40B4-BE49-F238E27FC236}">
                  <a16:creationId xmlns:a16="http://schemas.microsoft.com/office/drawing/2014/main" id="{2DBFE5DF-A660-9B93-3AB7-25D09B46BC7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276900" y="2204866"/>
              <a:ext cx="576000" cy="5760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6">
                    <a:lumMod val="50000"/>
                  </a:schemeClr>
                </a:gs>
                <a:gs pos="74000">
                  <a:srgbClr val="014C6C"/>
                </a:gs>
              </a:gsLst>
              <a:lin ang="2700000" scaled="1"/>
              <a:tileRect/>
            </a:gradFill>
            <a:ln w="38100">
              <a:noFill/>
            </a:ln>
            <a:effectLst>
              <a:outerShdw blurRad="127000" dist="63500" dir="2700000" algn="tl" rotWithShape="0">
                <a:schemeClr val="accent1">
                  <a:alpha val="15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rtlCol="0" anchor="ctr">
              <a:normAutofit lnSpcReduction="1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2000" b="1" dirty="0">
                  <a:solidFill>
                    <a:srgbClr val="FFFFFF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ea"/>
                </a:rPr>
                <a:t>5</a:t>
              </a:r>
              <a:endParaRPr lang="zh-CN" altLang="en-US" sz="20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61450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BF7C5761-58B2-0893-C43D-19647BA598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279" y="2959848"/>
            <a:ext cx="10008616" cy="939893"/>
          </a:xfrm>
        </p:spPr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6712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C224C4AF-6783-0CD4-F775-446DAF06B5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986970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组合 13">
            <a:extLst>
              <a:ext uri="{FF2B5EF4-FFF2-40B4-BE49-F238E27FC236}">
                <a16:creationId xmlns:a16="http://schemas.microsoft.com/office/drawing/2014/main" id="{A919EB5E-0667-F128-65B5-850212C3E69B}"/>
              </a:ext>
            </a:extLst>
          </p:cNvPr>
          <p:cNvGrpSpPr/>
          <p:nvPr/>
        </p:nvGrpSpPr>
        <p:grpSpPr>
          <a:xfrm>
            <a:off x="625227" y="1413570"/>
            <a:ext cx="5341066" cy="5034895"/>
            <a:chOff x="624408" y="1591201"/>
            <a:chExt cx="5499483" cy="4746863"/>
          </a:xfrm>
        </p:grpSpPr>
        <p:sp>
          <p:nvSpPr>
            <p:cNvPr id="7" name="同侧圆角矩形 6">
              <a:extLst>
                <a:ext uri="{FF2B5EF4-FFF2-40B4-BE49-F238E27FC236}">
                  <a16:creationId xmlns:a16="http://schemas.microsoft.com/office/drawing/2014/main" id="{168A5389-9DDD-D469-2F36-0A405C4495AF}"/>
                </a:ext>
              </a:extLst>
            </p:cNvPr>
            <p:cNvSpPr/>
            <p:nvPr/>
          </p:nvSpPr>
          <p:spPr bwMode="auto">
            <a:xfrm rot="10800000">
              <a:off x="625474" y="1729927"/>
              <a:ext cx="5498417" cy="4608137"/>
            </a:xfrm>
            <a:prstGeom prst="round2SameRect">
              <a:avLst>
                <a:gd name="adj1" fmla="val 3645"/>
                <a:gd name="adj2" fmla="val 0"/>
              </a:avLst>
            </a:prstGeom>
            <a:solidFill>
              <a:schemeClr val="bg1"/>
            </a:solidFill>
            <a:ln w="12700">
              <a:noFill/>
            </a:ln>
            <a:effectLst>
              <a:outerShdw blurRad="254000" dist="38100" dir="2160000" algn="tl" rotWithShape="0">
                <a:schemeClr val="accent6">
                  <a:lumMod val="50000"/>
                  <a:alpha val="1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088063"/>
              <a:endParaRPr lang="zh-CN" altLang="en-US" sz="14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8" name="同侧圆角矩形 6">
              <a:extLst>
                <a:ext uri="{FF2B5EF4-FFF2-40B4-BE49-F238E27FC236}">
                  <a16:creationId xmlns:a16="http://schemas.microsoft.com/office/drawing/2014/main" id="{DA0DF069-A678-7D04-BC30-4CC27038BA17}"/>
                </a:ext>
              </a:extLst>
            </p:cNvPr>
            <p:cNvSpPr/>
            <p:nvPr/>
          </p:nvSpPr>
          <p:spPr>
            <a:xfrm>
              <a:off x="624408" y="1591201"/>
              <a:ext cx="5499214" cy="370127"/>
            </a:xfrm>
            <a:prstGeom prst="round2SameRect">
              <a:avLst/>
            </a:prstGeom>
            <a:gradFill>
              <a:gsLst>
                <a:gs pos="0">
                  <a:schemeClr val="accent6">
                    <a:lumMod val="50000"/>
                  </a:schemeClr>
                </a:gs>
                <a:gs pos="92000">
                  <a:schemeClr val="bg2"/>
                </a:gs>
              </a:gsLst>
              <a:lin ang="2700000" scaled="0"/>
            </a:gradFill>
            <a:ln w="6350">
              <a:gradFill>
                <a:gsLst>
                  <a:gs pos="0">
                    <a:schemeClr val="accent6">
                      <a:lumMod val="50000"/>
                    </a:schemeClr>
                  </a:gs>
                  <a:gs pos="100000">
                    <a:schemeClr val="bg2"/>
                  </a:gs>
                </a:gsLst>
                <a:lin ang="2700000" scaled="0"/>
              </a:gradFill>
            </a:ln>
          </p:spPr>
          <p:txBody>
            <a:bodyPr lIns="108000" tIns="108000" rIns="108000" bIns="108000" rtlCol="0" anchor="ctr"/>
            <a:lstStyle/>
            <a:p>
              <a:pPr algn="ctr" defTabSz="914400"/>
              <a:r>
                <a:rPr kumimoji="1" lang="zh-CN" altLang="en-US" sz="1600" b="1" dirty="0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单击此处添加标题</a:t>
              </a:r>
              <a:endParaRPr kumimoji="1" lang="en-US" altLang="zh-CN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92A52DBA-7336-2792-25A3-C43A8DBB695E}"/>
              </a:ext>
            </a:extLst>
          </p:cNvPr>
          <p:cNvGrpSpPr/>
          <p:nvPr/>
        </p:nvGrpSpPr>
        <p:grpSpPr>
          <a:xfrm>
            <a:off x="6228882" y="1413570"/>
            <a:ext cx="5341066" cy="5034895"/>
            <a:chOff x="6220536" y="1591201"/>
            <a:chExt cx="5499483" cy="4746863"/>
          </a:xfrm>
        </p:grpSpPr>
        <p:sp>
          <p:nvSpPr>
            <p:cNvPr id="12" name="同侧圆角矩形 11">
              <a:extLst>
                <a:ext uri="{FF2B5EF4-FFF2-40B4-BE49-F238E27FC236}">
                  <a16:creationId xmlns:a16="http://schemas.microsoft.com/office/drawing/2014/main" id="{5EBBDA4E-10A9-E8DC-E8AD-9194C55FF270}"/>
                </a:ext>
              </a:extLst>
            </p:cNvPr>
            <p:cNvSpPr/>
            <p:nvPr/>
          </p:nvSpPr>
          <p:spPr bwMode="auto">
            <a:xfrm rot="10800000">
              <a:off x="6221602" y="1729927"/>
              <a:ext cx="5498417" cy="4608137"/>
            </a:xfrm>
            <a:prstGeom prst="round2SameRect">
              <a:avLst>
                <a:gd name="adj1" fmla="val 3645"/>
                <a:gd name="adj2" fmla="val 0"/>
              </a:avLst>
            </a:prstGeom>
            <a:solidFill>
              <a:schemeClr val="bg1"/>
            </a:solidFill>
            <a:ln w="12700">
              <a:noFill/>
            </a:ln>
            <a:effectLst>
              <a:outerShdw blurRad="254000" dist="38100" dir="2160000" algn="tl" rotWithShape="0">
                <a:schemeClr val="accent6">
                  <a:lumMod val="50000"/>
                  <a:alpha val="1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088063"/>
              <a:endParaRPr lang="zh-CN" altLang="en-US" sz="1400" b="1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13" name="同侧圆角矩形 6">
              <a:extLst>
                <a:ext uri="{FF2B5EF4-FFF2-40B4-BE49-F238E27FC236}">
                  <a16:creationId xmlns:a16="http://schemas.microsoft.com/office/drawing/2014/main" id="{90ACCC12-FCB0-E8D7-B0E1-FF4268281AB1}"/>
                </a:ext>
              </a:extLst>
            </p:cNvPr>
            <p:cNvSpPr/>
            <p:nvPr/>
          </p:nvSpPr>
          <p:spPr>
            <a:xfrm>
              <a:off x="6220536" y="1591201"/>
              <a:ext cx="5499214" cy="370127"/>
            </a:xfrm>
            <a:prstGeom prst="round2SameRect">
              <a:avLst/>
            </a:prstGeom>
            <a:solidFill>
              <a:srgbClr val="004D6D"/>
            </a:solidFill>
            <a:ln w="6350" cap="sq">
              <a:noFill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82" tIns="45742" rIns="91482" bIns="4574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kumimoji="1" lang="zh-CN" altLang="en-US" sz="1600" b="1" dirty="0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单击此处添加标题</a:t>
              </a:r>
              <a:endParaRPr kumimoji="1" lang="en-US" altLang="zh-CN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6" name="标题 5">
            <a:extLst>
              <a:ext uri="{FF2B5EF4-FFF2-40B4-BE49-F238E27FC236}">
                <a16:creationId xmlns:a16="http://schemas.microsoft.com/office/drawing/2014/main" id="{CC548E8F-2D34-2BC6-E41E-C7542BF6F4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855046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itle">
            <a:extLst>
              <a:ext uri="{FF2B5EF4-FFF2-40B4-BE49-F238E27FC236}">
                <a16:creationId xmlns:a16="http://schemas.microsoft.com/office/drawing/2014/main" id="{8E31505E-9B28-A4C2-1E45-C697C099E466}"/>
              </a:ext>
            </a:extLst>
          </p:cNvPr>
          <p:cNvSpPr/>
          <p:nvPr/>
        </p:nvSpPr>
        <p:spPr>
          <a:xfrm>
            <a:off x="1279134" y="5684401"/>
            <a:ext cx="2160500" cy="50411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57150" cap="rnd">
            <a:noFill/>
            <a:prstDash val="solid"/>
            <a:round/>
          </a:ln>
          <a:effectLst>
            <a:outerShdw blurRad="254000" dist="127000" dir="2700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61" tIns="45731" rIns="91461" bIns="45731" numCol="1" spcCol="0" rtlCol="0" fromWordArt="0" anchor="ctr" anchorCtr="0" forceAA="0" compatLnSpc="1">
            <a:normAutofit/>
          </a:bodyPr>
          <a:lstStyle/>
          <a:p>
            <a:pPr algn="ctr" defTabSz="913948"/>
            <a:r>
              <a:rPr lang="en-US" altLang="zh-CN" sz="16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  <a:sym typeface="+mn-lt"/>
              </a:rPr>
              <a:t>PART 01</a:t>
            </a:r>
            <a:endParaRPr lang="zh-CN" altLang="en-US" sz="16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ea"/>
              <a:sym typeface="+mn-lt"/>
            </a:endParaRPr>
          </a:p>
        </p:txBody>
      </p:sp>
      <p:grpSp>
        <p:nvGrpSpPr>
          <p:cNvPr id="46" name="组合 45">
            <a:extLst>
              <a:ext uri="{FF2B5EF4-FFF2-40B4-BE49-F238E27FC236}">
                <a16:creationId xmlns:a16="http://schemas.microsoft.com/office/drawing/2014/main" id="{D35A9EA6-C703-130A-AB6A-9AB3AAAEB30D}"/>
              </a:ext>
            </a:extLst>
          </p:cNvPr>
          <p:cNvGrpSpPr/>
          <p:nvPr/>
        </p:nvGrpSpPr>
        <p:grpSpPr>
          <a:xfrm>
            <a:off x="861929" y="2451563"/>
            <a:ext cx="2989637" cy="1309801"/>
            <a:chOff x="826712" y="1586597"/>
            <a:chExt cx="3960004" cy="1199295"/>
          </a:xfrm>
        </p:grpSpPr>
        <p:sp>
          <p:nvSpPr>
            <p:cNvPr id="51" name="Text1">
              <a:extLst>
                <a:ext uri="{FF2B5EF4-FFF2-40B4-BE49-F238E27FC236}">
                  <a16:creationId xmlns:a16="http://schemas.microsoft.com/office/drawing/2014/main" id="{EBE80F2C-6CF2-BFC5-9F0C-69855A10AAFE}"/>
                </a:ext>
              </a:extLst>
            </p:cNvPr>
            <p:cNvSpPr txBox="1">
              <a:spLocks/>
            </p:cNvSpPr>
            <p:nvPr/>
          </p:nvSpPr>
          <p:spPr>
            <a:xfrm>
              <a:off x="826716" y="2027574"/>
              <a:ext cx="3960000" cy="758318"/>
            </a:xfrm>
            <a:prstGeom prst="rect">
              <a:avLst/>
            </a:prstGeom>
            <a:noFill/>
          </p:spPr>
          <p:txBody>
            <a:bodyPr wrap="square" rtlCol="0" anchor="t" anchorCtr="0">
              <a:noAutofit/>
            </a:bodyPr>
            <a:lstStyle>
              <a:defPPr>
                <a:defRPr lang="zh-CN"/>
              </a:defPPr>
              <a:lvl1pPr marL="0" algn="ctr" defTabSz="914400" rtl="0" eaLnBrk="1" latinLnBrk="0" hangingPunct="1">
                <a:lnSpc>
                  <a:spcPct val="150000"/>
                </a:lnSpc>
                <a:defRPr sz="1200" kern="120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88608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zh-CN" altLang="en-US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ea"/>
                </a:rPr>
                <a:t>单击此处添加正文</a:t>
              </a:r>
              <a:endParaRPr lang="en-US" altLang="zh-CN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</a:endParaRPr>
            </a:p>
          </p:txBody>
        </p:sp>
        <p:sp>
          <p:nvSpPr>
            <p:cNvPr id="52" name="Bullet1">
              <a:extLst>
                <a:ext uri="{FF2B5EF4-FFF2-40B4-BE49-F238E27FC236}">
                  <a16:creationId xmlns:a16="http://schemas.microsoft.com/office/drawing/2014/main" id="{8E2F8607-584E-21FC-1207-B1141D9E83FC}"/>
                </a:ext>
              </a:extLst>
            </p:cNvPr>
            <p:cNvSpPr txBox="1">
              <a:spLocks/>
            </p:cNvSpPr>
            <p:nvPr/>
          </p:nvSpPr>
          <p:spPr>
            <a:xfrm>
              <a:off x="826712" y="1586597"/>
              <a:ext cx="3960000" cy="407921"/>
            </a:xfrm>
            <a:prstGeom prst="rect">
              <a:avLst/>
            </a:prstGeom>
            <a:noFill/>
          </p:spPr>
          <p:txBody>
            <a:bodyPr wrap="square" rtlCol="0" anchor="b" anchorCtr="0">
              <a:normAutofit/>
            </a:bodyPr>
            <a:lstStyle>
              <a:defPPr>
                <a:defRPr lang="zh-CN"/>
              </a:defPPr>
              <a:lvl1pPr marL="0" algn="ctr" defTabSz="914400" rtl="0" eaLnBrk="1" latinLnBrk="0" hangingPunct="1">
                <a:lnSpc>
                  <a:spcPct val="150000"/>
                </a:lnSpc>
                <a:defRPr sz="1200" kern="120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1088608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zh-CN" altLang="en-US" sz="1800" b="1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添加标题</a:t>
              </a:r>
              <a:endParaRPr lang="en-US" altLang="zh-CN" sz="18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47" name="组合 46">
            <a:extLst>
              <a:ext uri="{FF2B5EF4-FFF2-40B4-BE49-F238E27FC236}">
                <a16:creationId xmlns:a16="http://schemas.microsoft.com/office/drawing/2014/main" id="{1E6B5363-01B3-E042-AA97-E1DA1630DB5F}"/>
              </a:ext>
            </a:extLst>
          </p:cNvPr>
          <p:cNvGrpSpPr/>
          <p:nvPr/>
        </p:nvGrpSpPr>
        <p:grpSpPr>
          <a:xfrm>
            <a:off x="861928" y="4074912"/>
            <a:ext cx="2989637" cy="1309801"/>
            <a:chOff x="826711" y="1114063"/>
            <a:chExt cx="3960004" cy="1199295"/>
          </a:xfrm>
        </p:grpSpPr>
        <p:sp>
          <p:nvSpPr>
            <p:cNvPr id="49" name="Text1">
              <a:extLst>
                <a:ext uri="{FF2B5EF4-FFF2-40B4-BE49-F238E27FC236}">
                  <a16:creationId xmlns:a16="http://schemas.microsoft.com/office/drawing/2014/main" id="{C9D96CC7-2C6C-F4B3-40B5-9D75A27B7115}"/>
                </a:ext>
              </a:extLst>
            </p:cNvPr>
            <p:cNvSpPr txBox="1">
              <a:spLocks/>
            </p:cNvSpPr>
            <p:nvPr/>
          </p:nvSpPr>
          <p:spPr>
            <a:xfrm>
              <a:off x="826715" y="1555040"/>
              <a:ext cx="3960000" cy="758318"/>
            </a:xfrm>
            <a:prstGeom prst="rect">
              <a:avLst/>
            </a:prstGeom>
            <a:noFill/>
          </p:spPr>
          <p:txBody>
            <a:bodyPr wrap="square" rtlCol="0" anchor="t" anchorCtr="0">
              <a:noAutofit/>
            </a:bodyPr>
            <a:lstStyle>
              <a:defPPr>
                <a:defRPr lang="zh-CN"/>
              </a:defPPr>
              <a:lvl1pPr marL="0" algn="ctr" defTabSz="914400" rtl="0" eaLnBrk="1" latinLnBrk="0" hangingPunct="1">
                <a:lnSpc>
                  <a:spcPct val="150000"/>
                </a:lnSpc>
                <a:defRPr sz="1200" kern="120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88608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zh-CN" altLang="en-US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ea"/>
                </a:rPr>
                <a:t>单击此处添加正文</a:t>
              </a:r>
              <a:endParaRPr lang="en-US" altLang="zh-CN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</a:endParaRPr>
            </a:p>
          </p:txBody>
        </p:sp>
        <p:sp>
          <p:nvSpPr>
            <p:cNvPr id="50" name="Bullet1">
              <a:extLst>
                <a:ext uri="{FF2B5EF4-FFF2-40B4-BE49-F238E27FC236}">
                  <a16:creationId xmlns:a16="http://schemas.microsoft.com/office/drawing/2014/main" id="{7539F632-18A0-412F-742A-F220375AC920}"/>
                </a:ext>
              </a:extLst>
            </p:cNvPr>
            <p:cNvSpPr txBox="1">
              <a:spLocks/>
            </p:cNvSpPr>
            <p:nvPr/>
          </p:nvSpPr>
          <p:spPr>
            <a:xfrm>
              <a:off x="826711" y="1114063"/>
              <a:ext cx="3960000" cy="407921"/>
            </a:xfrm>
            <a:prstGeom prst="rect">
              <a:avLst/>
            </a:prstGeom>
            <a:noFill/>
          </p:spPr>
          <p:txBody>
            <a:bodyPr wrap="square" rtlCol="0" anchor="b" anchorCtr="0">
              <a:normAutofit/>
            </a:bodyPr>
            <a:lstStyle>
              <a:defPPr>
                <a:defRPr lang="zh-CN"/>
              </a:defPPr>
              <a:lvl1pPr marL="0" algn="ctr" defTabSz="914400" rtl="0" eaLnBrk="1" latinLnBrk="0" hangingPunct="1">
                <a:lnSpc>
                  <a:spcPct val="150000"/>
                </a:lnSpc>
                <a:defRPr sz="1200" kern="120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1088608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zh-CN" altLang="en-US" sz="1800" b="1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添加标题</a:t>
              </a:r>
              <a:endParaRPr lang="en-US" altLang="zh-CN" sz="18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02DEDAB6-191D-78B5-412E-1E2AAC7D8712}"/>
              </a:ext>
            </a:extLst>
          </p:cNvPr>
          <p:cNvCxnSpPr>
            <a:cxnSpLocks/>
          </p:cNvCxnSpPr>
          <p:nvPr/>
        </p:nvCxnSpPr>
        <p:spPr>
          <a:xfrm>
            <a:off x="955059" y="3895938"/>
            <a:ext cx="2808650" cy="0"/>
          </a:xfrm>
          <a:prstGeom prst="line">
            <a:avLst/>
          </a:prstGeom>
          <a:ln w="6350" cap="flat">
            <a:gradFill>
              <a:gsLst>
                <a:gs pos="0">
                  <a:schemeClr val="bg1">
                    <a:alpha val="0"/>
                  </a:schemeClr>
                </a:gs>
                <a:gs pos="25000">
                  <a:schemeClr val="accent6">
                    <a:lumMod val="50000"/>
                  </a:schemeClr>
                </a:gs>
                <a:gs pos="75000">
                  <a:schemeClr val="accent6">
                    <a:lumMod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prstDash val="lg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itle">
            <a:extLst>
              <a:ext uri="{FF2B5EF4-FFF2-40B4-BE49-F238E27FC236}">
                <a16:creationId xmlns:a16="http://schemas.microsoft.com/office/drawing/2014/main" id="{2675CEB7-3C44-C058-DD9D-AE770D15E6B5}"/>
              </a:ext>
            </a:extLst>
          </p:cNvPr>
          <p:cNvSpPr/>
          <p:nvPr/>
        </p:nvSpPr>
        <p:spPr>
          <a:xfrm>
            <a:off x="8742837" y="5684401"/>
            <a:ext cx="2160500" cy="50411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57150" cap="rnd">
            <a:noFill/>
            <a:prstDash val="solid"/>
            <a:round/>
          </a:ln>
          <a:effectLst>
            <a:outerShdw blurRad="254000" dist="127000" dir="2700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61" tIns="45731" rIns="91461" bIns="45731" numCol="1" spcCol="0" rtlCol="0" fromWordArt="0" anchor="ctr" anchorCtr="0" forceAA="0" compatLnSpc="1">
            <a:normAutofit/>
          </a:bodyPr>
          <a:lstStyle/>
          <a:p>
            <a:pPr algn="ctr" defTabSz="913948"/>
            <a:r>
              <a:rPr lang="en-US" altLang="zh-CN" sz="16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  <a:sym typeface="+mn-lt"/>
              </a:rPr>
              <a:t>PART 03</a:t>
            </a:r>
          </a:p>
        </p:txBody>
      </p:sp>
      <p:grpSp>
        <p:nvGrpSpPr>
          <p:cNvPr id="37" name="组合 36">
            <a:extLst>
              <a:ext uri="{FF2B5EF4-FFF2-40B4-BE49-F238E27FC236}">
                <a16:creationId xmlns:a16="http://schemas.microsoft.com/office/drawing/2014/main" id="{FC7D7D5E-35DF-CA0B-9E73-51E36D7813DD}"/>
              </a:ext>
            </a:extLst>
          </p:cNvPr>
          <p:cNvGrpSpPr/>
          <p:nvPr/>
        </p:nvGrpSpPr>
        <p:grpSpPr>
          <a:xfrm>
            <a:off x="8330905" y="2451562"/>
            <a:ext cx="2989638" cy="1309801"/>
            <a:chOff x="990686" y="1586597"/>
            <a:chExt cx="3960006" cy="1199295"/>
          </a:xfrm>
        </p:grpSpPr>
        <p:sp>
          <p:nvSpPr>
            <p:cNvPr id="42" name="Text1">
              <a:extLst>
                <a:ext uri="{FF2B5EF4-FFF2-40B4-BE49-F238E27FC236}">
                  <a16:creationId xmlns:a16="http://schemas.microsoft.com/office/drawing/2014/main" id="{AC45B625-A286-8805-C07A-FF078C238FE0}"/>
                </a:ext>
              </a:extLst>
            </p:cNvPr>
            <p:cNvSpPr txBox="1">
              <a:spLocks/>
            </p:cNvSpPr>
            <p:nvPr/>
          </p:nvSpPr>
          <p:spPr>
            <a:xfrm>
              <a:off x="990692" y="2027574"/>
              <a:ext cx="3960000" cy="758318"/>
            </a:xfrm>
            <a:prstGeom prst="rect">
              <a:avLst/>
            </a:prstGeom>
            <a:noFill/>
          </p:spPr>
          <p:txBody>
            <a:bodyPr wrap="square" rtlCol="0" anchor="t" anchorCtr="0">
              <a:noAutofit/>
            </a:bodyPr>
            <a:lstStyle>
              <a:defPPr>
                <a:defRPr lang="zh-CN"/>
              </a:defPPr>
              <a:lvl1pPr marL="0" algn="ctr" defTabSz="914400" rtl="0" eaLnBrk="1" latinLnBrk="0" hangingPunct="1">
                <a:lnSpc>
                  <a:spcPct val="150000"/>
                </a:lnSpc>
                <a:defRPr sz="1200" kern="120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88608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zh-CN" altLang="en-US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ea"/>
                </a:rPr>
                <a:t>单击此处添加正文</a:t>
              </a:r>
              <a:endParaRPr lang="en-US" altLang="zh-CN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</a:endParaRPr>
            </a:p>
          </p:txBody>
        </p:sp>
        <p:sp>
          <p:nvSpPr>
            <p:cNvPr id="43" name="Bullet1">
              <a:extLst>
                <a:ext uri="{FF2B5EF4-FFF2-40B4-BE49-F238E27FC236}">
                  <a16:creationId xmlns:a16="http://schemas.microsoft.com/office/drawing/2014/main" id="{BF3A173E-9769-C131-2CA5-5C1202CAF35E}"/>
                </a:ext>
              </a:extLst>
            </p:cNvPr>
            <p:cNvSpPr txBox="1">
              <a:spLocks/>
            </p:cNvSpPr>
            <p:nvPr/>
          </p:nvSpPr>
          <p:spPr>
            <a:xfrm>
              <a:off x="990686" y="1586597"/>
              <a:ext cx="3960000" cy="407921"/>
            </a:xfrm>
            <a:prstGeom prst="rect">
              <a:avLst/>
            </a:prstGeom>
            <a:noFill/>
          </p:spPr>
          <p:txBody>
            <a:bodyPr wrap="square" rtlCol="0" anchor="b" anchorCtr="0">
              <a:normAutofit/>
            </a:bodyPr>
            <a:lstStyle>
              <a:defPPr>
                <a:defRPr lang="zh-CN"/>
              </a:defPPr>
              <a:lvl1pPr marL="0" algn="ctr" defTabSz="914400" rtl="0" eaLnBrk="1" latinLnBrk="0" hangingPunct="1">
                <a:lnSpc>
                  <a:spcPct val="150000"/>
                </a:lnSpc>
                <a:defRPr sz="1200" kern="120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1088608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zh-CN" altLang="en-US" sz="1800" b="1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添加标题</a:t>
              </a:r>
              <a:endParaRPr lang="en-US" altLang="zh-CN" sz="18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2B134BFC-B38E-D41E-5105-11AE4637A902}"/>
              </a:ext>
            </a:extLst>
          </p:cNvPr>
          <p:cNvGrpSpPr/>
          <p:nvPr/>
        </p:nvGrpSpPr>
        <p:grpSpPr>
          <a:xfrm>
            <a:off x="8330905" y="4074912"/>
            <a:ext cx="2989638" cy="1309804"/>
            <a:chOff x="990686" y="1114063"/>
            <a:chExt cx="3960006" cy="1199298"/>
          </a:xfrm>
        </p:grpSpPr>
        <p:sp>
          <p:nvSpPr>
            <p:cNvPr id="40" name="Text1">
              <a:extLst>
                <a:ext uri="{FF2B5EF4-FFF2-40B4-BE49-F238E27FC236}">
                  <a16:creationId xmlns:a16="http://schemas.microsoft.com/office/drawing/2014/main" id="{D1E399E1-6E89-7CEF-4535-C56E71AA5D5B}"/>
                </a:ext>
              </a:extLst>
            </p:cNvPr>
            <p:cNvSpPr txBox="1">
              <a:spLocks/>
            </p:cNvSpPr>
            <p:nvPr/>
          </p:nvSpPr>
          <p:spPr>
            <a:xfrm>
              <a:off x="990692" y="1555043"/>
              <a:ext cx="3960000" cy="758318"/>
            </a:xfrm>
            <a:prstGeom prst="rect">
              <a:avLst/>
            </a:prstGeom>
            <a:noFill/>
          </p:spPr>
          <p:txBody>
            <a:bodyPr wrap="square" rtlCol="0" anchor="t" anchorCtr="0">
              <a:noAutofit/>
            </a:bodyPr>
            <a:lstStyle>
              <a:defPPr>
                <a:defRPr lang="zh-CN"/>
              </a:defPPr>
              <a:lvl1pPr marL="0" algn="ctr" defTabSz="914400" rtl="0" eaLnBrk="1" latinLnBrk="0" hangingPunct="1">
                <a:lnSpc>
                  <a:spcPct val="150000"/>
                </a:lnSpc>
                <a:defRPr sz="1200" kern="120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88608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zh-CN" altLang="en-US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ea"/>
                </a:rPr>
                <a:t>单击此处添加正文</a:t>
              </a:r>
              <a:endParaRPr lang="en-US" altLang="zh-CN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</a:endParaRPr>
            </a:p>
          </p:txBody>
        </p:sp>
        <p:sp>
          <p:nvSpPr>
            <p:cNvPr id="41" name="Bullet1">
              <a:extLst>
                <a:ext uri="{FF2B5EF4-FFF2-40B4-BE49-F238E27FC236}">
                  <a16:creationId xmlns:a16="http://schemas.microsoft.com/office/drawing/2014/main" id="{DA284FF5-48B0-5B63-B4CC-90A389D17EEB}"/>
                </a:ext>
              </a:extLst>
            </p:cNvPr>
            <p:cNvSpPr txBox="1">
              <a:spLocks/>
            </p:cNvSpPr>
            <p:nvPr/>
          </p:nvSpPr>
          <p:spPr>
            <a:xfrm>
              <a:off x="990686" y="1114063"/>
              <a:ext cx="3960000" cy="407921"/>
            </a:xfrm>
            <a:prstGeom prst="rect">
              <a:avLst/>
            </a:prstGeom>
            <a:noFill/>
          </p:spPr>
          <p:txBody>
            <a:bodyPr wrap="square" rtlCol="0" anchor="b" anchorCtr="0">
              <a:normAutofit/>
            </a:bodyPr>
            <a:lstStyle>
              <a:defPPr>
                <a:defRPr lang="zh-CN"/>
              </a:defPPr>
              <a:lvl1pPr marL="0" algn="ctr" defTabSz="914400" rtl="0" eaLnBrk="1" latinLnBrk="0" hangingPunct="1">
                <a:lnSpc>
                  <a:spcPct val="150000"/>
                </a:lnSpc>
                <a:defRPr sz="1200" kern="120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1088608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zh-CN" altLang="en-US" sz="1800" b="1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添加标题</a:t>
              </a:r>
              <a:endParaRPr lang="en-US" altLang="zh-CN" sz="18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6869AAF9-BB0C-C619-5A03-77E586AD95F5}"/>
              </a:ext>
            </a:extLst>
          </p:cNvPr>
          <p:cNvCxnSpPr>
            <a:cxnSpLocks/>
          </p:cNvCxnSpPr>
          <p:nvPr/>
        </p:nvCxnSpPr>
        <p:spPr>
          <a:xfrm>
            <a:off x="8418762" y="3895938"/>
            <a:ext cx="2808650" cy="0"/>
          </a:xfrm>
          <a:prstGeom prst="line">
            <a:avLst/>
          </a:prstGeom>
          <a:ln w="6350" cap="flat">
            <a:gradFill>
              <a:gsLst>
                <a:gs pos="0">
                  <a:schemeClr val="bg1">
                    <a:alpha val="0"/>
                  </a:schemeClr>
                </a:gs>
                <a:gs pos="25000">
                  <a:schemeClr val="accent6">
                    <a:lumMod val="50000"/>
                  </a:schemeClr>
                </a:gs>
                <a:gs pos="75000">
                  <a:schemeClr val="accent6">
                    <a:lumMod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prstDash val="lg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itle">
            <a:extLst>
              <a:ext uri="{FF2B5EF4-FFF2-40B4-BE49-F238E27FC236}">
                <a16:creationId xmlns:a16="http://schemas.microsoft.com/office/drawing/2014/main" id="{DA73FE04-F072-DE74-EB79-15EBFA78DC2A}"/>
              </a:ext>
            </a:extLst>
          </p:cNvPr>
          <p:cNvSpPr/>
          <p:nvPr/>
        </p:nvSpPr>
        <p:spPr>
          <a:xfrm>
            <a:off x="5010985" y="5684401"/>
            <a:ext cx="2160500" cy="50411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57150" cap="rnd">
            <a:noFill/>
            <a:prstDash val="solid"/>
            <a:round/>
          </a:ln>
          <a:effectLst>
            <a:outerShdw blurRad="254000" dist="127000" dir="2700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61" tIns="45731" rIns="91461" bIns="45731" numCol="1" spcCol="0" rtlCol="0" fromWordArt="0" anchor="ctr" anchorCtr="0" forceAA="0" compatLnSpc="1">
            <a:normAutofit/>
          </a:bodyPr>
          <a:lstStyle/>
          <a:p>
            <a:pPr algn="ctr" defTabSz="913948"/>
            <a:r>
              <a:rPr lang="en-US" altLang="zh-CN" sz="16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  <a:sym typeface="+mn-lt"/>
              </a:rPr>
              <a:t>PART 02</a:t>
            </a:r>
          </a:p>
        </p:txBody>
      </p: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39E6C857-7524-F283-08E1-98256EA7B694}"/>
              </a:ext>
            </a:extLst>
          </p:cNvPr>
          <p:cNvGrpSpPr/>
          <p:nvPr/>
        </p:nvGrpSpPr>
        <p:grpSpPr>
          <a:xfrm>
            <a:off x="4599053" y="2451562"/>
            <a:ext cx="2989638" cy="1309801"/>
            <a:chOff x="990686" y="1586597"/>
            <a:chExt cx="3960006" cy="1199295"/>
          </a:xfrm>
        </p:grpSpPr>
        <p:sp>
          <p:nvSpPr>
            <p:cNvPr id="61" name="Text1">
              <a:extLst>
                <a:ext uri="{FF2B5EF4-FFF2-40B4-BE49-F238E27FC236}">
                  <a16:creationId xmlns:a16="http://schemas.microsoft.com/office/drawing/2014/main" id="{84F2E9CB-D58A-F542-7808-986A1A9ECEAB}"/>
                </a:ext>
              </a:extLst>
            </p:cNvPr>
            <p:cNvSpPr txBox="1">
              <a:spLocks/>
            </p:cNvSpPr>
            <p:nvPr/>
          </p:nvSpPr>
          <p:spPr>
            <a:xfrm>
              <a:off x="990692" y="2027574"/>
              <a:ext cx="3960000" cy="758318"/>
            </a:xfrm>
            <a:prstGeom prst="rect">
              <a:avLst/>
            </a:prstGeom>
            <a:noFill/>
          </p:spPr>
          <p:txBody>
            <a:bodyPr wrap="square" rtlCol="0" anchor="t" anchorCtr="0">
              <a:noAutofit/>
            </a:bodyPr>
            <a:lstStyle>
              <a:defPPr>
                <a:defRPr lang="zh-CN"/>
              </a:defPPr>
              <a:lvl1pPr marL="0" algn="ctr" defTabSz="914400" rtl="0" eaLnBrk="1" latinLnBrk="0" hangingPunct="1">
                <a:lnSpc>
                  <a:spcPct val="150000"/>
                </a:lnSpc>
                <a:defRPr sz="1200" kern="120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88608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zh-CN" altLang="en-US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ea"/>
                </a:rPr>
                <a:t>单击此处添加正文</a:t>
              </a:r>
              <a:endParaRPr lang="en-US" altLang="zh-CN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</a:endParaRPr>
            </a:p>
          </p:txBody>
        </p:sp>
        <p:sp>
          <p:nvSpPr>
            <p:cNvPr id="62" name="Bullet1">
              <a:extLst>
                <a:ext uri="{FF2B5EF4-FFF2-40B4-BE49-F238E27FC236}">
                  <a16:creationId xmlns:a16="http://schemas.microsoft.com/office/drawing/2014/main" id="{3181069A-C362-AC68-4069-CE9A244935AC}"/>
                </a:ext>
              </a:extLst>
            </p:cNvPr>
            <p:cNvSpPr txBox="1">
              <a:spLocks/>
            </p:cNvSpPr>
            <p:nvPr/>
          </p:nvSpPr>
          <p:spPr>
            <a:xfrm>
              <a:off x="990686" y="1586597"/>
              <a:ext cx="3960000" cy="407921"/>
            </a:xfrm>
            <a:prstGeom prst="rect">
              <a:avLst/>
            </a:prstGeom>
            <a:noFill/>
          </p:spPr>
          <p:txBody>
            <a:bodyPr wrap="square" rtlCol="0" anchor="b" anchorCtr="0">
              <a:normAutofit/>
            </a:bodyPr>
            <a:lstStyle>
              <a:defPPr>
                <a:defRPr lang="zh-CN"/>
              </a:defPPr>
              <a:lvl1pPr marL="0" algn="ctr" defTabSz="914400" rtl="0" eaLnBrk="1" latinLnBrk="0" hangingPunct="1">
                <a:lnSpc>
                  <a:spcPct val="150000"/>
                </a:lnSpc>
                <a:defRPr sz="1200" kern="120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1088608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zh-CN" altLang="en-US" sz="1800" b="1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添加标题</a:t>
              </a:r>
              <a:endParaRPr lang="en-US" altLang="zh-CN" sz="18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57" name="组合 56">
            <a:extLst>
              <a:ext uri="{FF2B5EF4-FFF2-40B4-BE49-F238E27FC236}">
                <a16:creationId xmlns:a16="http://schemas.microsoft.com/office/drawing/2014/main" id="{09A5ABB9-B7DB-69D4-85DF-6550002E9B54}"/>
              </a:ext>
            </a:extLst>
          </p:cNvPr>
          <p:cNvGrpSpPr/>
          <p:nvPr/>
        </p:nvGrpSpPr>
        <p:grpSpPr>
          <a:xfrm>
            <a:off x="4599053" y="4074912"/>
            <a:ext cx="2989638" cy="1309804"/>
            <a:chOff x="990686" y="1114063"/>
            <a:chExt cx="3960006" cy="1199298"/>
          </a:xfrm>
        </p:grpSpPr>
        <p:sp>
          <p:nvSpPr>
            <p:cNvPr id="59" name="Text1">
              <a:extLst>
                <a:ext uri="{FF2B5EF4-FFF2-40B4-BE49-F238E27FC236}">
                  <a16:creationId xmlns:a16="http://schemas.microsoft.com/office/drawing/2014/main" id="{4041A866-5621-45AB-801D-CBC953F35F3F}"/>
                </a:ext>
              </a:extLst>
            </p:cNvPr>
            <p:cNvSpPr txBox="1">
              <a:spLocks/>
            </p:cNvSpPr>
            <p:nvPr/>
          </p:nvSpPr>
          <p:spPr>
            <a:xfrm>
              <a:off x="990692" y="1555043"/>
              <a:ext cx="3960000" cy="758318"/>
            </a:xfrm>
            <a:prstGeom prst="rect">
              <a:avLst/>
            </a:prstGeom>
            <a:noFill/>
          </p:spPr>
          <p:txBody>
            <a:bodyPr wrap="square" rtlCol="0" anchor="t" anchorCtr="0">
              <a:noAutofit/>
            </a:bodyPr>
            <a:lstStyle>
              <a:defPPr>
                <a:defRPr lang="zh-CN"/>
              </a:defPPr>
              <a:lvl1pPr marL="0" algn="ctr" defTabSz="914400" rtl="0" eaLnBrk="1" latinLnBrk="0" hangingPunct="1">
                <a:lnSpc>
                  <a:spcPct val="150000"/>
                </a:lnSpc>
                <a:defRPr sz="1200" kern="120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88608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zh-CN" altLang="en-US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ea"/>
                </a:rPr>
                <a:t>单击此处添加正文</a:t>
              </a:r>
              <a:endParaRPr lang="en-US" altLang="zh-CN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</a:endParaRPr>
            </a:p>
          </p:txBody>
        </p:sp>
        <p:sp>
          <p:nvSpPr>
            <p:cNvPr id="60" name="Bullet1">
              <a:extLst>
                <a:ext uri="{FF2B5EF4-FFF2-40B4-BE49-F238E27FC236}">
                  <a16:creationId xmlns:a16="http://schemas.microsoft.com/office/drawing/2014/main" id="{6E30FFD1-47C1-1F62-82C4-BCA793A82071}"/>
                </a:ext>
              </a:extLst>
            </p:cNvPr>
            <p:cNvSpPr txBox="1">
              <a:spLocks/>
            </p:cNvSpPr>
            <p:nvPr/>
          </p:nvSpPr>
          <p:spPr>
            <a:xfrm>
              <a:off x="990686" y="1114063"/>
              <a:ext cx="3960000" cy="407921"/>
            </a:xfrm>
            <a:prstGeom prst="rect">
              <a:avLst/>
            </a:prstGeom>
            <a:noFill/>
          </p:spPr>
          <p:txBody>
            <a:bodyPr wrap="square" rtlCol="0" anchor="b" anchorCtr="0">
              <a:normAutofit/>
            </a:bodyPr>
            <a:lstStyle>
              <a:defPPr>
                <a:defRPr lang="zh-CN"/>
              </a:defPPr>
              <a:lvl1pPr marL="0" algn="ctr" defTabSz="914400" rtl="0" eaLnBrk="1" latinLnBrk="0" hangingPunct="1">
                <a:lnSpc>
                  <a:spcPct val="150000"/>
                </a:lnSpc>
                <a:defRPr sz="1200" kern="120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1088608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zh-CN" altLang="en-US" sz="1800" b="1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添加标题</a:t>
              </a:r>
              <a:endParaRPr lang="en-US" altLang="zh-CN" sz="18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11CB058D-52ED-F0BE-F9DE-53B5D4B485D3}"/>
              </a:ext>
            </a:extLst>
          </p:cNvPr>
          <p:cNvCxnSpPr>
            <a:cxnSpLocks/>
          </p:cNvCxnSpPr>
          <p:nvPr/>
        </p:nvCxnSpPr>
        <p:spPr>
          <a:xfrm>
            <a:off x="4686910" y="3895938"/>
            <a:ext cx="2808650" cy="0"/>
          </a:xfrm>
          <a:prstGeom prst="line">
            <a:avLst/>
          </a:prstGeom>
          <a:ln w="6350" cap="flat">
            <a:gradFill>
              <a:gsLst>
                <a:gs pos="0">
                  <a:schemeClr val="bg1">
                    <a:alpha val="0"/>
                  </a:schemeClr>
                </a:gs>
                <a:gs pos="25000">
                  <a:schemeClr val="accent6">
                    <a:lumMod val="50000"/>
                  </a:schemeClr>
                </a:gs>
                <a:gs pos="75000">
                  <a:schemeClr val="accent6">
                    <a:lumMod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prstDash val="lg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标题 7">
            <a:extLst>
              <a:ext uri="{FF2B5EF4-FFF2-40B4-BE49-F238E27FC236}">
                <a16:creationId xmlns:a16="http://schemas.microsoft.com/office/drawing/2014/main" id="{9E24555B-2BEB-4BF1-A917-97DD1F1061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A76B7B75-4F44-7AD0-EFAB-FE50176728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796096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图片 37">
            <a:extLst>
              <a:ext uri="{FF2B5EF4-FFF2-40B4-BE49-F238E27FC236}">
                <a16:creationId xmlns:a16="http://schemas.microsoft.com/office/drawing/2014/main" id="{C6C8655C-EBE0-4644-8C78-261B1D78770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18000"/>
          </a:blip>
          <a:stretch>
            <a:fillRect/>
          </a:stretch>
        </p:blipFill>
        <p:spPr>
          <a:xfrm>
            <a:off x="933933" y="1989634"/>
            <a:ext cx="10255299" cy="4232019"/>
          </a:xfrm>
          <a:prstGeom prst="rect">
            <a:avLst/>
          </a:prstGeom>
        </p:spPr>
      </p:pic>
      <p:sp>
        <p:nvSpPr>
          <p:cNvPr id="4" name="标题 3">
            <a:extLst>
              <a:ext uri="{FF2B5EF4-FFF2-40B4-BE49-F238E27FC236}">
                <a16:creationId xmlns:a16="http://schemas.microsoft.com/office/drawing/2014/main" id="{47F065B3-617C-172F-36C8-87B8FD1954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13" name="Bullet1">
            <a:extLst>
              <a:ext uri="{FF2B5EF4-FFF2-40B4-BE49-F238E27FC236}">
                <a16:creationId xmlns:a16="http://schemas.microsoft.com/office/drawing/2014/main" id="{6A28DB2C-3833-CD08-B43B-80233CF26655}"/>
              </a:ext>
            </a:extLst>
          </p:cNvPr>
          <p:cNvSpPr txBox="1">
            <a:spLocks/>
          </p:cNvSpPr>
          <p:nvPr/>
        </p:nvSpPr>
        <p:spPr>
          <a:xfrm>
            <a:off x="1133776" y="1273917"/>
            <a:ext cx="9924448" cy="93626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0" marR="0" lvl="0" indent="0" defTabSz="108860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单击此处添加小标题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defTabSz="1088608">
              <a:spcBef>
                <a:spcPts val="300"/>
              </a:spcBef>
              <a:spcAft>
                <a:spcPts val="300"/>
              </a:spcAft>
              <a:defRPr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单击此处添加正文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0" marR="0" lvl="0" indent="0" defTabSz="108860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5D69B96A-4C81-CE54-0783-6896472CE086}"/>
              </a:ext>
            </a:extLst>
          </p:cNvPr>
          <p:cNvGrpSpPr/>
          <p:nvPr/>
        </p:nvGrpSpPr>
        <p:grpSpPr>
          <a:xfrm>
            <a:off x="11135806" y="2120658"/>
            <a:ext cx="310518" cy="2166560"/>
            <a:chOff x="11002840" y="3639654"/>
            <a:chExt cx="310518" cy="2166560"/>
          </a:xfrm>
        </p:grpSpPr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98514575-30A2-BD60-DBD3-0F987D621B66}"/>
                </a:ext>
              </a:extLst>
            </p:cNvPr>
            <p:cNvSpPr txBox="1"/>
            <p:nvPr/>
          </p:nvSpPr>
          <p:spPr bwMode="auto">
            <a:xfrm>
              <a:off x="11070430" y="4040740"/>
              <a:ext cx="229438" cy="1765474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36000" tIns="36000" rIns="36000" bIns="36000" rtlCol="0">
              <a:spAutoFit/>
            </a:bodyPr>
            <a:lstStyle/>
            <a:p>
              <a:pPr defTabSz="914400" eaLnBrk="1" hangingPunct="1"/>
              <a:r>
                <a:rPr kumimoji="1" lang="zh-CN" altLang="en-US" sz="1000" dirty="0">
                  <a:solidFill>
                    <a:schemeClr val="accent3"/>
                  </a:solidFill>
                  <a:latin typeface="Microsoft YaHei Light" panose="020B0503020204020204" pitchFamily="34" charset="-122"/>
                  <a:ea typeface="Microsoft YaHei Light" panose="020B0503020204020204" pitchFamily="34" charset="-122"/>
                </a:rPr>
                <a:t>表格外框可按需点选拉伸</a:t>
              </a:r>
            </a:p>
          </p:txBody>
        </p:sp>
        <p:pic>
          <p:nvPicPr>
            <p:cNvPr id="32" name="图片 31" descr="形状, 箭头&#10;&#10;AI 生成的内容可能不正确。">
              <a:extLst>
                <a:ext uri="{FF2B5EF4-FFF2-40B4-BE49-F238E27FC236}">
                  <a16:creationId xmlns:a16="http://schemas.microsoft.com/office/drawing/2014/main" id="{F7B1075E-BC0F-645C-29C8-BF01A3FCA2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002840" y="3639654"/>
              <a:ext cx="310518" cy="401086"/>
            </a:xfrm>
            <a:prstGeom prst="rect">
              <a:avLst/>
            </a:prstGeom>
          </p:spPr>
        </p:pic>
      </p:grp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D59CBD9F-77DD-1242-6AAF-14823C354B0B}"/>
              </a:ext>
            </a:extLst>
          </p:cNvPr>
          <p:cNvGrpSpPr/>
          <p:nvPr/>
        </p:nvGrpSpPr>
        <p:grpSpPr>
          <a:xfrm>
            <a:off x="1135363" y="2826157"/>
            <a:ext cx="9924448" cy="3323488"/>
            <a:chOff x="1133776" y="2826157"/>
            <a:chExt cx="9924448" cy="3323488"/>
          </a:xfrm>
        </p:grpSpPr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7A70C84F-99FB-0BD2-D970-91323CD87B9D}"/>
                </a:ext>
              </a:extLst>
            </p:cNvPr>
            <p:cNvSpPr/>
            <p:nvPr/>
          </p:nvSpPr>
          <p:spPr>
            <a:xfrm>
              <a:off x="1133777" y="3014560"/>
              <a:ext cx="9924447" cy="3135085"/>
            </a:xfrm>
            <a:prstGeom prst="roundRect">
              <a:avLst>
                <a:gd name="adj" fmla="val 6270"/>
              </a:avLst>
            </a:prstGeom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n w="6350">
              <a:gradFill>
                <a:gsLst>
                  <a:gs pos="0">
                    <a:schemeClr val="accent1"/>
                  </a:gs>
                  <a:gs pos="100000">
                    <a:schemeClr val="accent1">
                      <a:alpha val="27000"/>
                    </a:schemeClr>
                  </a:gs>
                </a:gsLst>
                <a:lin ang="5400000" scaled="1"/>
              </a:gradFill>
            </a:ln>
            <a:effectLst>
              <a:outerShdw blurRad="152400" dist="38100" dir="10800000" algn="r" rotWithShape="0">
                <a:schemeClr val="accent4">
                  <a:alpha val="12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>
                <a:ln>
                  <a:solidFill>
                    <a:schemeClr val="accent4">
                      <a:alpha val="75000"/>
                    </a:schemeClr>
                  </a:solidFill>
                </a:ln>
                <a:solidFill>
                  <a:schemeClr val="lt1"/>
                </a:solidFill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0" name="同侧圆角矩形 9">
              <a:extLst>
                <a:ext uri="{FF2B5EF4-FFF2-40B4-BE49-F238E27FC236}">
                  <a16:creationId xmlns:a16="http://schemas.microsoft.com/office/drawing/2014/main" id="{13BBBD24-F610-E186-EDE4-2CEDAA56CE13}"/>
                </a:ext>
              </a:extLst>
            </p:cNvPr>
            <p:cNvSpPr/>
            <p:nvPr/>
          </p:nvSpPr>
          <p:spPr bwMode="auto">
            <a:xfrm>
              <a:off x="1133776" y="2826157"/>
              <a:ext cx="9924448" cy="377781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accent6">
                    <a:lumMod val="50000"/>
                  </a:schemeClr>
                </a:gs>
                <a:gs pos="92000">
                  <a:schemeClr val="bg2"/>
                </a:gs>
              </a:gsLst>
              <a:lin ang="2700000" scaled="0"/>
            </a:gradFill>
            <a:ln w="6350">
              <a:gradFill>
                <a:gsLst>
                  <a:gs pos="0">
                    <a:schemeClr val="accent6">
                      <a:lumMod val="50000"/>
                    </a:schemeClr>
                  </a:gs>
                  <a:gs pos="100000">
                    <a:schemeClr val="bg2"/>
                  </a:gs>
                </a:gsLst>
                <a:lin ang="2700000" scaled="0"/>
              </a:gradFill>
            </a:ln>
          </p:spPr>
          <p:txBody>
            <a:bodyPr lIns="108000" tIns="108000" rIns="108000" bIns="108000" rtlCol="0" anchor="ctr"/>
            <a:lstStyle/>
            <a:p>
              <a:pPr algn="ctr"/>
              <a:endParaRPr kumimoji="1" lang="zh-CN" altLang="en-US"/>
            </a:p>
          </p:txBody>
        </p:sp>
      </p:grpSp>
      <p:cxnSp>
        <p:nvCxnSpPr>
          <p:cNvPr id="7" name="直线连接符 6">
            <a:extLst>
              <a:ext uri="{FF2B5EF4-FFF2-40B4-BE49-F238E27FC236}">
                <a16:creationId xmlns:a16="http://schemas.microsoft.com/office/drawing/2014/main" id="{008A0212-B192-76E3-7717-3F060E7B5DAC}"/>
              </a:ext>
            </a:extLst>
          </p:cNvPr>
          <p:cNvCxnSpPr/>
          <p:nvPr/>
        </p:nvCxnSpPr>
        <p:spPr>
          <a:xfrm>
            <a:off x="1411374" y="4020178"/>
            <a:ext cx="9311587" cy="0"/>
          </a:xfrm>
          <a:prstGeom prst="line">
            <a:avLst/>
          </a:prstGeom>
          <a:ln w="6350" cap="flat">
            <a:gradFill>
              <a:gsLst>
                <a:gs pos="0">
                  <a:schemeClr val="bg1">
                    <a:alpha val="0"/>
                  </a:schemeClr>
                </a:gs>
                <a:gs pos="25000">
                  <a:schemeClr val="accent6">
                    <a:lumMod val="50000"/>
                  </a:schemeClr>
                </a:gs>
                <a:gs pos="75000">
                  <a:schemeClr val="accent6">
                    <a:lumMod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prstDash val="lg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>
            <a:extLst>
              <a:ext uri="{FF2B5EF4-FFF2-40B4-BE49-F238E27FC236}">
                <a16:creationId xmlns:a16="http://schemas.microsoft.com/office/drawing/2014/main" id="{76C9A880-E82D-5369-27D9-DFD6CF4032FD}"/>
              </a:ext>
            </a:extLst>
          </p:cNvPr>
          <p:cNvSpPr txBox="1"/>
          <p:nvPr/>
        </p:nvSpPr>
        <p:spPr bwMode="auto">
          <a:xfrm>
            <a:off x="4153371" y="2869506"/>
            <a:ext cx="2277417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108839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单击此处添加标题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61D4227B-937E-77FF-D742-DBC8EB431760}"/>
              </a:ext>
            </a:extLst>
          </p:cNvPr>
          <p:cNvSpPr txBox="1"/>
          <p:nvPr/>
        </p:nvSpPr>
        <p:spPr bwMode="auto">
          <a:xfrm>
            <a:off x="7923112" y="2869506"/>
            <a:ext cx="2277417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108839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单击此处添加标题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CA1332AF-BB43-A9EC-2CFB-4CD0145DC184}"/>
              </a:ext>
            </a:extLst>
          </p:cNvPr>
          <p:cNvSpPr txBox="1"/>
          <p:nvPr/>
        </p:nvSpPr>
        <p:spPr bwMode="auto">
          <a:xfrm>
            <a:off x="1411374" y="3523697"/>
            <a:ext cx="1728192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indent="0" algn="ctr" font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200" b="1" dirty="0">
                <a:gradFill>
                  <a:gsLst>
                    <a:gs pos="6000">
                      <a:schemeClr val="accent6">
                        <a:lumMod val="50000"/>
                      </a:schemeClr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Microsoft YaHei" panose="020B0503020204020204" pitchFamily="34" charset="-122"/>
                <a:ea typeface="Microsoft YaHei" panose="020B0503020204020204" pitchFamily="34" charset="-122"/>
              </a:rPr>
              <a:t>单击此处添加内容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F92E07DC-387C-C221-AA27-7ECB99AAD416}"/>
              </a:ext>
            </a:extLst>
          </p:cNvPr>
          <p:cNvSpPr txBox="1"/>
          <p:nvPr/>
        </p:nvSpPr>
        <p:spPr bwMode="auto">
          <a:xfrm>
            <a:off x="1411374" y="4239660"/>
            <a:ext cx="1728192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indent="0" algn="ctr" font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200" b="1" dirty="0">
                <a:gradFill>
                  <a:gsLst>
                    <a:gs pos="6000">
                      <a:schemeClr val="accent6">
                        <a:lumMod val="50000"/>
                      </a:schemeClr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Microsoft YaHei" panose="020B0503020204020204" pitchFamily="34" charset="-122"/>
                <a:ea typeface="Microsoft YaHei" panose="020B0503020204020204" pitchFamily="34" charset="-122"/>
              </a:rPr>
              <a:t>单击此处添加内容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CBFEED3E-F1B7-681D-A96B-6B23171526B1}"/>
              </a:ext>
            </a:extLst>
          </p:cNvPr>
          <p:cNvSpPr txBox="1"/>
          <p:nvPr/>
        </p:nvSpPr>
        <p:spPr bwMode="auto">
          <a:xfrm>
            <a:off x="1411374" y="5671585"/>
            <a:ext cx="1728192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indent="0" algn="ctr" font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200" b="1" dirty="0">
                <a:gradFill>
                  <a:gsLst>
                    <a:gs pos="6000">
                      <a:schemeClr val="accent6">
                        <a:lumMod val="50000"/>
                      </a:schemeClr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Microsoft YaHei" panose="020B0503020204020204" pitchFamily="34" charset="-122"/>
                <a:ea typeface="Microsoft YaHei" panose="020B0503020204020204" pitchFamily="34" charset="-122"/>
              </a:rPr>
              <a:t>单击此处添加内容</a:t>
            </a: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6C129807-B1B7-9E16-ECB1-42A7BCCA9B3C}"/>
              </a:ext>
            </a:extLst>
          </p:cNvPr>
          <p:cNvSpPr txBox="1"/>
          <p:nvPr/>
        </p:nvSpPr>
        <p:spPr bwMode="auto">
          <a:xfrm>
            <a:off x="4427983" y="3523697"/>
            <a:ext cx="1728192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algn="ctr" fontAlgn="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单击此处添加正文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F417EDBE-D4BA-E5F0-142D-C0E04C033B81}"/>
              </a:ext>
            </a:extLst>
          </p:cNvPr>
          <p:cNvSpPr txBox="1"/>
          <p:nvPr/>
        </p:nvSpPr>
        <p:spPr bwMode="auto">
          <a:xfrm>
            <a:off x="4427983" y="4239660"/>
            <a:ext cx="1728192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algn="ctr" fontAlgn="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单击此处添加正文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7EF6D3A7-24EE-8C3A-AA39-7807F35AA543}"/>
              </a:ext>
            </a:extLst>
          </p:cNvPr>
          <p:cNvSpPr txBox="1"/>
          <p:nvPr/>
        </p:nvSpPr>
        <p:spPr bwMode="auto">
          <a:xfrm>
            <a:off x="4427983" y="5671585"/>
            <a:ext cx="1728192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algn="ctr" fontAlgn="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单击此处添加正文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18E34178-B6CE-1BE3-4439-E0383AF0BA27}"/>
              </a:ext>
            </a:extLst>
          </p:cNvPr>
          <p:cNvSpPr txBox="1"/>
          <p:nvPr/>
        </p:nvSpPr>
        <p:spPr bwMode="auto">
          <a:xfrm>
            <a:off x="8197724" y="3523697"/>
            <a:ext cx="1728192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algn="ctr" fontAlgn="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单击此处添加正文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93B29430-F7BD-0965-5158-F2CB44E406EC}"/>
              </a:ext>
            </a:extLst>
          </p:cNvPr>
          <p:cNvSpPr txBox="1"/>
          <p:nvPr/>
        </p:nvSpPr>
        <p:spPr bwMode="auto">
          <a:xfrm>
            <a:off x="8197724" y="4239660"/>
            <a:ext cx="1728192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algn="ctr" fontAlgn="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单击此处添加正文</a:t>
            </a: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965FE27A-D534-A075-40E8-628D3EBC743D}"/>
              </a:ext>
            </a:extLst>
          </p:cNvPr>
          <p:cNvSpPr txBox="1"/>
          <p:nvPr/>
        </p:nvSpPr>
        <p:spPr bwMode="auto">
          <a:xfrm>
            <a:off x="8197724" y="5671585"/>
            <a:ext cx="1728192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algn="ctr" fontAlgn="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单击此处添加正文</a:t>
            </a:r>
          </a:p>
        </p:txBody>
      </p:sp>
      <p:cxnSp>
        <p:nvCxnSpPr>
          <p:cNvPr id="8" name="直线连接符 7">
            <a:extLst>
              <a:ext uri="{FF2B5EF4-FFF2-40B4-BE49-F238E27FC236}">
                <a16:creationId xmlns:a16="http://schemas.microsoft.com/office/drawing/2014/main" id="{6B0626A5-F320-F068-6660-F61EBE583C34}"/>
              </a:ext>
            </a:extLst>
          </p:cNvPr>
          <p:cNvCxnSpPr/>
          <p:nvPr/>
        </p:nvCxnSpPr>
        <p:spPr>
          <a:xfrm>
            <a:off x="1424804" y="4736141"/>
            <a:ext cx="9311587" cy="0"/>
          </a:xfrm>
          <a:prstGeom prst="line">
            <a:avLst/>
          </a:prstGeom>
          <a:ln w="6350" cap="flat">
            <a:gradFill>
              <a:gsLst>
                <a:gs pos="0">
                  <a:schemeClr val="bg1">
                    <a:alpha val="0"/>
                  </a:schemeClr>
                </a:gs>
                <a:gs pos="25000">
                  <a:schemeClr val="accent6">
                    <a:lumMod val="50000"/>
                  </a:schemeClr>
                </a:gs>
                <a:gs pos="75000">
                  <a:schemeClr val="accent6">
                    <a:lumMod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prstDash val="lg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线连接符 8">
            <a:extLst>
              <a:ext uri="{FF2B5EF4-FFF2-40B4-BE49-F238E27FC236}">
                <a16:creationId xmlns:a16="http://schemas.microsoft.com/office/drawing/2014/main" id="{8792702F-1105-B1CC-8D04-DC0A5953D69F}"/>
              </a:ext>
            </a:extLst>
          </p:cNvPr>
          <p:cNvCxnSpPr/>
          <p:nvPr/>
        </p:nvCxnSpPr>
        <p:spPr>
          <a:xfrm>
            <a:off x="1469039" y="5452104"/>
            <a:ext cx="9311587" cy="0"/>
          </a:xfrm>
          <a:prstGeom prst="line">
            <a:avLst/>
          </a:prstGeom>
          <a:ln w="6350" cap="flat">
            <a:gradFill>
              <a:gsLst>
                <a:gs pos="0">
                  <a:schemeClr val="bg1">
                    <a:alpha val="0"/>
                  </a:schemeClr>
                </a:gs>
                <a:gs pos="25000">
                  <a:schemeClr val="accent6">
                    <a:lumMod val="50000"/>
                  </a:schemeClr>
                </a:gs>
                <a:gs pos="75000">
                  <a:schemeClr val="accent6">
                    <a:lumMod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prstDash val="lg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文本框 17">
            <a:extLst>
              <a:ext uri="{FF2B5EF4-FFF2-40B4-BE49-F238E27FC236}">
                <a16:creationId xmlns:a16="http://schemas.microsoft.com/office/drawing/2014/main" id="{E9819A47-86B4-FD10-0416-EDD2E48F8A61}"/>
              </a:ext>
            </a:extLst>
          </p:cNvPr>
          <p:cNvSpPr txBox="1"/>
          <p:nvPr/>
        </p:nvSpPr>
        <p:spPr bwMode="auto">
          <a:xfrm>
            <a:off x="1411374" y="4955623"/>
            <a:ext cx="1728192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indent="0" algn="ctr" font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200" b="1" dirty="0">
                <a:gradFill>
                  <a:gsLst>
                    <a:gs pos="6000">
                      <a:schemeClr val="accent6">
                        <a:lumMod val="50000"/>
                      </a:schemeClr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Microsoft YaHei" panose="020B0503020204020204" pitchFamily="34" charset="-122"/>
                <a:ea typeface="Microsoft YaHei" panose="020B0503020204020204" pitchFamily="34" charset="-122"/>
              </a:rPr>
              <a:t>单击此处添加内容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24A8B7E6-4902-7BB7-D57B-4F911E7FF4A8}"/>
              </a:ext>
            </a:extLst>
          </p:cNvPr>
          <p:cNvSpPr txBox="1"/>
          <p:nvPr/>
        </p:nvSpPr>
        <p:spPr bwMode="auto">
          <a:xfrm>
            <a:off x="4427983" y="4955623"/>
            <a:ext cx="1728192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algn="ctr" fontAlgn="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单击此处添加正文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96AE04EA-E0F2-09C4-3851-AEA28220FE25}"/>
              </a:ext>
            </a:extLst>
          </p:cNvPr>
          <p:cNvSpPr txBox="1"/>
          <p:nvPr/>
        </p:nvSpPr>
        <p:spPr bwMode="auto">
          <a:xfrm>
            <a:off x="8197724" y="4955623"/>
            <a:ext cx="1728192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algn="ctr" fontAlgn="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单击此处添加正文</a:t>
            </a:r>
          </a:p>
        </p:txBody>
      </p:sp>
    </p:spTree>
    <p:extLst>
      <p:ext uri="{BB962C8B-B14F-4D97-AF65-F5344CB8AC3E}">
        <p14:creationId xmlns:p14="http://schemas.microsoft.com/office/powerpoint/2010/main" val="37663571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圆角矩形 147">
            <a:extLst>
              <a:ext uri="{FF2B5EF4-FFF2-40B4-BE49-F238E27FC236}">
                <a16:creationId xmlns:a16="http://schemas.microsoft.com/office/drawing/2014/main" id="{4F304BED-790F-B37A-F88A-842F3497BE1A}"/>
              </a:ext>
            </a:extLst>
          </p:cNvPr>
          <p:cNvSpPr/>
          <p:nvPr/>
        </p:nvSpPr>
        <p:spPr bwMode="auto">
          <a:xfrm>
            <a:off x="658191" y="4831552"/>
            <a:ext cx="10878793" cy="1584267"/>
          </a:xfrm>
          <a:prstGeom prst="roundRect">
            <a:avLst>
              <a:gd name="adj" fmla="val 7735"/>
            </a:avLst>
          </a:prstGeom>
          <a:solidFill>
            <a:schemeClr val="bg1"/>
          </a:solidFill>
          <a:ln w="12700">
            <a:noFill/>
          </a:ln>
          <a:effectLst>
            <a:outerShdw blurRad="254000" dist="38100" dir="2160000" algn="tl" rotWithShape="0">
              <a:schemeClr val="accent6">
                <a:lumMod val="50000"/>
                <a:alpha val="1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88063"/>
            <a:endParaRPr lang="zh-CN" altLang="en-US" sz="14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3" name="圆角矩形 102">
            <a:extLst>
              <a:ext uri="{FF2B5EF4-FFF2-40B4-BE49-F238E27FC236}">
                <a16:creationId xmlns:a16="http://schemas.microsoft.com/office/drawing/2014/main" id="{B09B9C24-384A-1DB7-C5C1-9BFA8C276831}"/>
              </a:ext>
            </a:extLst>
          </p:cNvPr>
          <p:cNvSpPr/>
          <p:nvPr/>
        </p:nvSpPr>
        <p:spPr bwMode="auto">
          <a:xfrm>
            <a:off x="658191" y="3057180"/>
            <a:ext cx="10878793" cy="1584267"/>
          </a:xfrm>
          <a:prstGeom prst="roundRect">
            <a:avLst>
              <a:gd name="adj" fmla="val 7735"/>
            </a:avLst>
          </a:prstGeom>
          <a:solidFill>
            <a:schemeClr val="bg1"/>
          </a:solidFill>
          <a:ln w="12700">
            <a:noFill/>
          </a:ln>
          <a:effectLst>
            <a:outerShdw blurRad="254000" dist="38100" dir="2160000" algn="tl" rotWithShape="0">
              <a:schemeClr val="accent6">
                <a:lumMod val="50000"/>
                <a:alpha val="1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88063"/>
            <a:endParaRPr lang="zh-CN" altLang="en-US" sz="14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2" name="圆角矩形 101">
            <a:extLst>
              <a:ext uri="{FF2B5EF4-FFF2-40B4-BE49-F238E27FC236}">
                <a16:creationId xmlns:a16="http://schemas.microsoft.com/office/drawing/2014/main" id="{C13F3456-D253-2A00-93C5-32A2F91BAEEE}"/>
              </a:ext>
            </a:extLst>
          </p:cNvPr>
          <p:cNvSpPr/>
          <p:nvPr/>
        </p:nvSpPr>
        <p:spPr bwMode="auto">
          <a:xfrm>
            <a:off x="658191" y="1277526"/>
            <a:ext cx="10878793" cy="1584267"/>
          </a:xfrm>
          <a:prstGeom prst="roundRect">
            <a:avLst>
              <a:gd name="adj" fmla="val 7735"/>
            </a:avLst>
          </a:prstGeom>
          <a:solidFill>
            <a:schemeClr val="bg1"/>
          </a:solidFill>
          <a:ln w="12700">
            <a:noFill/>
          </a:ln>
          <a:effectLst>
            <a:outerShdw blurRad="254000" dist="38100" dir="2160000" algn="tl" rotWithShape="0">
              <a:schemeClr val="accent6">
                <a:lumMod val="50000"/>
                <a:alpha val="1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88063"/>
            <a:endParaRPr lang="zh-CN" altLang="en-US" sz="14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1" name="标题 100">
            <a:extLst>
              <a:ext uri="{FF2B5EF4-FFF2-40B4-BE49-F238E27FC236}">
                <a16:creationId xmlns:a16="http://schemas.microsoft.com/office/drawing/2014/main" id="{0D57301F-3347-BEFE-0321-1F1E5FD86C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CA8AF0D6-9478-084F-8081-322D6B5F1C58}"/>
              </a:ext>
            </a:extLst>
          </p:cNvPr>
          <p:cNvGrpSpPr>
            <a:grpSpLocks noChangeAspect="1"/>
          </p:cNvGrpSpPr>
          <p:nvPr/>
        </p:nvGrpSpPr>
        <p:grpSpPr>
          <a:xfrm>
            <a:off x="1019258" y="3567102"/>
            <a:ext cx="10267462" cy="729489"/>
            <a:chOff x="887491" y="2926302"/>
            <a:chExt cx="10265090" cy="729315"/>
          </a:xfrm>
        </p:grpSpPr>
        <p:cxnSp>
          <p:nvCxnSpPr>
            <p:cNvPr id="27" name="直接连接符 2">
              <a:extLst>
                <a:ext uri="{FF2B5EF4-FFF2-40B4-BE49-F238E27FC236}">
                  <a16:creationId xmlns:a16="http://schemas.microsoft.com/office/drawing/2014/main" id="{A0228DE6-1295-F5F0-37AC-3814240E9F2B}"/>
                </a:ext>
              </a:extLst>
            </p:cNvPr>
            <p:cNvCxnSpPr>
              <a:cxnSpLocks/>
              <a:endCxn id="34" idx="2"/>
            </p:cNvCxnSpPr>
            <p:nvPr/>
          </p:nvCxnSpPr>
          <p:spPr>
            <a:xfrm>
              <a:off x="1929826" y="3042377"/>
              <a:ext cx="7526596" cy="4196"/>
            </a:xfrm>
            <a:prstGeom prst="line">
              <a:avLst/>
            </a:prstGeom>
            <a:ln w="101600">
              <a:solidFill>
                <a:schemeClr val="bg2">
                  <a:alpha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11_1">
              <a:extLst>
                <a:ext uri="{FF2B5EF4-FFF2-40B4-BE49-F238E27FC236}">
                  <a16:creationId xmlns:a16="http://schemas.microsoft.com/office/drawing/2014/main" id="{260CA392-9AEE-135D-436A-D565A2287236}"/>
                </a:ext>
              </a:extLst>
            </p:cNvPr>
            <p:cNvCxnSpPr>
              <a:cxnSpLocks/>
            </p:cNvCxnSpPr>
            <p:nvPr/>
          </p:nvCxnSpPr>
          <p:spPr>
            <a:xfrm>
              <a:off x="1213000" y="3046572"/>
              <a:ext cx="1016328" cy="0"/>
            </a:xfrm>
            <a:prstGeom prst="line">
              <a:avLst/>
            </a:prstGeom>
            <a:ln w="101600" cap="rnd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" name="组合 28">
              <a:extLst>
                <a:ext uri="{FF2B5EF4-FFF2-40B4-BE49-F238E27FC236}">
                  <a16:creationId xmlns:a16="http://schemas.microsoft.com/office/drawing/2014/main" id="{D0BB2375-21CD-2D29-B95A-380411927FF5}"/>
                </a:ext>
              </a:extLst>
            </p:cNvPr>
            <p:cNvGrpSpPr/>
            <p:nvPr/>
          </p:nvGrpSpPr>
          <p:grpSpPr>
            <a:xfrm>
              <a:off x="887491" y="2926326"/>
              <a:ext cx="1753072" cy="729320"/>
              <a:chOff x="1788146" y="3180753"/>
              <a:chExt cx="1753072" cy="729320"/>
            </a:xfrm>
          </p:grpSpPr>
          <p:sp>
            <p:nvSpPr>
              <p:cNvPr id="42" name="Bullet1">
                <a:extLst>
                  <a:ext uri="{FF2B5EF4-FFF2-40B4-BE49-F238E27FC236}">
                    <a16:creationId xmlns:a16="http://schemas.microsoft.com/office/drawing/2014/main" id="{EF693038-09F8-2E50-B37C-DA6EFECCE4E1}"/>
                  </a:ext>
                </a:extLst>
              </p:cNvPr>
              <p:cNvSpPr txBox="1"/>
              <p:nvPr/>
            </p:nvSpPr>
            <p:spPr bwMode="auto">
              <a:xfrm>
                <a:off x="1788146" y="3537298"/>
                <a:ext cx="1753072" cy="37277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t"/>
                <a:r>
                  <a:rPr lang="zh-CN" altLang="en-US" sz="1200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单击此处添加正文</a:t>
                </a:r>
              </a:p>
            </p:txBody>
          </p:sp>
          <p:sp>
            <p:nvSpPr>
              <p:cNvPr id="43" name="椭圆 42">
                <a:extLst>
                  <a:ext uri="{FF2B5EF4-FFF2-40B4-BE49-F238E27FC236}">
                    <a16:creationId xmlns:a16="http://schemas.microsoft.com/office/drawing/2014/main" id="{97E563D2-6E9C-FFC3-9670-8FC779C345EB}"/>
                  </a:ext>
                </a:extLst>
              </p:cNvPr>
              <p:cNvSpPr/>
              <p:nvPr/>
            </p:nvSpPr>
            <p:spPr>
              <a:xfrm>
                <a:off x="1873162" y="3180753"/>
                <a:ext cx="240493" cy="240493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800" dirty="0"/>
              </a:p>
            </p:txBody>
          </p:sp>
        </p:grpSp>
        <p:grpSp>
          <p:nvGrpSpPr>
            <p:cNvPr id="30" name="组合 29">
              <a:extLst>
                <a:ext uri="{FF2B5EF4-FFF2-40B4-BE49-F238E27FC236}">
                  <a16:creationId xmlns:a16="http://schemas.microsoft.com/office/drawing/2014/main" id="{2B5F1A4F-7590-3054-3316-7B27B8913EBE}"/>
                </a:ext>
              </a:extLst>
            </p:cNvPr>
            <p:cNvGrpSpPr/>
            <p:nvPr/>
          </p:nvGrpSpPr>
          <p:grpSpPr>
            <a:xfrm>
              <a:off x="3036331" y="2926326"/>
              <a:ext cx="1753072" cy="729320"/>
              <a:chOff x="3036331" y="2926326"/>
              <a:chExt cx="1753072" cy="729320"/>
            </a:xfrm>
          </p:grpSpPr>
          <p:sp>
            <p:nvSpPr>
              <p:cNvPr id="40" name="椭圆 39">
                <a:extLst>
                  <a:ext uri="{FF2B5EF4-FFF2-40B4-BE49-F238E27FC236}">
                    <a16:creationId xmlns:a16="http://schemas.microsoft.com/office/drawing/2014/main" id="{FA6C0B10-E516-F478-5B06-FDCB73B65012}"/>
                  </a:ext>
                </a:extLst>
              </p:cNvPr>
              <p:cNvSpPr/>
              <p:nvPr/>
            </p:nvSpPr>
            <p:spPr>
              <a:xfrm>
                <a:off x="3102392" y="2926326"/>
                <a:ext cx="240493" cy="240493"/>
              </a:xfrm>
              <a:prstGeom prst="ellipse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800" dirty="0"/>
              </a:p>
            </p:txBody>
          </p:sp>
          <p:sp>
            <p:nvSpPr>
              <p:cNvPr id="41" name="Bullet1">
                <a:extLst>
                  <a:ext uri="{FF2B5EF4-FFF2-40B4-BE49-F238E27FC236}">
                    <a16:creationId xmlns:a16="http://schemas.microsoft.com/office/drawing/2014/main" id="{84298122-03D1-3A70-1E96-E5AFBBCDACDB}"/>
                  </a:ext>
                </a:extLst>
              </p:cNvPr>
              <p:cNvSpPr txBox="1"/>
              <p:nvPr/>
            </p:nvSpPr>
            <p:spPr bwMode="auto">
              <a:xfrm>
                <a:off x="3036331" y="3282871"/>
                <a:ext cx="1753072" cy="37277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t"/>
                <a:r>
                  <a:rPr lang="zh-CN" altLang="en-US" sz="1200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单击此处添加正文</a:t>
                </a:r>
              </a:p>
            </p:txBody>
          </p:sp>
        </p:grpSp>
        <p:grpSp>
          <p:nvGrpSpPr>
            <p:cNvPr id="31" name="组合 30">
              <a:extLst>
                <a:ext uri="{FF2B5EF4-FFF2-40B4-BE49-F238E27FC236}">
                  <a16:creationId xmlns:a16="http://schemas.microsoft.com/office/drawing/2014/main" id="{EF7D6C88-F65C-61EE-3B71-35F4464941A4}"/>
                </a:ext>
              </a:extLst>
            </p:cNvPr>
            <p:cNvGrpSpPr/>
            <p:nvPr/>
          </p:nvGrpSpPr>
          <p:grpSpPr>
            <a:xfrm>
              <a:off x="5232277" y="2926326"/>
              <a:ext cx="1753072" cy="729320"/>
              <a:chOff x="5232277" y="2926326"/>
              <a:chExt cx="1753072" cy="729320"/>
            </a:xfrm>
          </p:grpSpPr>
          <p:sp>
            <p:nvSpPr>
              <p:cNvPr id="38" name="椭圆 37">
                <a:extLst>
                  <a:ext uri="{FF2B5EF4-FFF2-40B4-BE49-F238E27FC236}">
                    <a16:creationId xmlns:a16="http://schemas.microsoft.com/office/drawing/2014/main" id="{A7D42DE6-A848-CB8D-BAFD-27CBE260C8D4}"/>
                  </a:ext>
                </a:extLst>
              </p:cNvPr>
              <p:cNvSpPr/>
              <p:nvPr/>
            </p:nvSpPr>
            <p:spPr>
              <a:xfrm>
                <a:off x="5232277" y="2926326"/>
                <a:ext cx="240493" cy="240493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800" dirty="0"/>
              </a:p>
            </p:txBody>
          </p:sp>
          <p:sp>
            <p:nvSpPr>
              <p:cNvPr id="39" name="Bullet1_1">
                <a:extLst>
                  <a:ext uri="{FF2B5EF4-FFF2-40B4-BE49-F238E27FC236}">
                    <a16:creationId xmlns:a16="http://schemas.microsoft.com/office/drawing/2014/main" id="{FFA470D8-D368-A524-AB49-D1817F6142FE}"/>
                  </a:ext>
                </a:extLst>
              </p:cNvPr>
              <p:cNvSpPr txBox="1"/>
              <p:nvPr/>
            </p:nvSpPr>
            <p:spPr bwMode="auto">
              <a:xfrm>
                <a:off x="5232277" y="3282871"/>
                <a:ext cx="1753072" cy="37277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t"/>
                <a:r>
                  <a:rPr lang="zh-CN" altLang="en-US" sz="1200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单击此处添加正文</a:t>
                </a:r>
              </a:p>
            </p:txBody>
          </p:sp>
        </p:grpSp>
        <p:grpSp>
          <p:nvGrpSpPr>
            <p:cNvPr id="32" name="组合 31">
              <a:extLst>
                <a:ext uri="{FF2B5EF4-FFF2-40B4-BE49-F238E27FC236}">
                  <a16:creationId xmlns:a16="http://schemas.microsoft.com/office/drawing/2014/main" id="{4B909A0E-EC02-6D9C-562A-98B6CF2782EC}"/>
                </a:ext>
              </a:extLst>
            </p:cNvPr>
            <p:cNvGrpSpPr/>
            <p:nvPr/>
          </p:nvGrpSpPr>
          <p:grpSpPr>
            <a:xfrm>
              <a:off x="7264277" y="2926326"/>
              <a:ext cx="1753072" cy="729320"/>
              <a:chOff x="7264277" y="2926326"/>
              <a:chExt cx="1753072" cy="729320"/>
            </a:xfrm>
          </p:grpSpPr>
          <p:sp>
            <p:nvSpPr>
              <p:cNvPr id="36" name="椭圆 35">
                <a:extLst>
                  <a:ext uri="{FF2B5EF4-FFF2-40B4-BE49-F238E27FC236}">
                    <a16:creationId xmlns:a16="http://schemas.microsoft.com/office/drawing/2014/main" id="{2164BA14-71BE-7EDD-650B-876F71C666ED}"/>
                  </a:ext>
                </a:extLst>
              </p:cNvPr>
              <p:cNvSpPr/>
              <p:nvPr/>
            </p:nvSpPr>
            <p:spPr>
              <a:xfrm>
                <a:off x="7362162" y="2926326"/>
                <a:ext cx="240493" cy="240493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800" dirty="0"/>
              </a:p>
            </p:txBody>
          </p:sp>
          <p:sp>
            <p:nvSpPr>
              <p:cNvPr id="37" name="Bullet1_1_1">
                <a:extLst>
                  <a:ext uri="{FF2B5EF4-FFF2-40B4-BE49-F238E27FC236}">
                    <a16:creationId xmlns:a16="http://schemas.microsoft.com/office/drawing/2014/main" id="{CE026A36-177D-948D-94C6-B8954DEA26D8}"/>
                  </a:ext>
                </a:extLst>
              </p:cNvPr>
              <p:cNvSpPr txBox="1"/>
              <p:nvPr/>
            </p:nvSpPr>
            <p:spPr bwMode="auto">
              <a:xfrm>
                <a:off x="7264277" y="3282871"/>
                <a:ext cx="1753072" cy="37277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t"/>
                <a:r>
                  <a:rPr lang="zh-CN" altLang="en-US" sz="1200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单击此处添加正文</a:t>
                </a:r>
              </a:p>
            </p:txBody>
          </p:sp>
        </p:grpSp>
        <p:grpSp>
          <p:nvGrpSpPr>
            <p:cNvPr id="33" name="组合 32">
              <a:extLst>
                <a:ext uri="{FF2B5EF4-FFF2-40B4-BE49-F238E27FC236}">
                  <a16:creationId xmlns:a16="http://schemas.microsoft.com/office/drawing/2014/main" id="{1D34372F-1299-07BB-0F84-38DA58696948}"/>
                </a:ext>
              </a:extLst>
            </p:cNvPr>
            <p:cNvGrpSpPr/>
            <p:nvPr/>
          </p:nvGrpSpPr>
          <p:grpSpPr>
            <a:xfrm>
              <a:off x="9399509" y="2926326"/>
              <a:ext cx="1753072" cy="729320"/>
              <a:chOff x="9399509" y="2926326"/>
              <a:chExt cx="1753072" cy="729320"/>
            </a:xfrm>
          </p:grpSpPr>
          <p:sp>
            <p:nvSpPr>
              <p:cNvPr id="34" name="椭圆 33">
                <a:extLst>
                  <a:ext uri="{FF2B5EF4-FFF2-40B4-BE49-F238E27FC236}">
                    <a16:creationId xmlns:a16="http://schemas.microsoft.com/office/drawing/2014/main" id="{32B72078-9D00-5B65-FC5B-AF23BEF93885}"/>
                  </a:ext>
                </a:extLst>
              </p:cNvPr>
              <p:cNvSpPr/>
              <p:nvPr/>
            </p:nvSpPr>
            <p:spPr>
              <a:xfrm>
                <a:off x="9456422" y="2926326"/>
                <a:ext cx="240493" cy="240493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800" dirty="0"/>
              </a:p>
            </p:txBody>
          </p:sp>
          <p:sp>
            <p:nvSpPr>
              <p:cNvPr id="35" name="Bullet1_1_1_1">
                <a:extLst>
                  <a:ext uri="{FF2B5EF4-FFF2-40B4-BE49-F238E27FC236}">
                    <a16:creationId xmlns:a16="http://schemas.microsoft.com/office/drawing/2014/main" id="{02BB0BC0-621F-1766-93A9-AC645FDC3729}"/>
                  </a:ext>
                </a:extLst>
              </p:cNvPr>
              <p:cNvSpPr txBox="1"/>
              <p:nvPr/>
            </p:nvSpPr>
            <p:spPr bwMode="auto">
              <a:xfrm>
                <a:off x="9399509" y="3282871"/>
                <a:ext cx="1753072" cy="37277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t"/>
                <a:r>
                  <a:rPr lang="zh-CN" altLang="en-US" sz="1200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单击此处添加正文</a:t>
                </a:r>
              </a:p>
            </p:txBody>
          </p:sp>
        </p:grpSp>
      </p:grpSp>
      <p:grpSp>
        <p:nvGrpSpPr>
          <p:cNvPr id="87" name="组合 86">
            <a:extLst>
              <a:ext uri="{FF2B5EF4-FFF2-40B4-BE49-F238E27FC236}">
                <a16:creationId xmlns:a16="http://schemas.microsoft.com/office/drawing/2014/main" id="{CF86CA14-B6E7-4955-24AF-6E08B5F57BD9}"/>
              </a:ext>
            </a:extLst>
          </p:cNvPr>
          <p:cNvGrpSpPr>
            <a:grpSpLocks noChangeAspect="1"/>
          </p:cNvGrpSpPr>
          <p:nvPr/>
        </p:nvGrpSpPr>
        <p:grpSpPr>
          <a:xfrm>
            <a:off x="1245540" y="1557586"/>
            <a:ext cx="9704095" cy="1024146"/>
            <a:chOff x="1081315" y="2862291"/>
            <a:chExt cx="9701849" cy="1023909"/>
          </a:xfrm>
        </p:grpSpPr>
        <p:sp>
          <p:nvSpPr>
            <p:cNvPr id="88" name="矩形: 圆角 2">
              <a:extLst>
                <a:ext uri="{FF2B5EF4-FFF2-40B4-BE49-F238E27FC236}">
                  <a16:creationId xmlns:a16="http://schemas.microsoft.com/office/drawing/2014/main" id="{7320F975-8546-0E16-4B94-D3DC7C1A24A3}"/>
                </a:ext>
              </a:extLst>
            </p:cNvPr>
            <p:cNvSpPr/>
            <p:nvPr/>
          </p:nvSpPr>
          <p:spPr>
            <a:xfrm>
              <a:off x="1081315" y="3066143"/>
              <a:ext cx="9701849" cy="722086"/>
            </a:xfrm>
            <a:prstGeom prst="roundRect">
              <a:avLst/>
            </a:prstGeom>
            <a:solidFill>
              <a:schemeClr val="accent6">
                <a:lumMod val="75000"/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grpSp>
          <p:nvGrpSpPr>
            <p:cNvPr id="89" name="组合 88">
              <a:extLst>
                <a:ext uri="{FF2B5EF4-FFF2-40B4-BE49-F238E27FC236}">
                  <a16:creationId xmlns:a16="http://schemas.microsoft.com/office/drawing/2014/main" id="{3F4AA896-6FE8-0E55-C3CD-A436425ACF80}"/>
                </a:ext>
              </a:extLst>
            </p:cNvPr>
            <p:cNvGrpSpPr/>
            <p:nvPr/>
          </p:nvGrpSpPr>
          <p:grpSpPr>
            <a:xfrm>
              <a:off x="3198908" y="2862291"/>
              <a:ext cx="879929" cy="1023909"/>
              <a:chOff x="3927395" y="2862291"/>
              <a:chExt cx="879929" cy="1023909"/>
            </a:xfrm>
          </p:grpSpPr>
          <p:sp>
            <p:nvSpPr>
              <p:cNvPr id="95" name="Rounded Rectangle 3_1_1">
                <a:extLst>
                  <a:ext uri="{FF2B5EF4-FFF2-40B4-BE49-F238E27FC236}">
                    <a16:creationId xmlns:a16="http://schemas.microsoft.com/office/drawing/2014/main" id="{8AA2BC04-B69C-3F80-4C9F-FE762B35481E}"/>
                  </a:ext>
                </a:extLst>
              </p:cNvPr>
              <p:cNvSpPr/>
              <p:nvPr/>
            </p:nvSpPr>
            <p:spPr>
              <a:xfrm flipV="1">
                <a:off x="3927395" y="3024188"/>
                <a:ext cx="879928" cy="862012"/>
              </a:xfrm>
              <a:prstGeom prst="round2SameRect">
                <a:avLst>
                  <a:gd name="adj1" fmla="val 7471"/>
                  <a:gd name="adj2" fmla="val 0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254000" dist="127000" dir="2700000" algn="tl" rotWithShape="0">
                  <a:schemeClr val="bg2">
                    <a:alpha val="10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000"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96" name="Rounded Rectangle 3_1">
                <a:extLst>
                  <a:ext uri="{FF2B5EF4-FFF2-40B4-BE49-F238E27FC236}">
                    <a16:creationId xmlns:a16="http://schemas.microsoft.com/office/drawing/2014/main" id="{26924D96-3467-CA46-42F7-5A42B52607D1}"/>
                  </a:ext>
                </a:extLst>
              </p:cNvPr>
              <p:cNvSpPr/>
              <p:nvPr/>
            </p:nvSpPr>
            <p:spPr>
              <a:xfrm>
                <a:off x="3927396" y="2862291"/>
                <a:ext cx="879928" cy="203200"/>
              </a:xfrm>
              <a:prstGeom prst="round2Same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000"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  <p:sp>
          <p:nvSpPr>
            <p:cNvPr id="90" name="Bullet1_1">
              <a:extLst>
                <a:ext uri="{FF2B5EF4-FFF2-40B4-BE49-F238E27FC236}">
                  <a16:creationId xmlns:a16="http://schemas.microsoft.com/office/drawing/2014/main" id="{3AB10E8F-1024-1D37-CBD1-9E19999DB0BC}"/>
                </a:ext>
              </a:extLst>
            </p:cNvPr>
            <p:cNvSpPr txBox="1"/>
            <p:nvPr/>
          </p:nvSpPr>
          <p:spPr bwMode="auto">
            <a:xfrm>
              <a:off x="1102567" y="3241429"/>
              <a:ext cx="952538" cy="37151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1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en-US" altLang="zh-CN" sz="1600" b="1" dirty="0">
                  <a:solidFill>
                    <a:schemeClr val="tx2">
                      <a:lumMod val="65000"/>
                      <a:lumOff val="3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20%</a:t>
              </a:r>
            </a:p>
          </p:txBody>
        </p:sp>
        <p:sp>
          <p:nvSpPr>
            <p:cNvPr id="91" name="Bullet1_1_1">
              <a:extLst>
                <a:ext uri="{FF2B5EF4-FFF2-40B4-BE49-F238E27FC236}">
                  <a16:creationId xmlns:a16="http://schemas.microsoft.com/office/drawing/2014/main" id="{D8B805E3-E206-360C-DC4E-CDB70EC1465F}"/>
                </a:ext>
              </a:extLst>
            </p:cNvPr>
            <p:cNvSpPr txBox="1"/>
            <p:nvPr/>
          </p:nvSpPr>
          <p:spPr bwMode="auto">
            <a:xfrm>
              <a:off x="3198907" y="3204294"/>
              <a:ext cx="879928" cy="52739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1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spcBef>
                  <a:spcPct val="0"/>
                </a:spcBef>
              </a:pPr>
              <a:r>
                <a:rPr lang="en-US" altLang="zh-CN" sz="2400" b="1" dirty="0">
                  <a:solidFill>
                    <a:schemeClr val="bg2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40%</a:t>
              </a:r>
            </a:p>
          </p:txBody>
        </p:sp>
        <p:sp>
          <p:nvSpPr>
            <p:cNvPr id="92" name="Bullet1_1_1_1">
              <a:extLst>
                <a:ext uri="{FF2B5EF4-FFF2-40B4-BE49-F238E27FC236}">
                  <a16:creationId xmlns:a16="http://schemas.microsoft.com/office/drawing/2014/main" id="{37502AB2-E049-CAF5-B1C2-6388B822C6E5}"/>
                </a:ext>
              </a:extLst>
            </p:cNvPr>
            <p:cNvSpPr txBox="1"/>
            <p:nvPr/>
          </p:nvSpPr>
          <p:spPr bwMode="auto">
            <a:xfrm>
              <a:off x="5222641" y="3241429"/>
              <a:ext cx="952538" cy="37151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1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en-US" altLang="zh-CN" sz="1600" b="1" dirty="0">
                  <a:solidFill>
                    <a:schemeClr val="tx2">
                      <a:lumMod val="65000"/>
                      <a:lumOff val="3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60%</a:t>
              </a:r>
            </a:p>
          </p:txBody>
        </p:sp>
        <p:sp>
          <p:nvSpPr>
            <p:cNvPr id="93" name="Bullet1_1_1_1_1">
              <a:extLst>
                <a:ext uri="{FF2B5EF4-FFF2-40B4-BE49-F238E27FC236}">
                  <a16:creationId xmlns:a16="http://schemas.microsoft.com/office/drawing/2014/main" id="{020525A0-F0FF-5F13-C410-8AA5B5888517}"/>
                </a:ext>
              </a:extLst>
            </p:cNvPr>
            <p:cNvSpPr txBox="1"/>
            <p:nvPr/>
          </p:nvSpPr>
          <p:spPr bwMode="auto">
            <a:xfrm>
              <a:off x="7282678" y="3241429"/>
              <a:ext cx="952538" cy="37151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1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en-US" altLang="zh-CN" sz="1600" b="1" dirty="0">
                  <a:solidFill>
                    <a:schemeClr val="tx2">
                      <a:lumMod val="65000"/>
                      <a:lumOff val="3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80%</a:t>
              </a:r>
            </a:p>
          </p:txBody>
        </p:sp>
        <p:sp>
          <p:nvSpPr>
            <p:cNvPr id="94" name="Bullet1_1_1_1_1_1">
              <a:extLst>
                <a:ext uri="{FF2B5EF4-FFF2-40B4-BE49-F238E27FC236}">
                  <a16:creationId xmlns:a16="http://schemas.microsoft.com/office/drawing/2014/main" id="{60A48D56-20BE-C5D4-0A3A-212A3CDEF154}"/>
                </a:ext>
              </a:extLst>
            </p:cNvPr>
            <p:cNvSpPr txBox="1"/>
            <p:nvPr/>
          </p:nvSpPr>
          <p:spPr bwMode="auto">
            <a:xfrm>
              <a:off x="9342714" y="3241429"/>
              <a:ext cx="952538" cy="37151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1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en-US" altLang="zh-CN" sz="1600" b="1" dirty="0">
                  <a:solidFill>
                    <a:schemeClr val="tx2">
                      <a:lumMod val="65000"/>
                      <a:lumOff val="3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100%</a:t>
              </a:r>
            </a:p>
          </p:txBody>
        </p:sp>
      </p:grpSp>
      <p:grpSp>
        <p:nvGrpSpPr>
          <p:cNvPr id="5" name="组合 4">
            <a:extLst>
              <a:ext uri="{FF2B5EF4-FFF2-40B4-BE49-F238E27FC236}">
                <a16:creationId xmlns:a16="http://schemas.microsoft.com/office/drawing/2014/main" id="{25AF9173-3299-CD8D-9942-91780AB38C4A}"/>
              </a:ext>
            </a:extLst>
          </p:cNvPr>
          <p:cNvGrpSpPr/>
          <p:nvPr/>
        </p:nvGrpSpPr>
        <p:grpSpPr>
          <a:xfrm>
            <a:off x="1773570" y="5408664"/>
            <a:ext cx="8648034" cy="430043"/>
            <a:chOff x="1773570" y="5408664"/>
            <a:chExt cx="8648034" cy="430043"/>
          </a:xfrm>
        </p:grpSpPr>
        <p:grpSp>
          <p:nvGrpSpPr>
            <p:cNvPr id="144" name="组合 143">
              <a:extLst>
                <a:ext uri="{FF2B5EF4-FFF2-40B4-BE49-F238E27FC236}">
                  <a16:creationId xmlns:a16="http://schemas.microsoft.com/office/drawing/2014/main" id="{2F7ADF3D-21B7-80E9-E787-DAC7DFBF73F6}"/>
                </a:ext>
              </a:extLst>
            </p:cNvPr>
            <p:cNvGrpSpPr/>
            <p:nvPr/>
          </p:nvGrpSpPr>
          <p:grpSpPr>
            <a:xfrm>
              <a:off x="1773570" y="5408664"/>
              <a:ext cx="8648034" cy="430043"/>
              <a:chOff x="860447" y="2603500"/>
              <a:chExt cx="10471107" cy="520700"/>
            </a:xfrm>
          </p:grpSpPr>
          <p:sp>
            <p:nvSpPr>
              <p:cNvPr id="146" name="矩形: 圆角 4">
                <a:extLst>
                  <a:ext uri="{FF2B5EF4-FFF2-40B4-BE49-F238E27FC236}">
                    <a16:creationId xmlns:a16="http://schemas.microsoft.com/office/drawing/2014/main" id="{B1BDDB5C-6C42-501B-9012-99624ADFF304}"/>
                  </a:ext>
                </a:extLst>
              </p:cNvPr>
              <p:cNvSpPr/>
              <p:nvPr/>
            </p:nvSpPr>
            <p:spPr>
              <a:xfrm>
                <a:off x="860447" y="2603500"/>
                <a:ext cx="10471107" cy="520700"/>
              </a:xfrm>
              <a:prstGeom prst="roundRect">
                <a:avLst>
                  <a:gd name="adj" fmla="val 50000"/>
                </a:avLst>
              </a:prstGeom>
              <a:noFill/>
              <a:ln w="222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147" name="Rounded Rectangle 3_1">
                <a:extLst>
                  <a:ext uri="{FF2B5EF4-FFF2-40B4-BE49-F238E27FC236}">
                    <a16:creationId xmlns:a16="http://schemas.microsoft.com/office/drawing/2014/main" id="{5647759C-6043-3575-02E4-FFB4EFE2ED58}"/>
                  </a:ext>
                </a:extLst>
              </p:cNvPr>
              <p:cNvSpPr/>
              <p:nvPr/>
            </p:nvSpPr>
            <p:spPr>
              <a:xfrm>
                <a:off x="974747" y="2701224"/>
                <a:ext cx="6865010" cy="325252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56974">
                    <a:schemeClr val="accent6">
                      <a:lumMod val="50000"/>
                    </a:schemeClr>
                  </a:gs>
                  <a:gs pos="100000">
                    <a:schemeClr val="accent6">
                      <a:lumMod val="90000"/>
                    </a:schemeClr>
                  </a:gs>
                  <a:gs pos="7000">
                    <a:schemeClr val="accent1"/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</p:grpSp>
        <p:sp>
          <p:nvSpPr>
            <p:cNvPr id="4" name="文本框 3">
              <a:extLst>
                <a:ext uri="{FF2B5EF4-FFF2-40B4-BE49-F238E27FC236}">
                  <a16:creationId xmlns:a16="http://schemas.microsoft.com/office/drawing/2014/main" id="{EF5AB6EE-E9AD-8669-F6D4-6926CE838E45}"/>
                </a:ext>
              </a:extLst>
            </p:cNvPr>
            <p:cNvSpPr txBox="1"/>
            <p:nvPr/>
          </p:nvSpPr>
          <p:spPr bwMode="auto">
            <a:xfrm>
              <a:off x="8137811" y="5469797"/>
              <a:ext cx="1683728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400" b="1" dirty="0">
                  <a:solidFill>
                    <a:schemeClr val="accent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单击此处添加正文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20505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6 AAC PPT 模版">
  <a:themeElements>
    <a:clrScheme name="自定义 16">
      <a:dk1>
        <a:srgbClr val="404040"/>
      </a:dk1>
      <a:lt1>
        <a:srgbClr val="FFFFFF"/>
      </a:lt1>
      <a:dk2>
        <a:srgbClr val="000000"/>
      </a:dk2>
      <a:lt2>
        <a:srgbClr val="003F61"/>
      </a:lt2>
      <a:accent1>
        <a:srgbClr val="005D77"/>
      </a:accent1>
      <a:accent2>
        <a:srgbClr val="2A6A82"/>
      </a:accent2>
      <a:accent3>
        <a:srgbClr val="F29945"/>
      </a:accent3>
      <a:accent4>
        <a:srgbClr val="7EA7B6"/>
      </a:accent4>
      <a:accent5>
        <a:srgbClr val="A8C6D2"/>
      </a:accent5>
      <a:accent6>
        <a:srgbClr val="D3E7EC"/>
      </a:accent6>
      <a:hlink>
        <a:srgbClr val="0000FF"/>
      </a:hlink>
      <a:folHlink>
        <a:srgbClr val="800080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</a:spPr>
      <a:bodyPr lIns="108000" tIns="108000" rIns="108000" bIns="108000" rtlCol="0" anchor="ctr"/>
      <a:lstStyle>
        <a:defPPr algn="ctr">
          <a:defRPr/>
        </a:defPPr>
      </a:lstStyle>
    </a:spDef>
    <a:txDef>
      <a:spPr bwMode="auto">
        <a:noFill/>
        <a:ln>
          <a:noFill/>
        </a:ln>
      </a:spPr>
      <a:bodyPr wrap="square" lIns="36000" tIns="36000" rIns="36000" bIns="36000" rtlCol="0">
        <a:spAutoFit/>
      </a:bodyPr>
      <a:lstStyle>
        <a:defPPr algn="l" defTabSz="914400" eaLnBrk="1" hangingPunct="1">
          <a:defRPr sz="2000" dirty="0">
            <a:solidFill>
              <a:schemeClr val="tx1"/>
            </a:solidFill>
            <a:ea typeface="微软雅黑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06</Words>
  <Application>Microsoft Macintosh PowerPoint</Application>
  <PresentationFormat>自定义</PresentationFormat>
  <Paragraphs>99</Paragraphs>
  <Slides>1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21" baseType="lpstr">
      <vt:lpstr>宋体</vt:lpstr>
      <vt:lpstr>Microsoft YaHei</vt:lpstr>
      <vt:lpstr>Microsoft YaHei</vt:lpstr>
      <vt:lpstr>Microsoft YaHei Light</vt:lpstr>
      <vt:lpstr>Arial</vt:lpstr>
      <vt:lpstr>Courier New</vt:lpstr>
      <vt:lpstr>Wingdings</vt:lpstr>
      <vt:lpstr>Wingdings 2</vt:lpstr>
      <vt:lpstr>2026 AAC PPT 模版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瑞声科技公司简介</dc:title>
  <dc:creator/>
  <cp:lastModifiedBy/>
  <cp:revision>1</cp:revision>
  <dcterms:created xsi:type="dcterms:W3CDTF">2022-03-10T12:41:30Z</dcterms:created>
  <dcterms:modified xsi:type="dcterms:W3CDTF">2025-12-31T09:02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0.0.0.0</vt:lpwstr>
  </property>
</Properties>
</file>